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397"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FB491A-FAB5-4B7F-9A18-376D8E51CE83}" v="15" dt="2022-11-26T20:59:08.4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0" autoAdjust="0"/>
    <p:restoredTop sz="92808" autoAdjust="0"/>
  </p:normalViewPr>
  <p:slideViewPr>
    <p:cSldViewPr snapToGrid="0">
      <p:cViewPr varScale="1">
        <p:scale>
          <a:sx n="69" d="100"/>
          <a:sy n="69" d="100"/>
        </p:scale>
        <p:origin x="1356"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ynan groot" userId="689861f0ad075ab7" providerId="LiveId" clId="{AEFB491A-FAB5-4B7F-9A18-376D8E51CE83}"/>
    <pc:docChg chg="undo redo custSel modSld">
      <pc:chgData name="Tynan groot" userId="689861f0ad075ab7" providerId="LiveId" clId="{AEFB491A-FAB5-4B7F-9A18-376D8E51CE83}" dt="2022-11-26T21:01:59.857" v="416" actId="20577"/>
      <pc:docMkLst>
        <pc:docMk/>
      </pc:docMkLst>
      <pc:sldChg chg="addSp delSp modSp mod">
        <pc:chgData name="Tynan groot" userId="689861f0ad075ab7" providerId="LiveId" clId="{AEFB491A-FAB5-4B7F-9A18-376D8E51CE83}" dt="2022-11-26T20:15:35.302" v="207" actId="20577"/>
        <pc:sldMkLst>
          <pc:docMk/>
          <pc:sldMk cId="2844286603" sldId="392"/>
        </pc:sldMkLst>
        <pc:spChg chg="mod">
          <ac:chgData name="Tynan groot" userId="689861f0ad075ab7" providerId="LiveId" clId="{AEFB491A-FAB5-4B7F-9A18-376D8E51CE83}" dt="2022-11-26T20:15:35.302" v="207" actId="20577"/>
          <ac:spMkLst>
            <pc:docMk/>
            <pc:sldMk cId="2844286603" sldId="392"/>
            <ac:spMk id="2" creationId="{F0E37C96-13BD-4F0C-B379-77591A183D9B}"/>
          </ac:spMkLst>
        </pc:spChg>
        <pc:spChg chg="add mod">
          <ac:chgData name="Tynan groot" userId="689861f0ad075ab7" providerId="LiveId" clId="{AEFB491A-FAB5-4B7F-9A18-376D8E51CE83}" dt="2022-11-26T19:57:15.060" v="97" actId="122"/>
          <ac:spMkLst>
            <pc:docMk/>
            <pc:sldMk cId="2844286603" sldId="392"/>
            <ac:spMk id="5" creationId="{A9DBFD81-0DE4-48F6-4E4A-3CAAA00B48FD}"/>
          </ac:spMkLst>
        </pc:spChg>
        <pc:spChg chg="add mod">
          <ac:chgData name="Tynan groot" userId="689861f0ad075ab7" providerId="LiveId" clId="{AEFB491A-FAB5-4B7F-9A18-376D8E51CE83}" dt="2022-11-26T19:57:46.406" v="120" actId="1076"/>
          <ac:spMkLst>
            <pc:docMk/>
            <pc:sldMk cId="2844286603" sldId="392"/>
            <ac:spMk id="6" creationId="{5436C1C8-0EC9-DCCF-9541-BFD6B53F39BA}"/>
          </ac:spMkLst>
        </pc:spChg>
        <pc:spChg chg="del">
          <ac:chgData name="Tynan groot" userId="689861f0ad075ab7" providerId="LiveId" clId="{AEFB491A-FAB5-4B7F-9A18-376D8E51CE83}" dt="2022-11-26T19:56:47.864" v="87" actId="478"/>
          <ac:spMkLst>
            <pc:docMk/>
            <pc:sldMk cId="2844286603" sldId="392"/>
            <ac:spMk id="14" creationId="{9AF51E9D-06DF-490B-AEE8-64E63CDAFBD8}"/>
          </ac:spMkLst>
        </pc:spChg>
        <pc:graphicFrameChg chg="add mod">
          <ac:chgData name="Tynan groot" userId="689861f0ad075ab7" providerId="LiveId" clId="{AEFB491A-FAB5-4B7F-9A18-376D8E51CE83}" dt="2022-11-26T19:56:39.588" v="86" actId="14100"/>
          <ac:graphicFrameMkLst>
            <pc:docMk/>
            <pc:sldMk cId="2844286603" sldId="392"/>
            <ac:graphicFrameMk id="3" creationId="{8B7F597B-813C-1F1D-1432-3D0A53F22C25}"/>
          </ac:graphicFrameMkLst>
        </pc:graphicFrameChg>
        <pc:graphicFrameChg chg="del">
          <ac:chgData name="Tynan groot" userId="689861f0ad075ab7" providerId="LiveId" clId="{AEFB491A-FAB5-4B7F-9A18-376D8E51CE83}" dt="2022-11-26T19:43:16.471" v="72" actId="478"/>
          <ac:graphicFrameMkLst>
            <pc:docMk/>
            <pc:sldMk cId="2844286603" sldId="392"/>
            <ac:graphicFrameMk id="15" creationId="{17E50331-D996-47F6-A268-EFB601697895}"/>
          </ac:graphicFrameMkLst>
        </pc:graphicFrameChg>
        <pc:graphicFrameChg chg="del">
          <ac:chgData name="Tynan groot" userId="689861f0ad075ab7" providerId="LiveId" clId="{AEFB491A-FAB5-4B7F-9A18-376D8E51CE83}" dt="2022-11-26T19:43:17.689" v="73" actId="478"/>
          <ac:graphicFrameMkLst>
            <pc:docMk/>
            <pc:sldMk cId="2844286603" sldId="392"/>
            <ac:graphicFrameMk id="17" creationId="{60CCFCEA-963A-46C0-A1C8-016D322285D7}"/>
          </ac:graphicFrameMkLst>
        </pc:graphicFrameChg>
        <pc:picChg chg="add mod">
          <ac:chgData name="Tynan groot" userId="689861f0ad075ab7" providerId="LiveId" clId="{AEFB491A-FAB5-4B7F-9A18-376D8E51CE83}" dt="2022-11-26T19:59:20.478" v="132" actId="14100"/>
          <ac:picMkLst>
            <pc:docMk/>
            <pc:sldMk cId="2844286603" sldId="392"/>
            <ac:picMk id="4" creationId="{1B783AA1-AFBF-B456-B984-044B5FB7856D}"/>
          </ac:picMkLst>
        </pc:picChg>
        <pc:picChg chg="add mod">
          <ac:chgData name="Tynan groot" userId="689861f0ad075ab7" providerId="LiveId" clId="{AEFB491A-FAB5-4B7F-9A18-376D8E51CE83}" dt="2022-11-26T20:04:01.417" v="176" actId="1076"/>
          <ac:picMkLst>
            <pc:docMk/>
            <pc:sldMk cId="2844286603" sldId="392"/>
            <ac:picMk id="8" creationId="{EB451D35-0C78-F784-A4DE-F691345489FC}"/>
          </ac:picMkLst>
        </pc:picChg>
        <pc:picChg chg="add mod">
          <ac:chgData name="Tynan groot" userId="689861f0ad075ab7" providerId="LiveId" clId="{AEFB491A-FAB5-4B7F-9A18-376D8E51CE83}" dt="2022-11-26T19:59:08.719" v="130" actId="14100"/>
          <ac:picMkLst>
            <pc:docMk/>
            <pc:sldMk cId="2844286603" sldId="392"/>
            <ac:picMk id="9" creationId="{E724DE01-FA87-ECA3-868D-13B856EF1E21}"/>
          </ac:picMkLst>
        </pc:picChg>
      </pc:sldChg>
      <pc:sldChg chg="addSp delSp modSp mod">
        <pc:chgData name="Tynan groot" userId="689861f0ad075ab7" providerId="LiveId" clId="{AEFB491A-FAB5-4B7F-9A18-376D8E51CE83}" dt="2022-11-26T19:28:37.247" v="17" actId="1076"/>
        <pc:sldMkLst>
          <pc:docMk/>
          <pc:sldMk cId="2748477053" sldId="397"/>
        </pc:sldMkLst>
        <pc:spChg chg="add del">
          <ac:chgData name="Tynan groot" userId="689861f0ad075ab7" providerId="LiveId" clId="{AEFB491A-FAB5-4B7F-9A18-376D8E51CE83}" dt="2022-11-26T19:28:34.766" v="15" actId="478"/>
          <ac:spMkLst>
            <pc:docMk/>
            <pc:sldMk cId="2748477053" sldId="397"/>
            <ac:spMk id="8" creationId="{886AAF85-948B-4B7E-9992-F6813CD2E6D1}"/>
          </ac:spMkLst>
        </pc:spChg>
        <pc:graphicFrameChg chg="add mod">
          <ac:chgData name="Tynan groot" userId="689861f0ad075ab7" providerId="LiveId" clId="{AEFB491A-FAB5-4B7F-9A18-376D8E51CE83}" dt="2022-11-26T19:28:37.247" v="17" actId="1076"/>
          <ac:graphicFrameMkLst>
            <pc:docMk/>
            <pc:sldMk cId="2748477053" sldId="397"/>
            <ac:graphicFrameMk id="3" creationId="{B934822D-7135-4DA8-9C66-080D252C3AAF}"/>
          </ac:graphicFrameMkLst>
        </pc:graphicFrameChg>
        <pc:graphicFrameChg chg="add mod">
          <ac:chgData name="Tynan groot" userId="689861f0ad075ab7" providerId="LiveId" clId="{AEFB491A-FAB5-4B7F-9A18-376D8E51CE83}" dt="2022-11-26T19:28:35.140" v="16" actId="1076"/>
          <ac:graphicFrameMkLst>
            <pc:docMk/>
            <pc:sldMk cId="2748477053" sldId="397"/>
            <ac:graphicFrameMk id="5" creationId="{6C1B7AF3-3481-4D61-ABFA-101106EC5DC9}"/>
          </ac:graphicFrameMkLst>
        </pc:graphicFrameChg>
        <pc:graphicFrameChg chg="del">
          <ac:chgData name="Tynan groot" userId="689861f0ad075ab7" providerId="LiveId" clId="{AEFB491A-FAB5-4B7F-9A18-376D8E51CE83}" dt="2022-11-26T19:25:37.085" v="0" actId="478"/>
          <ac:graphicFrameMkLst>
            <pc:docMk/>
            <pc:sldMk cId="2748477053" sldId="397"/>
            <ac:graphicFrameMk id="7" creationId="{1B75C224-7917-4F97-9B48-A477B7CD5400}"/>
          </ac:graphicFrameMkLst>
        </pc:graphicFrameChg>
      </pc:sldChg>
      <pc:sldChg chg="addSp delSp modSp mod">
        <pc:chgData name="Tynan groot" userId="689861f0ad075ab7" providerId="LiveId" clId="{AEFB491A-FAB5-4B7F-9A18-376D8E51CE83}" dt="2022-11-26T21:01:59.857" v="416" actId="20577"/>
        <pc:sldMkLst>
          <pc:docMk/>
          <pc:sldMk cId="667657664" sldId="399"/>
        </pc:sldMkLst>
        <pc:spChg chg="mod">
          <ac:chgData name="Tynan groot" userId="689861f0ad075ab7" providerId="LiveId" clId="{AEFB491A-FAB5-4B7F-9A18-376D8E51CE83}" dt="2022-11-26T21:01:59.857" v="416" actId="20577"/>
          <ac:spMkLst>
            <pc:docMk/>
            <pc:sldMk cId="667657664" sldId="399"/>
            <ac:spMk id="2" creationId="{F0E37C96-13BD-4F0C-B379-77591A183D9B}"/>
          </ac:spMkLst>
        </pc:spChg>
        <pc:spChg chg="del mod">
          <ac:chgData name="Tynan groot" userId="689861f0ad075ab7" providerId="LiveId" clId="{AEFB491A-FAB5-4B7F-9A18-376D8E51CE83}" dt="2022-11-26T20:59:06.478" v="339" actId="478"/>
          <ac:spMkLst>
            <pc:docMk/>
            <pc:sldMk cId="667657664" sldId="399"/>
            <ac:spMk id="7" creationId="{3349F53E-88E6-4D79-9588-9BEAF3EEC79C}"/>
          </ac:spMkLst>
        </pc:spChg>
        <pc:graphicFrameChg chg="add mod">
          <ac:chgData name="Tynan groot" userId="689861f0ad075ab7" providerId="LiveId" clId="{AEFB491A-FAB5-4B7F-9A18-376D8E51CE83}" dt="2022-11-26T20:59:13.972" v="343" actId="1076"/>
          <ac:graphicFrameMkLst>
            <pc:docMk/>
            <pc:sldMk cId="667657664" sldId="399"/>
            <ac:graphicFrameMk id="3" creationId="{6C1B7AF3-3481-4D61-ABFA-101106EC5DC9}"/>
          </ac:graphicFrameMkLst>
        </pc:graphicFrameChg>
        <pc:picChg chg="del">
          <ac:chgData name="Tynan groot" userId="689861f0ad075ab7" providerId="LiveId" clId="{AEFB491A-FAB5-4B7F-9A18-376D8E51CE83}" dt="2022-11-26T20:59:00.165" v="337" actId="478"/>
          <ac:picMkLst>
            <pc:docMk/>
            <pc:sldMk cId="667657664" sldId="399"/>
            <ac:picMk id="8" creationId="{1AF410C7-D97D-4B93-961C-6783280104D1}"/>
          </ac:picMkLst>
        </pc:picChg>
        <pc:cxnChg chg="mod">
          <ac:chgData name="Tynan groot" userId="689861f0ad075ab7" providerId="LiveId" clId="{AEFB491A-FAB5-4B7F-9A18-376D8E51CE83}" dt="2022-11-26T21:01:24.844" v="411" actId="1076"/>
          <ac:cxnSpMkLst>
            <pc:docMk/>
            <pc:sldMk cId="667657664" sldId="399"/>
            <ac:cxnSpMk id="17" creationId="{8F01DE78-159E-4563-BC40-E7848615A3AD}"/>
          </ac:cxnSpMkLst>
        </pc:cxnChg>
      </pc:sldChg>
      <pc:sldChg chg="addSp delSp modSp mod">
        <pc:chgData name="Tynan groot" userId="689861f0ad075ab7" providerId="LiveId" clId="{AEFB491A-FAB5-4B7F-9A18-376D8E51CE83}" dt="2022-11-26T19:30:47.530" v="32" actId="14100"/>
        <pc:sldMkLst>
          <pc:docMk/>
          <pc:sldMk cId="1167718647" sldId="401"/>
        </pc:sldMkLst>
        <pc:spChg chg="del mod">
          <ac:chgData name="Tynan groot" userId="689861f0ad075ab7" providerId="LiveId" clId="{AEFB491A-FAB5-4B7F-9A18-376D8E51CE83}" dt="2022-11-26T19:29:36.442" v="22" actId="478"/>
          <ac:spMkLst>
            <pc:docMk/>
            <pc:sldMk cId="1167718647" sldId="401"/>
            <ac:spMk id="7" creationId="{548FD5B0-4E40-45F1-A00B-B3459082779A}"/>
          </ac:spMkLst>
        </pc:spChg>
        <pc:graphicFrameChg chg="add mod">
          <ac:chgData name="Tynan groot" userId="689861f0ad075ab7" providerId="LiveId" clId="{AEFB491A-FAB5-4B7F-9A18-376D8E51CE83}" dt="2022-11-26T19:29:50.509" v="25" actId="14100"/>
          <ac:graphicFrameMkLst>
            <pc:docMk/>
            <pc:sldMk cId="1167718647" sldId="401"/>
            <ac:graphicFrameMk id="3" creationId="{D087C7D5-2506-4250-A254-028B1357A4CB}"/>
          </ac:graphicFrameMkLst>
        </pc:graphicFrameChg>
        <pc:graphicFrameChg chg="add mod">
          <ac:chgData name="Tynan groot" userId="689861f0ad075ab7" providerId="LiveId" clId="{AEFB491A-FAB5-4B7F-9A18-376D8E51CE83}" dt="2022-11-26T19:30:47.530" v="32" actId="14100"/>
          <ac:graphicFrameMkLst>
            <pc:docMk/>
            <pc:sldMk cId="1167718647" sldId="401"/>
            <ac:graphicFrameMk id="4" creationId="{38BDD97D-A4D4-4486-81A3-510B7C539784}"/>
          </ac:graphicFrameMkLst>
        </pc:graphicFrameChg>
      </pc:sldChg>
      <pc:sldChg chg="addSp delSp modSp mod">
        <pc:chgData name="Tynan groot" userId="689861f0ad075ab7" providerId="LiveId" clId="{AEFB491A-FAB5-4B7F-9A18-376D8E51CE83}" dt="2022-11-26T20:48:19.890" v="336" actId="20577"/>
        <pc:sldMkLst>
          <pc:docMk/>
          <pc:sldMk cId="323164089" sldId="402"/>
        </pc:sldMkLst>
        <pc:spChg chg="mod">
          <ac:chgData name="Tynan groot" userId="689861f0ad075ab7" providerId="LiveId" clId="{AEFB491A-FAB5-4B7F-9A18-376D8E51CE83}" dt="2022-11-26T20:48:19.890" v="336" actId="20577"/>
          <ac:spMkLst>
            <pc:docMk/>
            <pc:sldMk cId="323164089" sldId="402"/>
            <ac:spMk id="2" creationId="{81150BAF-2454-4B5F-A0FE-F4B4B997D8FF}"/>
          </ac:spMkLst>
        </pc:spChg>
        <pc:spChg chg="del">
          <ac:chgData name="Tynan groot" userId="689861f0ad075ab7" providerId="LiveId" clId="{AEFB491A-FAB5-4B7F-9A18-376D8E51CE83}" dt="2022-11-26T20:32:15.195" v="222" actId="478"/>
          <ac:spMkLst>
            <pc:docMk/>
            <pc:sldMk cId="323164089" sldId="402"/>
            <ac:spMk id="6" creationId="{4A968194-61AD-4C31-A189-FF4A210F4FA3}"/>
          </ac:spMkLst>
        </pc:spChg>
        <pc:spChg chg="del mod">
          <ac:chgData name="Tynan groot" userId="689861f0ad075ab7" providerId="LiveId" clId="{AEFB491A-FAB5-4B7F-9A18-376D8E51CE83}" dt="2022-11-26T20:31:35.803" v="212" actId="478"/>
          <ac:spMkLst>
            <pc:docMk/>
            <pc:sldMk cId="323164089" sldId="402"/>
            <ac:spMk id="9" creationId="{38AE4384-3887-4990-8552-96D5AB244392}"/>
          </ac:spMkLst>
        </pc:spChg>
        <pc:graphicFrameChg chg="add mod">
          <ac:chgData name="Tynan groot" userId="689861f0ad075ab7" providerId="LiveId" clId="{AEFB491A-FAB5-4B7F-9A18-376D8E51CE83}" dt="2022-11-26T20:32:32.824" v="225" actId="14100"/>
          <ac:graphicFrameMkLst>
            <pc:docMk/>
            <pc:sldMk cId="323164089" sldId="402"/>
            <ac:graphicFrameMk id="3" creationId="{490B7146-AB28-9E12-796A-25A88EFD3329}"/>
          </ac:graphicFrameMkLst>
        </pc:graphicFrameChg>
        <pc:graphicFrameChg chg="del">
          <ac:chgData name="Tynan groot" userId="689861f0ad075ab7" providerId="LiveId" clId="{AEFB491A-FAB5-4B7F-9A18-376D8E51CE83}" dt="2022-11-26T20:31:32.826" v="210" actId="478"/>
          <ac:graphicFrameMkLst>
            <pc:docMk/>
            <pc:sldMk cId="323164089" sldId="402"/>
            <ac:graphicFrameMk id="4" creationId="{D3FD4B86-4672-462A-B1BD-A1BBBE1C6B74}"/>
          </ac:graphicFrameMkLst>
        </pc:graphicFrameChg>
        <pc:graphicFrameChg chg="add mod">
          <ac:chgData name="Tynan groot" userId="689861f0ad075ab7" providerId="LiveId" clId="{AEFB491A-FAB5-4B7F-9A18-376D8E51CE83}" dt="2022-11-26T20:33:14.040" v="231" actId="14100"/>
          <ac:graphicFrameMkLst>
            <pc:docMk/>
            <pc:sldMk cId="323164089" sldId="402"/>
            <ac:graphicFrameMk id="5" creationId="{B1D25273-2077-46DE-88C5-208BFE05DBA9}"/>
          </ac:graphicFrameMkLst>
        </pc:graphicFrameChg>
        <pc:graphicFrameChg chg="add mod">
          <ac:chgData name="Tynan groot" userId="689861f0ad075ab7" providerId="LiveId" clId="{AEFB491A-FAB5-4B7F-9A18-376D8E51CE83}" dt="2022-11-26T20:33:26.136" v="232" actId="1076"/>
          <ac:graphicFrameMkLst>
            <pc:docMk/>
            <pc:sldMk cId="323164089" sldId="402"/>
            <ac:graphicFrameMk id="8" creationId="{BD579E7A-98BD-39A9-10E3-2BA382E9E288}"/>
          </ac:graphicFrameMkLst>
        </pc:graphicFrameChg>
        <pc:cxnChg chg="mod">
          <ac:chgData name="Tynan groot" userId="689861f0ad075ab7" providerId="LiveId" clId="{AEFB491A-FAB5-4B7F-9A18-376D8E51CE83}" dt="2022-11-26T20:16:38.113" v="209" actId="1076"/>
          <ac:cxnSpMkLst>
            <pc:docMk/>
            <pc:sldMk cId="323164089" sldId="402"/>
            <ac:cxnSpMk id="7" creationId="{FF7B0642-27F1-4360-B160-74B9D15E0003}"/>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689861f0ad075ab7/Documents/1618836907_Statistics_Case_Study_Tynan_27062020v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689861f0ad075ab7/Documents/1618836907_Statistics_Case_Study_Tynan_27062020v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689861f0ad075ab7/Documents/1618836907_Statistics_Case_Study_Tynan_27062020v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689861f0ad075ab7/Documents/1618836907_Statistics_Case_Study_Tynan_27062020v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689861f0ad075ab7/Documents/1618836907_Statistics_Case_Study_Tynan_27062020v2.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689861f0ad075ab7/Documents/1618836907_Statistics_Case_Study_Tynan_27062020v2.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689861f0ad075ab7/Documents/1618836907_Statistics_Case_Study_Tynan_27062020v2.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689861f0ad075ab7/Documents/1618836907_Statistics_Case_Study_Tynan_27062020v2.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d.docs.live.net/689861f0ad075ab7/Documents/1618836907_Statistics_Case_Study_Tynan_27062020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ailure</a:t>
            </a:r>
            <a:r>
              <a:rPr lang="en-US" baseline="0"/>
              <a:t> Alarm Char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3</c:f>
              <c:numCache>
                <c:formatCode>#,##0.00</c:formatCode>
                <c:ptCount val="2452"/>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0-944E-4C8A-9D81-AF2782E9D8E2}"/>
            </c:ext>
          </c:extLst>
        </c:ser>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3</c:f>
              <c:numCache>
                <c:formatCode>#,##0.00</c:formatCode>
                <c:ptCount val="2452"/>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1-944E-4C8A-9D81-AF2782E9D8E2}"/>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3</c:f>
              <c:numCache>
                <c:formatCode>0.00</c:formatCode>
                <c:ptCount val="2452"/>
                <c:pt idx="0">
                  <c:v>-1.9686200058769594</c:v>
                </c:pt>
                <c:pt idx="1">
                  <c:v>-1.8660067441469796</c:v>
                </c:pt>
                <c:pt idx="2">
                  <c:v>-1.9245014384716321</c:v>
                </c:pt>
                <c:pt idx="3">
                  <c:v>-1.8926125514744512</c:v>
                </c:pt>
                <c:pt idx="4">
                  <c:v>-1.9131650251961685</c:v>
                </c:pt>
                <c:pt idx="5">
                  <c:v>-2.0168022510395303</c:v>
                </c:pt>
                <c:pt idx="6">
                  <c:v>-2.0563183172668364</c:v>
                </c:pt>
                <c:pt idx="7">
                  <c:v>-2.0354360797831483</c:v>
                </c:pt>
                <c:pt idx="8">
                  <c:v>-1.8424383685409471</c:v>
                </c:pt>
                <c:pt idx="9">
                  <c:v>-1.9249387744220097</c:v>
                </c:pt>
                <c:pt idx="10">
                  <c:v>-1.9763478034438404</c:v>
                </c:pt>
                <c:pt idx="11">
                  <c:v>-1.9699456756491771</c:v>
                </c:pt>
                <c:pt idx="12">
                  <c:v>-1.9606236920028439</c:v>
                </c:pt>
                <c:pt idx="13">
                  <c:v>-1.844403800885329</c:v>
                </c:pt>
                <c:pt idx="14">
                  <c:v>-1.8873659983766369</c:v>
                </c:pt>
                <c:pt idx="15">
                  <c:v>-1.934758712653954</c:v>
                </c:pt>
                <c:pt idx="16">
                  <c:v>-1.9295007939232893</c:v>
                </c:pt>
                <c:pt idx="17">
                  <c:v>-1.9915636672323376</c:v>
                </c:pt>
                <c:pt idx="18">
                  <c:v>-1.9980264377936825</c:v>
                </c:pt>
                <c:pt idx="19">
                  <c:v>-2.0161703060255021</c:v>
                </c:pt>
                <c:pt idx="20">
                  <c:v>-2.0100129578888946</c:v>
                </c:pt>
                <c:pt idx="21">
                  <c:v>-2.1076210450651884</c:v>
                </c:pt>
                <c:pt idx="22">
                  <c:v>-2.0287796156148334</c:v>
                </c:pt>
                <c:pt idx="23">
                  <c:v>-2.0317285080705365</c:v>
                </c:pt>
                <c:pt idx="24">
                  <c:v>-2.0252152241268706</c:v>
                </c:pt>
                <c:pt idx="25">
                  <c:v>-1.9703207329742827</c:v>
                </c:pt>
                <c:pt idx="26">
                  <c:v>-2.017314256866924</c:v>
                </c:pt>
                <c:pt idx="27">
                  <c:v>-2.0035391890933947</c:v>
                </c:pt>
                <c:pt idx="28">
                  <c:v>-1.9339488559105305</c:v>
                </c:pt>
                <c:pt idx="29">
                  <c:v>-1.7808206615165454</c:v>
                </c:pt>
                <c:pt idx="30">
                  <c:v>-1.8570142730984012</c:v>
                </c:pt>
                <c:pt idx="31">
                  <c:v>-1.7976196898645007</c:v>
                </c:pt>
                <c:pt idx="32">
                  <c:v>-1.8246660444410829</c:v>
                </c:pt>
                <c:pt idx="33">
                  <c:v>-1.608258307580523</c:v>
                </c:pt>
                <c:pt idx="34">
                  <c:v>-1.4556106018119244</c:v>
                </c:pt>
                <c:pt idx="35">
                  <c:v>-1.7348470559078826</c:v>
                </c:pt>
                <c:pt idx="36">
                  <c:v>-1.8449628093080102</c:v>
                </c:pt>
                <c:pt idx="37">
                  <c:v>-1.8721611238943527</c:v>
                </c:pt>
                <c:pt idx="38">
                  <c:v>-1.8579877452643276</c:v>
                </c:pt>
                <c:pt idx="39">
                  <c:v>-1.8380057871355189</c:v>
                </c:pt>
                <c:pt idx="40">
                  <c:v>-1.7896655928147047</c:v>
                </c:pt>
                <c:pt idx="41">
                  <c:v>-1.742067701605825</c:v>
                </c:pt>
                <c:pt idx="42">
                  <c:v>-1.7312128462145902</c:v>
                </c:pt>
                <c:pt idx="43">
                  <c:v>-1.7439199168746655</c:v>
                </c:pt>
                <c:pt idx="44">
                  <c:v>-1.7832802450782332</c:v>
                </c:pt>
                <c:pt idx="45">
                  <c:v>-1.7032520116647727</c:v>
                </c:pt>
                <c:pt idx="46">
                  <c:v>-1.6863719012340845</c:v>
                </c:pt>
                <c:pt idx="47">
                  <c:v>-1.5819731271910982</c:v>
                </c:pt>
                <c:pt idx="48">
                  <c:v>-1.3922588247854719</c:v>
                </c:pt>
                <c:pt idx="49">
                  <c:v>-1.5365081789408745</c:v>
                </c:pt>
                <c:pt idx="50">
                  <c:v>-1.5502934346396939</c:v>
                </c:pt>
                <c:pt idx="51">
                  <c:v>-1.5036523203837797</c:v>
                </c:pt>
                <c:pt idx="52">
                  <c:v>-1.804688968446865</c:v>
                </c:pt>
                <c:pt idx="53">
                  <c:v>-1.8277325167118028</c:v>
                </c:pt>
                <c:pt idx="54">
                  <c:v>-1.7391804392205374</c:v>
                </c:pt>
                <c:pt idx="55">
                  <c:v>-1.8615038571335307</c:v>
                </c:pt>
                <c:pt idx="56">
                  <c:v>-1.8101849021128835</c:v>
                </c:pt>
                <c:pt idx="57">
                  <c:v>-1.6810020287536518</c:v>
                </c:pt>
                <c:pt idx="58">
                  <c:v>-1.6766382031503215</c:v>
                </c:pt>
                <c:pt idx="59">
                  <c:v>-1.8094823631977319</c:v>
                </c:pt>
                <c:pt idx="60">
                  <c:v>-1.7594100841739073</c:v>
                </c:pt>
                <c:pt idx="61">
                  <c:v>-1.7055475935697335</c:v>
                </c:pt>
                <c:pt idx="62">
                  <c:v>-1.6261029374362321</c:v>
                </c:pt>
                <c:pt idx="63">
                  <c:v>-1.6751687606401457</c:v>
                </c:pt>
                <c:pt idx="64">
                  <c:v>-1.6567394489185228</c:v>
                </c:pt>
                <c:pt idx="65">
                  <c:v>-1.4758391111443672</c:v>
                </c:pt>
                <c:pt idx="66">
                  <c:v>-1.3237655215329887</c:v>
                </c:pt>
                <c:pt idx="67">
                  <c:v>-1.3671399512032814</c:v>
                </c:pt>
                <c:pt idx="68">
                  <c:v>-1.4046266150565718</c:v>
                </c:pt>
                <c:pt idx="69">
                  <c:v>-1.3510772663515267</c:v>
                </c:pt>
                <c:pt idx="70">
                  <c:v>-1.3241838736941296</c:v>
                </c:pt>
                <c:pt idx="71">
                  <c:v>-1.4157221391241097</c:v>
                </c:pt>
                <c:pt idx="72">
                  <c:v>-1.4921801956671419</c:v>
                </c:pt>
                <c:pt idx="73">
                  <c:v>-1.4648744244512297</c:v>
                </c:pt>
                <c:pt idx="74">
                  <c:v>-1.2404615753398618</c:v>
                </c:pt>
                <c:pt idx="75">
                  <c:v>-1.2924717386767353</c:v>
                </c:pt>
                <c:pt idx="76">
                  <c:v>-1.3132683516126602</c:v>
                </c:pt>
                <c:pt idx="77">
                  <c:v>-1.2643805033521565</c:v>
                </c:pt>
                <c:pt idx="78">
                  <c:v>-1.2033420234641619</c:v>
                </c:pt>
                <c:pt idx="79">
                  <c:v>-1.2246617527921022</c:v>
                </c:pt>
                <c:pt idx="80">
                  <c:v>-1.066933172587667</c:v>
                </c:pt>
                <c:pt idx="81">
                  <c:v>-1.1584154137679366</c:v>
                </c:pt>
                <c:pt idx="82">
                  <c:v>-1.1653313309477165</c:v>
                </c:pt>
                <c:pt idx="83">
                  <c:v>-1.0182572706242783</c:v>
                </c:pt>
                <c:pt idx="84">
                  <c:v>-1.0024833882208828</c:v>
                </c:pt>
                <c:pt idx="85">
                  <c:v>-1.0856365091058326</c:v>
                </c:pt>
                <c:pt idx="86">
                  <c:v>-1.0877763825159463</c:v>
                </c:pt>
                <c:pt idx="87">
                  <c:v>-1.2878285068472888</c:v>
                </c:pt>
                <c:pt idx="88">
                  <c:v>-1.384479040023622</c:v>
                </c:pt>
                <c:pt idx="89">
                  <c:v>-1.4019563665118566</c:v>
                </c:pt>
                <c:pt idx="90">
                  <c:v>-1.3845316255468463</c:v>
                </c:pt>
                <c:pt idx="91">
                  <c:v>-1.4099841679158862</c:v>
                </c:pt>
                <c:pt idx="92">
                  <c:v>-1.4140772010437379</c:v>
                </c:pt>
                <c:pt idx="93">
                  <c:v>-1.540804659458626</c:v>
                </c:pt>
                <c:pt idx="94">
                  <c:v>-1.7844496921747823</c:v>
                </c:pt>
                <c:pt idx="95">
                  <c:v>-1.793559320228876</c:v>
                </c:pt>
                <c:pt idx="96">
                  <c:v>-1.8794640018701774</c:v>
                </c:pt>
                <c:pt idx="97">
                  <c:v>-1.7312308887268251</c:v>
                </c:pt>
                <c:pt idx="98">
                  <c:v>-1.7638554684146222</c:v>
                </c:pt>
                <c:pt idx="99">
                  <c:v>-1.7738974392267246</c:v>
                </c:pt>
                <c:pt idx="100">
                  <c:v>-1.7473024573815779</c:v>
                </c:pt>
                <c:pt idx="101">
                  <c:v>-1.7689141833184245</c:v>
                </c:pt>
                <c:pt idx="102">
                  <c:v>-1.8483701162191548</c:v>
                </c:pt>
                <c:pt idx="103">
                  <c:v>-1.7841000419794457</c:v>
                </c:pt>
                <c:pt idx="104">
                  <c:v>-1.914078818600053</c:v>
                </c:pt>
                <c:pt idx="105">
                  <c:v>-1.8206340746051386</c:v>
                </c:pt>
                <c:pt idx="106">
                  <c:v>-1.7770286739092644</c:v>
                </c:pt>
                <c:pt idx="107">
                  <c:v>-1.7213899395119694</c:v>
                </c:pt>
                <c:pt idx="108">
                  <c:v>-1.855521140129222</c:v>
                </c:pt>
                <c:pt idx="109">
                  <c:v>-1.8407938564910835</c:v>
                </c:pt>
                <c:pt idx="110">
                  <c:v>-1.9004283640860078</c:v>
                </c:pt>
                <c:pt idx="111">
                  <c:v>-1.8711086042166802</c:v>
                </c:pt>
                <c:pt idx="112">
                  <c:v>-1.8143322206073766</c:v>
                </c:pt>
                <c:pt idx="113">
                  <c:v>-1.84424714416657</c:v>
                </c:pt>
                <c:pt idx="114">
                  <c:v>-1.8487812379552873</c:v>
                </c:pt>
                <c:pt idx="115">
                  <c:v>-1.8052748062931507</c:v>
                </c:pt>
                <c:pt idx="116">
                  <c:v>-1.7451949936960784</c:v>
                </c:pt>
                <c:pt idx="117">
                  <c:v>-1.7281461578478896</c:v>
                </c:pt>
                <c:pt idx="118">
                  <c:v>-1.5909321936882872</c:v>
                </c:pt>
                <c:pt idx="119">
                  <c:v>-1.6674672133542896</c:v>
                </c:pt>
                <c:pt idx="120">
                  <c:v>-1.6856657621196058</c:v>
                </c:pt>
                <c:pt idx="121">
                  <c:v>-1.6554803280898369</c:v>
                </c:pt>
                <c:pt idx="122">
                  <c:v>-1.6266334233288999</c:v>
                </c:pt>
                <c:pt idx="123">
                  <c:v>-1.5494511872705532</c:v>
                </c:pt>
                <c:pt idx="124">
                  <c:v>-1.4193588217898343</c:v>
                </c:pt>
                <c:pt idx="125">
                  <c:v>-1.4493324606082956</c:v>
                </c:pt>
                <c:pt idx="126">
                  <c:v>-1.3868506133576077</c:v>
                </c:pt>
                <c:pt idx="127">
                  <c:v>-1.4438390402928594</c:v>
                </c:pt>
                <c:pt idx="128">
                  <c:v>-1.576201348335263</c:v>
                </c:pt>
                <c:pt idx="129">
                  <c:v>-1.6704265111896865</c:v>
                </c:pt>
                <c:pt idx="130">
                  <c:v>-1.6531239187993085</c:v>
                </c:pt>
                <c:pt idx="131">
                  <c:v>-1.727600028972641</c:v>
                </c:pt>
                <c:pt idx="132">
                  <c:v>-1.6659760087633781</c:v>
                </c:pt>
                <c:pt idx="133">
                  <c:v>-1.7002841089712555</c:v>
                </c:pt>
                <c:pt idx="134">
                  <c:v>-1.7211632720316579</c:v>
                </c:pt>
                <c:pt idx="135">
                  <c:v>-1.720955472264222</c:v>
                </c:pt>
                <c:pt idx="136">
                  <c:v>-1.8126257383875415</c:v>
                </c:pt>
                <c:pt idx="137">
                  <c:v>-1.793022386597694</c:v>
                </c:pt>
                <c:pt idx="138">
                  <c:v>-1.8468509783415397</c:v>
                </c:pt>
                <c:pt idx="139">
                  <c:v>-1.8866333697200859</c:v>
                </c:pt>
                <c:pt idx="140">
                  <c:v>-1.7355999209050856</c:v>
                </c:pt>
                <c:pt idx="141">
                  <c:v>-1.7210571802575143</c:v>
                </c:pt>
                <c:pt idx="142">
                  <c:v>-1.6691824970905782</c:v>
                </c:pt>
                <c:pt idx="143">
                  <c:v>-1.7445085648813037</c:v>
                </c:pt>
                <c:pt idx="144">
                  <c:v>-1.8127325928271962</c:v>
                </c:pt>
                <c:pt idx="145">
                  <c:v>-1.9154912377375326</c:v>
                </c:pt>
                <c:pt idx="146">
                  <c:v>-1.9280329185955836</c:v>
                </c:pt>
                <c:pt idx="147">
                  <c:v>-1.840760438300995</c:v>
                </c:pt>
                <c:pt idx="148">
                  <c:v>-1.8246933999783312</c:v>
                </c:pt>
                <c:pt idx="149">
                  <c:v>-1.7246367922033419</c:v>
                </c:pt>
                <c:pt idx="150">
                  <c:v>-1.6355962406322879</c:v>
                </c:pt>
                <c:pt idx="151">
                  <c:v>-1.6629727597580235</c:v>
                </c:pt>
                <c:pt idx="152">
                  <c:v>-1.5838872117652003</c:v>
                </c:pt>
                <c:pt idx="153">
                  <c:v>-1.780443358889666</c:v>
                </c:pt>
                <c:pt idx="154">
                  <c:v>-1.9286881901243249</c:v>
                </c:pt>
                <c:pt idx="155">
                  <c:v>-1.9005518439625493</c:v>
                </c:pt>
                <c:pt idx="156">
                  <c:v>-1.9472454643899426</c:v>
                </c:pt>
                <c:pt idx="157">
                  <c:v>-2.0917104453432427</c:v>
                </c:pt>
                <c:pt idx="158">
                  <c:v>-2.0727916707048553</c:v>
                </c:pt>
                <c:pt idx="159">
                  <c:v>-2.0418024722936883</c:v>
                </c:pt>
                <c:pt idx="160">
                  <c:v>-1.9236481069739502</c:v>
                </c:pt>
                <c:pt idx="161">
                  <c:v>-1.8284244463282762</c:v>
                </c:pt>
                <c:pt idx="162">
                  <c:v>-1.915058583016092</c:v>
                </c:pt>
                <c:pt idx="163">
                  <c:v>-1.8904137675399535</c:v>
                </c:pt>
                <c:pt idx="164">
                  <c:v>-1.8989613455359402</c:v>
                </c:pt>
                <c:pt idx="165">
                  <c:v>-1.8645993963816196</c:v>
                </c:pt>
                <c:pt idx="166">
                  <c:v>-1.8558512106800964</c:v>
                </c:pt>
                <c:pt idx="167">
                  <c:v>-2.007477721570337</c:v>
                </c:pt>
                <c:pt idx="168">
                  <c:v>-1.8420573573465773</c:v>
                </c:pt>
                <c:pt idx="169">
                  <c:v>-1.8142172534730578</c:v>
                </c:pt>
                <c:pt idx="170">
                  <c:v>-1.8658092194313345</c:v>
                </c:pt>
                <c:pt idx="171">
                  <c:v>-1.8789850328469613</c:v>
                </c:pt>
                <c:pt idx="172">
                  <c:v>-1.9558556911833094</c:v>
                </c:pt>
                <c:pt idx="173">
                  <c:v>-1.9262414721627681</c:v>
                </c:pt>
                <c:pt idx="174">
                  <c:v>-1.7629573290959279</c:v>
                </c:pt>
                <c:pt idx="175">
                  <c:v>-1.7667444612205441</c:v>
                </c:pt>
                <c:pt idx="176">
                  <c:v>-1.7099408124847244</c:v>
                </c:pt>
                <c:pt idx="177">
                  <c:v>-1.6460716723533064</c:v>
                </c:pt>
                <c:pt idx="178">
                  <c:v>-1.6324980769492989</c:v>
                </c:pt>
                <c:pt idx="179">
                  <c:v>-1.4929794242057928</c:v>
                </c:pt>
                <c:pt idx="180">
                  <c:v>-1.5936451577914634</c:v>
                </c:pt>
                <c:pt idx="181">
                  <c:v>-1.86272833698033</c:v>
                </c:pt>
                <c:pt idx="182">
                  <c:v>-2.0091297500647243</c:v>
                </c:pt>
                <c:pt idx="183">
                  <c:v>-2.0120736996458262</c:v>
                </c:pt>
                <c:pt idx="184">
                  <c:v>-1.8495084560873409</c:v>
                </c:pt>
                <c:pt idx="185">
                  <c:v>-1.9260991398141525</c:v>
                </c:pt>
                <c:pt idx="186">
                  <c:v>-1.9372182726618008</c:v>
                </c:pt>
                <c:pt idx="187">
                  <c:v>-1.8168200935265708</c:v>
                </c:pt>
                <c:pt idx="188">
                  <c:v>-1.6997703172623582</c:v>
                </c:pt>
                <c:pt idx="189">
                  <c:v>-1.5763090364425447</c:v>
                </c:pt>
                <c:pt idx="190">
                  <c:v>-1.8268862217600783</c:v>
                </c:pt>
                <c:pt idx="191">
                  <c:v>-1.9419957376014194</c:v>
                </c:pt>
                <c:pt idx="192">
                  <c:v>-1.9472917913121912</c:v>
                </c:pt>
                <c:pt idx="193">
                  <c:v>-1.9513606975135134</c:v>
                </c:pt>
                <c:pt idx="194">
                  <c:v>-1.9030285929914292</c:v>
                </c:pt>
                <c:pt idx="195">
                  <c:v>-1.8637366519917342</c:v>
                </c:pt>
                <c:pt idx="196">
                  <c:v>-1.835959796698682</c:v>
                </c:pt>
                <c:pt idx="197">
                  <c:v>-1.8129861711829904</c:v>
                </c:pt>
                <c:pt idx="198">
                  <c:v>-1.8554509381531381</c:v>
                </c:pt>
                <c:pt idx="199">
                  <c:v>-2.0192745156700158</c:v>
                </c:pt>
                <c:pt idx="200">
                  <c:v>-1.9830127870102943</c:v>
                </c:pt>
                <c:pt idx="201">
                  <c:v>-1.9937335832765073</c:v>
                </c:pt>
                <c:pt idx="202">
                  <c:v>-2.0133064584996472</c:v>
                </c:pt>
                <c:pt idx="203">
                  <c:v>-2.0264584723313797</c:v>
                </c:pt>
                <c:pt idx="204">
                  <c:v>-1.9842701731411259</c:v>
                </c:pt>
                <c:pt idx="205">
                  <c:v>-1.8897494229448797</c:v>
                </c:pt>
                <c:pt idx="206">
                  <c:v>-1.909997153769786</c:v>
                </c:pt>
                <c:pt idx="207">
                  <c:v>-1.9296295577786182</c:v>
                </c:pt>
                <c:pt idx="208">
                  <c:v>-2.0014426930431326</c:v>
                </c:pt>
                <c:pt idx="209">
                  <c:v>-2.133159331865135</c:v>
                </c:pt>
                <c:pt idx="210">
                  <c:v>-2.1061701878153491</c:v>
                </c:pt>
                <c:pt idx="211">
                  <c:v>-2.0266049744207284</c:v>
                </c:pt>
                <c:pt idx="212">
                  <c:v>-1.9691752709123338</c:v>
                </c:pt>
                <c:pt idx="213">
                  <c:v>-1.8797518816225383</c:v>
                </c:pt>
                <c:pt idx="214">
                  <c:v>-2.047808617046019</c:v>
                </c:pt>
                <c:pt idx="215">
                  <c:v>-2.1037149854955151</c:v>
                </c:pt>
                <c:pt idx="216">
                  <c:v>-2.3140414561303442</c:v>
                </c:pt>
                <c:pt idx="217">
                  <c:v>-2.4140390099429405</c:v>
                </c:pt>
                <c:pt idx="218">
                  <c:v>-2.3435027140575122</c:v>
                </c:pt>
                <c:pt idx="219">
                  <c:v>-2.36353387649747</c:v>
                </c:pt>
                <c:pt idx="220">
                  <c:v>-2.344437145562424</c:v>
                </c:pt>
                <c:pt idx="221">
                  <c:v>-2.3967540149596043</c:v>
                </c:pt>
                <c:pt idx="222">
                  <c:v>-2.1977929483137273</c:v>
                </c:pt>
                <c:pt idx="223">
                  <c:v>-2.1698745129171351</c:v>
                </c:pt>
                <c:pt idx="224">
                  <c:v>-1.917559857305569</c:v>
                </c:pt>
                <c:pt idx="225">
                  <c:v>-1.9057833730687066</c:v>
                </c:pt>
                <c:pt idx="226">
                  <c:v>-1.9560713729591521</c:v>
                </c:pt>
                <c:pt idx="227">
                  <c:v>-2.0045034258826324</c:v>
                </c:pt>
                <c:pt idx="228">
                  <c:v>-1.5183598029556356</c:v>
                </c:pt>
                <c:pt idx="229">
                  <c:v>-1.5917804954198127</c:v>
                </c:pt>
                <c:pt idx="230">
                  <c:v>-1.4827638169263078</c:v>
                </c:pt>
                <c:pt idx="231">
                  <c:v>-1.4762733940682029</c:v>
                </c:pt>
                <c:pt idx="232">
                  <c:v>-1.5595186776553334</c:v>
                </c:pt>
                <c:pt idx="233">
                  <c:v>-1.5175210239579204</c:v>
                </c:pt>
                <c:pt idx="234">
                  <c:v>-1.6804289797845793</c:v>
                </c:pt>
                <c:pt idx="235">
                  <c:v>-1.6127537729326069</c:v>
                </c:pt>
                <c:pt idx="236">
                  <c:v>-1.350074153401823</c:v>
                </c:pt>
                <c:pt idx="237">
                  <c:v>-1.1041244674639445</c:v>
                </c:pt>
                <c:pt idx="238">
                  <c:v>-1.2259223186860626</c:v>
                </c:pt>
                <c:pt idx="239">
                  <c:v>-1.2293525579026396</c:v>
                </c:pt>
                <c:pt idx="240">
                  <c:v>-0.94080745338349747</c:v>
                </c:pt>
                <c:pt idx="241">
                  <c:v>-0.34810234795792339</c:v>
                </c:pt>
                <c:pt idx="242">
                  <c:v>-8.0481352214369362E-2</c:v>
                </c:pt>
                <c:pt idx="243">
                  <c:v>-0.27255821711163708</c:v>
                </c:pt>
                <c:pt idx="244">
                  <c:v>-0.32851461398419157</c:v>
                </c:pt>
                <c:pt idx="245">
                  <c:v>-0.35308220094949971</c:v>
                </c:pt>
                <c:pt idx="246">
                  <c:v>-0.32779228469932431</c:v>
                </c:pt>
                <c:pt idx="247">
                  <c:v>-0.33222875905688076</c:v>
                </c:pt>
                <c:pt idx="248">
                  <c:v>-0.37625620650835467</c:v>
                </c:pt>
                <c:pt idx="249">
                  <c:v>-0.37893467568107531</c:v>
                </c:pt>
                <c:pt idx="250">
                  <c:v>-0.35143230609366716</c:v>
                </c:pt>
                <c:pt idx="251">
                  <c:v>-0.3975917199799327</c:v>
                </c:pt>
                <c:pt idx="252">
                  <c:v>-0.39500990428355187</c:v>
                </c:pt>
                <c:pt idx="253">
                  <c:v>-0.39489515231409744</c:v>
                </c:pt>
                <c:pt idx="254">
                  <c:v>-0.40201004634701121</c:v>
                </c:pt>
                <c:pt idx="255">
                  <c:v>-0.38695365253609337</c:v>
                </c:pt>
                <c:pt idx="256">
                  <c:v>-0.45692987412512143</c:v>
                </c:pt>
                <c:pt idx="257">
                  <c:v>-0.43323433466823136</c:v>
                </c:pt>
                <c:pt idx="258">
                  <c:v>-0.58473018675927702</c:v>
                </c:pt>
                <c:pt idx="259">
                  <c:v>-0.80796459321492697</c:v>
                </c:pt>
                <c:pt idx="260">
                  <c:v>-1.274128768657389</c:v>
                </c:pt>
                <c:pt idx="261">
                  <c:v>-1.4456106747071265</c:v>
                </c:pt>
                <c:pt idx="262">
                  <c:v>-1.4522101788689321</c:v>
                </c:pt>
                <c:pt idx="263">
                  <c:v>-1.4938396739015678</c:v>
                </c:pt>
                <c:pt idx="264">
                  <c:v>-1.7133377817285824</c:v>
                </c:pt>
                <c:pt idx="265">
                  <c:v>-1.7092602427292221</c:v>
                </c:pt>
                <c:pt idx="266">
                  <c:v>-1.618942454995127</c:v>
                </c:pt>
                <c:pt idx="267">
                  <c:v>-1.5691416881647045</c:v>
                </c:pt>
                <c:pt idx="268">
                  <c:v>-1.6506522452689794</c:v>
                </c:pt>
                <c:pt idx="269">
                  <c:v>-1.7871520039474973</c:v>
                </c:pt>
                <c:pt idx="270">
                  <c:v>-1.7387040406007532</c:v>
                </c:pt>
                <c:pt idx="271">
                  <c:v>-1.7626345176036953</c:v>
                </c:pt>
                <c:pt idx="272">
                  <c:v>-1.7681043178833957</c:v>
                </c:pt>
                <c:pt idx="273">
                  <c:v>-1.6407455892540619</c:v>
                </c:pt>
                <c:pt idx="274">
                  <c:v>-1.6871459126701542</c:v>
                </c:pt>
                <c:pt idx="275">
                  <c:v>-1.5780567288082858</c:v>
                </c:pt>
                <c:pt idx="276">
                  <c:v>-1.5216620854885328</c:v>
                </c:pt>
                <c:pt idx="277">
                  <c:v>-1.649799766971896</c:v>
                </c:pt>
                <c:pt idx="278">
                  <c:v>-1.6274808560510037</c:v>
                </c:pt>
                <c:pt idx="279">
                  <c:v>-1.7284683463386368</c:v>
                </c:pt>
                <c:pt idx="280">
                  <c:v>-1.7821166216313782</c:v>
                </c:pt>
                <c:pt idx="281">
                  <c:v>-1.7360121698559032</c:v>
                </c:pt>
                <c:pt idx="282">
                  <c:v>-1.5675642373385266</c:v>
                </c:pt>
                <c:pt idx="283">
                  <c:v>-1.5416889020528362</c:v>
                </c:pt>
                <c:pt idx="284">
                  <c:v>-1.3694581199305289</c:v>
                </c:pt>
                <c:pt idx="285">
                  <c:v>-1.0392305841610607</c:v>
                </c:pt>
                <c:pt idx="286">
                  <c:v>-1.1461279601891876</c:v>
                </c:pt>
                <c:pt idx="287">
                  <c:v>-1.2317051901613576</c:v>
                </c:pt>
                <c:pt idx="288">
                  <c:v>-1.3689880051868841</c:v>
                </c:pt>
                <c:pt idx="289">
                  <c:v>-1.4511164291126462</c:v>
                </c:pt>
                <c:pt idx="290">
                  <c:v>-1.4211334728286369</c:v>
                </c:pt>
                <c:pt idx="291">
                  <c:v>-1.4344919173525983</c:v>
                </c:pt>
                <c:pt idx="292">
                  <c:v>-1.3608298627418582</c:v>
                </c:pt>
                <c:pt idx="293">
                  <c:v>-1.31409267798551</c:v>
                </c:pt>
                <c:pt idx="294">
                  <c:v>-1.2647217316009667</c:v>
                </c:pt>
                <c:pt idx="295">
                  <c:v>-1.3407105100800889</c:v>
                </c:pt>
                <c:pt idx="296">
                  <c:v>-1.1786035136763324</c:v>
                </c:pt>
                <c:pt idx="297">
                  <c:v>-1.2207493502960443</c:v>
                </c:pt>
                <c:pt idx="298">
                  <c:v>-1.1280863371842993</c:v>
                </c:pt>
                <c:pt idx="299">
                  <c:v>-1.0233740401571048</c:v>
                </c:pt>
                <c:pt idx="300">
                  <c:v>-1.1826127541627902</c:v>
                </c:pt>
                <c:pt idx="301">
                  <c:v>-1.2021929700043663</c:v>
                </c:pt>
                <c:pt idx="302">
                  <c:v>-1.2420769078086744</c:v>
                </c:pt>
                <c:pt idx="303">
                  <c:v>-1.3941052618748708</c:v>
                </c:pt>
                <c:pt idx="304">
                  <c:v>-1.1721501533312391</c:v>
                </c:pt>
                <c:pt idx="305">
                  <c:v>-1.2894175131659491</c:v>
                </c:pt>
                <c:pt idx="306">
                  <c:v>-1.3297102717819236</c:v>
                </c:pt>
                <c:pt idx="307">
                  <c:v>-1.3527996985274084</c:v>
                </c:pt>
                <c:pt idx="308">
                  <c:v>-1.322933531323002</c:v>
                </c:pt>
                <c:pt idx="309">
                  <c:v>-1.2476686995488877</c:v>
                </c:pt>
                <c:pt idx="310">
                  <c:v>-1.3735233468624695</c:v>
                </c:pt>
                <c:pt idx="311">
                  <c:v>-1.378279112416112</c:v>
                </c:pt>
                <c:pt idx="312">
                  <c:v>-1.4733157990159298</c:v>
                </c:pt>
                <c:pt idx="313">
                  <c:v>-1.5444150359038962</c:v>
                </c:pt>
                <c:pt idx="314">
                  <c:v>-1.7372071393476189</c:v>
                </c:pt>
                <c:pt idx="315">
                  <c:v>-1.7145573744966871</c:v>
                </c:pt>
                <c:pt idx="316">
                  <c:v>-1.7376499362108144</c:v>
                </c:pt>
                <c:pt idx="317">
                  <c:v>-1.4221868896387737</c:v>
                </c:pt>
                <c:pt idx="318">
                  <c:v>-1.4285909194044968</c:v>
                </c:pt>
                <c:pt idx="319">
                  <c:v>-1.3720145127585788</c:v>
                </c:pt>
                <c:pt idx="320">
                  <c:v>-1.4323254280993307</c:v>
                </c:pt>
                <c:pt idx="321">
                  <c:v>-1.3101581285880357</c:v>
                </c:pt>
                <c:pt idx="322">
                  <c:v>-1.578146425467744</c:v>
                </c:pt>
                <c:pt idx="323">
                  <c:v>-1.6731861083675454</c:v>
                </c:pt>
                <c:pt idx="324">
                  <c:v>-1.8007121213190715</c:v>
                </c:pt>
                <c:pt idx="325">
                  <c:v>-1.8294130978095855</c:v>
                </c:pt>
                <c:pt idx="326">
                  <c:v>-1.9314361367077928</c:v>
                </c:pt>
                <c:pt idx="327">
                  <c:v>-2.0216764103858398</c:v>
                </c:pt>
                <c:pt idx="328">
                  <c:v>-2.2649517793521063</c:v>
                </c:pt>
                <c:pt idx="329">
                  <c:v>-2.3587223961006649</c:v>
                </c:pt>
                <c:pt idx="330">
                  <c:v>-2.3453489950980142</c:v>
                </c:pt>
                <c:pt idx="331">
                  <c:v>-2.3542122613133576</c:v>
                </c:pt>
                <c:pt idx="332">
                  <c:v>-2.4050937896469211</c:v>
                </c:pt>
                <c:pt idx="333">
                  <c:v>-2.2518150435496698</c:v>
                </c:pt>
                <c:pt idx="334">
                  <c:v>-2.4648681791232567</c:v>
                </c:pt>
                <c:pt idx="335">
                  <c:v>-2.3483950332114363</c:v>
                </c:pt>
                <c:pt idx="336">
                  <c:v>-2.5522206369268883</c:v>
                </c:pt>
                <c:pt idx="337">
                  <c:v>-2.5900395859538223</c:v>
                </c:pt>
                <c:pt idx="338">
                  <c:v>-2.636497476994863</c:v>
                </c:pt>
                <c:pt idx="339">
                  <c:v>-2.6072858786089088</c:v>
                </c:pt>
                <c:pt idx="340">
                  <c:v>-2.567901598241582</c:v>
                </c:pt>
                <c:pt idx="341">
                  <c:v>-2.5657015851911642</c:v>
                </c:pt>
                <c:pt idx="342">
                  <c:v>-2.5555943052484964</c:v>
                </c:pt>
                <c:pt idx="343">
                  <c:v>-2.4964556949722909</c:v>
                </c:pt>
                <c:pt idx="344">
                  <c:v>-2.4063324512904214</c:v>
                </c:pt>
                <c:pt idx="345">
                  <c:v>-2.455662790950679</c:v>
                </c:pt>
                <c:pt idx="346">
                  <c:v>-2.3648000969069733</c:v>
                </c:pt>
                <c:pt idx="347">
                  <c:v>-2.4838959667930003</c:v>
                </c:pt>
                <c:pt idx="348">
                  <c:v>-2.6106656263555976</c:v>
                </c:pt>
                <c:pt idx="349">
                  <c:v>-2.6649151508742999</c:v>
                </c:pt>
                <c:pt idx="350">
                  <c:v>-2.5807130622968697</c:v>
                </c:pt>
                <c:pt idx="351">
                  <c:v>-2.7357602406696286</c:v>
                </c:pt>
                <c:pt idx="352">
                  <c:v>-2.6452249797546696</c:v>
                </c:pt>
                <c:pt idx="353">
                  <c:v>-2.6708414781373935</c:v>
                </c:pt>
                <c:pt idx="354">
                  <c:v>-2.547503089857742</c:v>
                </c:pt>
                <c:pt idx="355">
                  <c:v>-2.6043377009295119</c:v>
                </c:pt>
                <c:pt idx="356">
                  <c:v>-2.6732200374279196</c:v>
                </c:pt>
                <c:pt idx="357">
                  <c:v>-2.6046473132769674</c:v>
                </c:pt>
                <c:pt idx="358">
                  <c:v>-2.4713295982424328</c:v>
                </c:pt>
                <c:pt idx="359">
                  <c:v>-2.5299917554973388</c:v>
                </c:pt>
                <c:pt idx="360">
                  <c:v>-2.4144471480439278</c:v>
                </c:pt>
                <c:pt idx="361">
                  <c:v>-2.3554609342266954</c:v>
                </c:pt>
                <c:pt idx="362">
                  <c:v>-2.3788986382408881</c:v>
                </c:pt>
                <c:pt idx="363">
                  <c:v>-2.5350881127196505</c:v>
                </c:pt>
                <c:pt idx="364">
                  <c:v>-2.4530648071039538</c:v>
                </c:pt>
                <c:pt idx="365">
                  <c:v>-2.5263087075137114</c:v>
                </c:pt>
                <c:pt idx="366">
                  <c:v>-2.2679149543157924</c:v>
                </c:pt>
                <c:pt idx="367">
                  <c:v>-2.3475292645389154</c:v>
                </c:pt>
                <c:pt idx="368">
                  <c:v>-2.3550991465962379</c:v>
                </c:pt>
                <c:pt idx="369">
                  <c:v>-2.3671242481106125</c:v>
                </c:pt>
                <c:pt idx="370">
                  <c:v>-2.4824264719001534</c:v>
                </c:pt>
                <c:pt idx="371">
                  <c:v>-2.4469342163461438</c:v>
                </c:pt>
                <c:pt idx="372">
                  <c:v>-2.3055653664151472</c:v>
                </c:pt>
                <c:pt idx="373">
                  <c:v>-2.349240912070345</c:v>
                </c:pt>
                <c:pt idx="374">
                  <c:v>-2.3828668655492691</c:v>
                </c:pt>
                <c:pt idx="375">
                  <c:v>-2.5549134649566621</c:v>
                </c:pt>
                <c:pt idx="376">
                  <c:v>-2.690626052262139</c:v>
                </c:pt>
                <c:pt idx="377">
                  <c:v>-2.7718689329799995</c:v>
                </c:pt>
                <c:pt idx="378">
                  <c:v>-2.7090753895821034</c:v>
                </c:pt>
                <c:pt idx="379">
                  <c:v>-2.6958103019161412</c:v>
                </c:pt>
                <c:pt idx="380">
                  <c:v>-2.6621760586483707</c:v>
                </c:pt>
                <c:pt idx="381">
                  <c:v>-2.5314924233364238</c:v>
                </c:pt>
                <c:pt idx="382">
                  <c:v>-2.5545068313506207</c:v>
                </c:pt>
                <c:pt idx="383">
                  <c:v>-2.4978255502424136</c:v>
                </c:pt>
                <c:pt idx="384">
                  <c:v>-2.4727102803880636</c:v>
                </c:pt>
                <c:pt idx="385">
                  <c:v>-2.5761333934922264</c:v>
                </c:pt>
                <c:pt idx="386">
                  <c:v>-2.4947734859463488</c:v>
                </c:pt>
                <c:pt idx="387">
                  <c:v>-2.6078029274288848</c:v>
                </c:pt>
                <c:pt idx="388">
                  <c:v>-2.616558402469138</c:v>
                </c:pt>
                <c:pt idx="389">
                  <c:v>-2.5722994963454613</c:v>
                </c:pt>
                <c:pt idx="390">
                  <c:v>-2.7347639226203619</c:v>
                </c:pt>
                <c:pt idx="391">
                  <c:v>-2.8039479881268172</c:v>
                </c:pt>
                <c:pt idx="392">
                  <c:v>-2.8268110351726983</c:v>
                </c:pt>
                <c:pt idx="393">
                  <c:v>-2.9580559629073586</c:v>
                </c:pt>
                <c:pt idx="394">
                  <c:v>-3.085574829762614</c:v>
                </c:pt>
                <c:pt idx="395">
                  <c:v>-3.2041498527733885</c:v>
                </c:pt>
                <c:pt idx="396">
                  <c:v>-3.3143845447973184</c:v>
                </c:pt>
                <c:pt idx="397">
                  <c:v>-3.2102598652985397</c:v>
                </c:pt>
                <c:pt idx="398">
                  <c:v>-3.1466815274929778</c:v>
                </c:pt>
                <c:pt idx="399">
                  <c:v>-3.1306004134090779</c:v>
                </c:pt>
                <c:pt idx="400">
                  <c:v>-3.0250959883184034</c:v>
                </c:pt>
                <c:pt idx="401">
                  <c:v>-2.9406323074382477</c:v>
                </c:pt>
                <c:pt idx="402">
                  <c:v>-2.9253998261561729</c:v>
                </c:pt>
                <c:pt idx="403">
                  <c:v>-2.9394643047546904</c:v>
                </c:pt>
                <c:pt idx="404">
                  <c:v>-2.9643446365358748</c:v>
                </c:pt>
                <c:pt idx="405">
                  <c:v>-2.7672257692502362</c:v>
                </c:pt>
                <c:pt idx="406">
                  <c:v>-2.6303017882379653</c:v>
                </c:pt>
                <c:pt idx="407">
                  <c:v>-2.6171512666136292</c:v>
                </c:pt>
                <c:pt idx="408">
                  <c:v>-2.5295811052665322</c:v>
                </c:pt>
                <c:pt idx="409">
                  <c:v>-2.5807779805864977</c:v>
                </c:pt>
                <c:pt idx="410">
                  <c:v>-2.597509771247235</c:v>
                </c:pt>
                <c:pt idx="411">
                  <c:v>-2.5976006031921108</c:v>
                </c:pt>
                <c:pt idx="412">
                  <c:v>-2.6178620393789194</c:v>
                </c:pt>
                <c:pt idx="413">
                  <c:v>-2.4612283323636133</c:v>
                </c:pt>
                <c:pt idx="414">
                  <c:v>-2.4424109026926279</c:v>
                </c:pt>
                <c:pt idx="415">
                  <c:v>-2.3658088587770414</c:v>
                </c:pt>
                <c:pt idx="416">
                  <c:v>-2.4046541112245525</c:v>
                </c:pt>
                <c:pt idx="417">
                  <c:v>-2.3181883683552749</c:v>
                </c:pt>
                <c:pt idx="418">
                  <c:v>-2.2851391539081423</c:v>
                </c:pt>
                <c:pt idx="419">
                  <c:v>-2.2180234316123468</c:v>
                </c:pt>
                <c:pt idx="420">
                  <c:v>-2.2719976093111014</c:v>
                </c:pt>
                <c:pt idx="421">
                  <c:v>-2.2338918681523081</c:v>
                </c:pt>
                <c:pt idx="422">
                  <c:v>-2.0408039859319826</c:v>
                </c:pt>
                <c:pt idx="423">
                  <c:v>-1.9702403165365401</c:v>
                </c:pt>
                <c:pt idx="424">
                  <c:v>-1.8078684262352929</c:v>
                </c:pt>
                <c:pt idx="425">
                  <c:v>-1.6152004415209045</c:v>
                </c:pt>
                <c:pt idx="426">
                  <c:v>-1.6963693604281636</c:v>
                </c:pt>
                <c:pt idx="427">
                  <c:v>-1.6997523264441639</c:v>
                </c:pt>
                <c:pt idx="428">
                  <c:v>-1.7083023936451815</c:v>
                </c:pt>
                <c:pt idx="429">
                  <c:v>-1.5413105531899438</c:v>
                </c:pt>
                <c:pt idx="430">
                  <c:v>-1.7056596034848144</c:v>
                </c:pt>
                <c:pt idx="431">
                  <c:v>-1.8170430054240074</c:v>
                </c:pt>
                <c:pt idx="432">
                  <c:v>-1.9540069623127407</c:v>
                </c:pt>
                <c:pt idx="433">
                  <c:v>-2.0494223710018376</c:v>
                </c:pt>
                <c:pt idx="434">
                  <c:v>-2.164870726500888</c:v>
                </c:pt>
                <c:pt idx="435">
                  <c:v>-2.3510100747699485</c:v>
                </c:pt>
                <c:pt idx="436">
                  <c:v>-2.3742912182117775</c:v>
                </c:pt>
                <c:pt idx="437">
                  <c:v>-2.2881111268381225</c:v>
                </c:pt>
                <c:pt idx="438">
                  <c:v>-2.3672276055696058</c:v>
                </c:pt>
                <c:pt idx="439">
                  <c:v>-2.4217258268182653</c:v>
                </c:pt>
                <c:pt idx="440">
                  <c:v>-2.4536840623641294</c:v>
                </c:pt>
                <c:pt idx="441">
                  <c:v>-2.4535887778014644</c:v>
                </c:pt>
                <c:pt idx="442">
                  <c:v>-2.3526101281170897</c:v>
                </c:pt>
                <c:pt idx="443">
                  <c:v>-2.370340062429789</c:v>
                </c:pt>
                <c:pt idx="444">
                  <c:v>-2.3499252495271277</c:v>
                </c:pt>
                <c:pt idx="445">
                  <c:v>-2.309139289387558</c:v>
                </c:pt>
                <c:pt idx="446">
                  <c:v>-2.4000489041717432</c:v>
                </c:pt>
                <c:pt idx="447">
                  <c:v>-2.2847276264769607</c:v>
                </c:pt>
                <c:pt idx="448">
                  <c:v>-2.3060103266392198</c:v>
                </c:pt>
                <c:pt idx="449">
                  <c:v>-2.3138807716589684</c:v>
                </c:pt>
                <c:pt idx="450">
                  <c:v>-2.2407236379698516</c:v>
                </c:pt>
                <c:pt idx="451">
                  <c:v>-2.4364666866890548</c:v>
                </c:pt>
                <c:pt idx="452">
                  <c:v>-2.4909284722076905</c:v>
                </c:pt>
                <c:pt idx="453">
                  <c:v>-2.5084059365655245</c:v>
                </c:pt>
                <c:pt idx="454">
                  <c:v>-2.6290217025802765</c:v>
                </c:pt>
                <c:pt idx="455">
                  <c:v>-2.8282242046108594</c:v>
                </c:pt>
                <c:pt idx="456">
                  <c:v>-2.8177218463998144</c:v>
                </c:pt>
                <c:pt idx="457">
                  <c:v>-2.812860931901128</c:v>
                </c:pt>
                <c:pt idx="458">
                  <c:v>-2.8646573907884969</c:v>
                </c:pt>
                <c:pt idx="459">
                  <c:v>-2.8794613621763396</c:v>
                </c:pt>
                <c:pt idx="460">
                  <c:v>-2.7093064064089636</c:v>
                </c:pt>
                <c:pt idx="461">
                  <c:v>-2.7907234709821034</c:v>
                </c:pt>
                <c:pt idx="462">
                  <c:v>-2.7335403445932953</c:v>
                </c:pt>
                <c:pt idx="463">
                  <c:v>-2.7755411435363215</c:v>
                </c:pt>
                <c:pt idx="464">
                  <c:v>-2.5756587617383686</c:v>
                </c:pt>
                <c:pt idx="465">
                  <c:v>-2.4059134896697794</c:v>
                </c:pt>
                <c:pt idx="466">
                  <c:v>-2.4236444309736687</c:v>
                </c:pt>
                <c:pt idx="467">
                  <c:v>-2.4263517274447586</c:v>
                </c:pt>
                <c:pt idx="468">
                  <c:v>-2.3877106969503257</c:v>
                </c:pt>
                <c:pt idx="469">
                  <c:v>-2.3473621797150082</c:v>
                </c:pt>
                <c:pt idx="470">
                  <c:v>-2.2819602483892467</c:v>
                </c:pt>
                <c:pt idx="471">
                  <c:v>-2.2320093272094845</c:v>
                </c:pt>
                <c:pt idx="472">
                  <c:v>-2.2759432632283105</c:v>
                </c:pt>
                <c:pt idx="473">
                  <c:v>-2.3727251646881249</c:v>
                </c:pt>
                <c:pt idx="474">
                  <c:v>-2.5253625277717586</c:v>
                </c:pt>
                <c:pt idx="475">
                  <c:v>-2.5661187566730406</c:v>
                </c:pt>
                <c:pt idx="476">
                  <c:v>-2.4297915051619801</c:v>
                </c:pt>
                <c:pt idx="477">
                  <c:v>-2.4375253352107751</c:v>
                </c:pt>
                <c:pt idx="478">
                  <c:v>-2.5018235338166561</c:v>
                </c:pt>
                <c:pt idx="479">
                  <c:v>-2.500916369595767</c:v>
                </c:pt>
                <c:pt idx="480">
                  <c:v>-2.5252196623377157</c:v>
                </c:pt>
                <c:pt idx="481">
                  <c:v>-2.3754452814853977</c:v>
                </c:pt>
                <c:pt idx="482">
                  <c:v>-2.3282096785756896</c:v>
                </c:pt>
                <c:pt idx="483">
                  <c:v>-2.2672276482699649</c:v>
                </c:pt>
                <c:pt idx="484">
                  <c:v>-2.2889549698170035</c:v>
                </c:pt>
                <c:pt idx="485">
                  <c:v>-2.2964993604064836</c:v>
                </c:pt>
                <c:pt idx="486">
                  <c:v>-2.2195063816470451</c:v>
                </c:pt>
                <c:pt idx="487">
                  <c:v>-2.2595431609136796</c:v>
                </c:pt>
                <c:pt idx="488">
                  <c:v>-2.2373154515908849</c:v>
                </c:pt>
                <c:pt idx="489">
                  <c:v>-2.3042539911100932</c:v>
                </c:pt>
                <c:pt idx="490">
                  <c:v>-2.2729141396965185</c:v>
                </c:pt>
                <c:pt idx="491">
                  <c:v>-2.1968832422261806</c:v>
                </c:pt>
                <c:pt idx="492">
                  <c:v>-2.051677555735107</c:v>
                </c:pt>
                <c:pt idx="493">
                  <c:v>-1.8003572787890172</c:v>
                </c:pt>
                <c:pt idx="494">
                  <c:v>-1.9025263087128867</c:v>
                </c:pt>
                <c:pt idx="495">
                  <c:v>-1.8409757534948086</c:v>
                </c:pt>
                <c:pt idx="496">
                  <c:v>-1.8757670617405138</c:v>
                </c:pt>
                <c:pt idx="497">
                  <c:v>-2.0522392035301844</c:v>
                </c:pt>
                <c:pt idx="498">
                  <c:v>-2.0135417665130189</c:v>
                </c:pt>
                <c:pt idx="499">
                  <c:v>-1.7930355931847273</c:v>
                </c:pt>
                <c:pt idx="500">
                  <c:v>-1.9343918903402133</c:v>
                </c:pt>
                <c:pt idx="501">
                  <c:v>-2.0939810068216382</c:v>
                </c:pt>
                <c:pt idx="502">
                  <c:v>-1.8845724533262413</c:v>
                </c:pt>
                <c:pt idx="503">
                  <c:v>-1.8431185393091432</c:v>
                </c:pt>
                <c:pt idx="504">
                  <c:v>-1.6860587563583089</c:v>
                </c:pt>
                <c:pt idx="505">
                  <c:v>-1.7264608078093082</c:v>
                </c:pt>
                <c:pt idx="506">
                  <c:v>-1.8758629564096645</c:v>
                </c:pt>
                <c:pt idx="507">
                  <c:v>-1.9450711029284276</c:v>
                </c:pt>
                <c:pt idx="508">
                  <c:v>-1.9450635944131309</c:v>
                </c:pt>
                <c:pt idx="509">
                  <c:v>-1.8433441202027443</c:v>
                </c:pt>
                <c:pt idx="510">
                  <c:v>-1.8357535404301215</c:v>
                </c:pt>
                <c:pt idx="511">
                  <c:v>-1.7986519468883047</c:v>
                </c:pt>
                <c:pt idx="512">
                  <c:v>-1.8832570915050857</c:v>
                </c:pt>
                <c:pt idx="513">
                  <c:v>-1.8551006236466905</c:v>
                </c:pt>
                <c:pt idx="514">
                  <c:v>-1.8019625064810407</c:v>
                </c:pt>
                <c:pt idx="515">
                  <c:v>-1.7460121409088436</c:v>
                </c:pt>
                <c:pt idx="516">
                  <c:v>-1.7417506263688458</c:v>
                </c:pt>
                <c:pt idx="517">
                  <c:v>-1.7120098432025981</c:v>
                </c:pt>
                <c:pt idx="518">
                  <c:v>-1.743753215040706</c:v>
                </c:pt>
                <c:pt idx="519">
                  <c:v>-1.7973352481006191</c:v>
                </c:pt>
                <c:pt idx="520">
                  <c:v>-1.7935797740057486</c:v>
                </c:pt>
                <c:pt idx="521">
                  <c:v>-1.7559719600777064</c:v>
                </c:pt>
                <c:pt idx="522">
                  <c:v>-1.9181760990040995</c:v>
                </c:pt>
                <c:pt idx="523">
                  <c:v>-2.0536188965512499</c:v>
                </c:pt>
                <c:pt idx="524">
                  <c:v>-2.0555867588932597</c:v>
                </c:pt>
                <c:pt idx="525">
                  <c:v>-2.1447712647349699</c:v>
                </c:pt>
                <c:pt idx="526">
                  <c:v>-2.2361545704604353</c:v>
                </c:pt>
                <c:pt idx="527">
                  <c:v>-2.1505122932549461</c:v>
                </c:pt>
                <c:pt idx="528">
                  <c:v>-2.2166140969182799</c:v>
                </c:pt>
                <c:pt idx="529">
                  <c:v>-2.2928956016703297</c:v>
                </c:pt>
                <c:pt idx="530">
                  <c:v>-2.1865498462228676</c:v>
                </c:pt>
                <c:pt idx="531">
                  <c:v>-2.0932416593662793</c:v>
                </c:pt>
                <c:pt idx="532">
                  <c:v>-2.1522771192782222</c:v>
                </c:pt>
                <c:pt idx="533">
                  <c:v>-2.2489272525552981</c:v>
                </c:pt>
                <c:pt idx="534">
                  <c:v>-2.4133761264026847</c:v>
                </c:pt>
                <c:pt idx="535">
                  <c:v>-2.3145015696235185</c:v>
                </c:pt>
                <c:pt idx="536">
                  <c:v>-2.2144508413052164</c:v>
                </c:pt>
                <c:pt idx="537">
                  <c:v>-2.2164158801782148</c:v>
                </c:pt>
                <c:pt idx="538">
                  <c:v>-2.1174274820335239</c:v>
                </c:pt>
                <c:pt idx="539">
                  <c:v>-2.094740550668043</c:v>
                </c:pt>
                <c:pt idx="540">
                  <c:v>-2.2280553193244397</c:v>
                </c:pt>
                <c:pt idx="541">
                  <c:v>-2.3091807660998813</c:v>
                </c:pt>
                <c:pt idx="542">
                  <c:v>-2.1153511992798069</c:v>
                </c:pt>
                <c:pt idx="543">
                  <c:v>-2.1013807888284579</c:v>
                </c:pt>
                <c:pt idx="544">
                  <c:v>-2.0198118865363388</c:v>
                </c:pt>
                <c:pt idx="545">
                  <c:v>-2.0003652704154935</c:v>
                </c:pt>
                <c:pt idx="546">
                  <c:v>-2.0092864521027951</c:v>
                </c:pt>
                <c:pt idx="547">
                  <c:v>-2.0722536293002993</c:v>
                </c:pt>
                <c:pt idx="548">
                  <c:v>-2.1373035363982846</c:v>
                </c:pt>
                <c:pt idx="549">
                  <c:v>-2.0788979453091168</c:v>
                </c:pt>
                <c:pt idx="550">
                  <c:v>-2.1663965314023912</c:v>
                </c:pt>
                <c:pt idx="551">
                  <c:v>-2.224547909546025</c:v>
                </c:pt>
                <c:pt idx="552">
                  <c:v>-2.2068270570421409</c:v>
                </c:pt>
                <c:pt idx="553">
                  <c:v>-2.0626908528713108</c:v>
                </c:pt>
                <c:pt idx="554">
                  <c:v>-2.1108339957206739</c:v>
                </c:pt>
                <c:pt idx="555">
                  <c:v>-2.0111646502089333</c:v>
                </c:pt>
                <c:pt idx="556">
                  <c:v>-1.9377514682612604</c:v>
                </c:pt>
                <c:pt idx="557">
                  <c:v>-1.9762345468032803</c:v>
                </c:pt>
                <c:pt idx="558">
                  <c:v>-1.897754092808885</c:v>
                </c:pt>
                <c:pt idx="559">
                  <c:v>-1.849525446914317</c:v>
                </c:pt>
                <c:pt idx="560">
                  <c:v>-1.9034413819810707</c:v>
                </c:pt>
                <c:pt idx="561">
                  <c:v>-1.8997073870743475</c:v>
                </c:pt>
                <c:pt idx="562">
                  <c:v>-1.9167895124614889</c:v>
                </c:pt>
                <c:pt idx="563">
                  <c:v>-1.7995608656555606</c:v>
                </c:pt>
                <c:pt idx="564">
                  <c:v>-1.8877673912442927</c:v>
                </c:pt>
                <c:pt idx="565">
                  <c:v>-1.9307742268740449</c:v>
                </c:pt>
                <c:pt idx="566">
                  <c:v>-1.9782269404511688</c:v>
                </c:pt>
                <c:pt idx="567">
                  <c:v>-1.8901075186454288</c:v>
                </c:pt>
                <c:pt idx="568">
                  <c:v>-1.7621800696422412</c:v>
                </c:pt>
                <c:pt idx="569">
                  <c:v>-1.9088470984888875</c:v>
                </c:pt>
                <c:pt idx="570">
                  <c:v>-1.9477315815527594</c:v>
                </c:pt>
                <c:pt idx="571">
                  <c:v>-1.9171432957175285</c:v>
                </c:pt>
                <c:pt idx="572">
                  <c:v>-2.0166481729887527</c:v>
                </c:pt>
                <c:pt idx="573">
                  <c:v>-2.1190603553913365</c:v>
                </c:pt>
                <c:pt idx="574">
                  <c:v>-2.2578024511724535</c:v>
                </c:pt>
                <c:pt idx="575">
                  <c:v>-2.1496547896351141</c:v>
                </c:pt>
                <c:pt idx="576">
                  <c:v>-2.1341835638615998</c:v>
                </c:pt>
                <c:pt idx="577">
                  <c:v>-2.1050959112546894</c:v>
                </c:pt>
                <c:pt idx="578">
                  <c:v>-2.0430110552314917</c:v>
                </c:pt>
                <c:pt idx="579">
                  <c:v>-2.0353101244444343</c:v>
                </c:pt>
                <c:pt idx="580">
                  <c:v>-2.1027744593587543</c:v>
                </c:pt>
                <c:pt idx="581">
                  <c:v>-2.0275061033425117</c:v>
                </c:pt>
                <c:pt idx="582">
                  <c:v>-1.9959120719028931</c:v>
                </c:pt>
                <c:pt idx="583">
                  <c:v>-2.014548542409722</c:v>
                </c:pt>
                <c:pt idx="584">
                  <c:v>-1.8767921646278736</c:v>
                </c:pt>
                <c:pt idx="585">
                  <c:v>-1.9161140491882103</c:v>
                </c:pt>
                <c:pt idx="586">
                  <c:v>-2.0327368852956047</c:v>
                </c:pt>
                <c:pt idx="587">
                  <c:v>-2.0761219950924015</c:v>
                </c:pt>
                <c:pt idx="588">
                  <c:v>-2.2873346416496534</c:v>
                </c:pt>
                <c:pt idx="589">
                  <c:v>-2.3901123735345462</c:v>
                </c:pt>
                <c:pt idx="590">
                  <c:v>-2.2427434250465281</c:v>
                </c:pt>
                <c:pt idx="591">
                  <c:v>-2.3094822476727006</c:v>
                </c:pt>
                <c:pt idx="592">
                  <c:v>-2.3756786014495401</c:v>
                </c:pt>
                <c:pt idx="593">
                  <c:v>-2.51583442485664</c:v>
                </c:pt>
                <c:pt idx="594">
                  <c:v>-2.4543414069693514</c:v>
                </c:pt>
                <c:pt idx="595">
                  <c:v>-2.5328499412715879</c:v>
                </c:pt>
                <c:pt idx="596">
                  <c:v>-2.4390600401137355</c:v>
                </c:pt>
                <c:pt idx="597">
                  <c:v>-2.2832030696433185</c:v>
                </c:pt>
                <c:pt idx="598">
                  <c:v>-2.2468097104955165</c:v>
                </c:pt>
                <c:pt idx="599">
                  <c:v>-2.1263769704135989</c:v>
                </c:pt>
                <c:pt idx="600">
                  <c:v>-1.9756397460029409</c:v>
                </c:pt>
                <c:pt idx="601">
                  <c:v>-2.0790577291055992</c:v>
                </c:pt>
                <c:pt idx="602">
                  <c:v>-2.2482693997864485</c:v>
                </c:pt>
                <c:pt idx="603">
                  <c:v>-2.1644810615255472</c:v>
                </c:pt>
                <c:pt idx="604">
                  <c:v>-2.3302352487060998</c:v>
                </c:pt>
                <c:pt idx="605">
                  <c:v>-2.4699041031677393</c:v>
                </c:pt>
                <c:pt idx="606">
                  <c:v>-2.4577590477374245</c:v>
                </c:pt>
                <c:pt idx="607">
                  <c:v>-2.5728362746443691</c:v>
                </c:pt>
                <c:pt idx="608">
                  <c:v>-2.7238508381774889</c:v>
                </c:pt>
                <c:pt idx="609">
                  <c:v>-2.7601404723462974</c:v>
                </c:pt>
                <c:pt idx="610">
                  <c:v>-2.719972111764053</c:v>
                </c:pt>
                <c:pt idx="611">
                  <c:v>-2.7763484362124795</c:v>
                </c:pt>
                <c:pt idx="612">
                  <c:v>-2.9467390111934413</c:v>
                </c:pt>
                <c:pt idx="613">
                  <c:v>-2.9989523379016458</c:v>
                </c:pt>
                <c:pt idx="614">
                  <c:v>-2.9947411165206366</c:v>
                </c:pt>
                <c:pt idx="615">
                  <c:v>-3.2163625579327006</c:v>
                </c:pt>
                <c:pt idx="616">
                  <c:v>-3.0318378739214333</c:v>
                </c:pt>
                <c:pt idx="617">
                  <c:v>-3.0213544182988135</c:v>
                </c:pt>
                <c:pt idx="618">
                  <c:v>-2.7718388349962528</c:v>
                </c:pt>
                <c:pt idx="619">
                  <c:v>-2.5604045147032979</c:v>
                </c:pt>
                <c:pt idx="620">
                  <c:v>-2.5419831168515814</c:v>
                </c:pt>
                <c:pt idx="621">
                  <c:v>-2.5326662601441847</c:v>
                </c:pt>
                <c:pt idx="622">
                  <c:v>-2.4485469650773966</c:v>
                </c:pt>
                <c:pt idx="623">
                  <c:v>-2.436627386717924</c:v>
                </c:pt>
                <c:pt idx="624">
                  <c:v>-2.4274466618291659</c:v>
                </c:pt>
                <c:pt idx="625">
                  <c:v>-1.8938466522740307</c:v>
                </c:pt>
                <c:pt idx="626">
                  <c:v>-1.6555875321341529</c:v>
                </c:pt>
                <c:pt idx="627">
                  <c:v>-1.4761656371202854</c:v>
                </c:pt>
                <c:pt idx="628">
                  <c:v>-1.0264711383028575</c:v>
                </c:pt>
                <c:pt idx="629">
                  <c:v>-0.39220610339376238</c:v>
                </c:pt>
                <c:pt idx="630">
                  <c:v>-0.27365771879432887</c:v>
                </c:pt>
                <c:pt idx="631">
                  <c:v>-0.42504358589712721</c:v>
                </c:pt>
                <c:pt idx="632">
                  <c:v>-0.49925584678872281</c:v>
                </c:pt>
                <c:pt idx="633">
                  <c:v>-0.52471710936830396</c:v>
                </c:pt>
                <c:pt idx="634">
                  <c:v>-0.5133112515213466</c:v>
                </c:pt>
                <c:pt idx="635">
                  <c:v>-0.5696591514361159</c:v>
                </c:pt>
                <c:pt idx="636">
                  <c:v>-0.54128915023581536</c:v>
                </c:pt>
                <c:pt idx="637">
                  <c:v>-0.5734281523325947</c:v>
                </c:pt>
                <c:pt idx="638">
                  <c:v>-0.54608547138521601</c:v>
                </c:pt>
                <c:pt idx="639">
                  <c:v>-0.54836494055889895</c:v>
                </c:pt>
                <c:pt idx="640">
                  <c:v>-0.53120904669421176</c:v>
                </c:pt>
                <c:pt idx="641">
                  <c:v>-0.54547949827895315</c:v>
                </c:pt>
                <c:pt idx="642">
                  <c:v>-0.43628951793478687</c:v>
                </c:pt>
                <c:pt idx="643">
                  <c:v>-0.38122353359375316</c:v>
                </c:pt>
                <c:pt idx="644">
                  <c:v>-0.49666146702861702</c:v>
                </c:pt>
                <c:pt idx="645">
                  <c:v>-0.45601472430947509</c:v>
                </c:pt>
                <c:pt idx="646">
                  <c:v>-0.43400859459608399</c:v>
                </c:pt>
                <c:pt idx="647">
                  <c:v>-0.20519661150296076</c:v>
                </c:pt>
                <c:pt idx="648">
                  <c:v>-0.21554260618276977</c:v>
                </c:pt>
                <c:pt idx="649">
                  <c:v>-0.26619170882191223</c:v>
                </c:pt>
                <c:pt idx="650">
                  <c:v>-1.1979252057316514</c:v>
                </c:pt>
                <c:pt idx="651">
                  <c:v>-1.4830869841441103</c:v>
                </c:pt>
                <c:pt idx="652">
                  <c:v>-1.4542405770394269</c:v>
                </c:pt>
                <c:pt idx="653">
                  <c:v>-1.9656492450893079</c:v>
                </c:pt>
                <c:pt idx="654">
                  <c:v>-2.4630362319117665</c:v>
                </c:pt>
                <c:pt idx="655">
                  <c:v>-2.5089771058618195</c:v>
                </c:pt>
                <c:pt idx="656">
                  <c:v>-2.6249556916183354</c:v>
                </c:pt>
                <c:pt idx="657">
                  <c:v>-2.585558836572567</c:v>
                </c:pt>
                <c:pt idx="658">
                  <c:v>-2.6391915307793927</c:v>
                </c:pt>
                <c:pt idx="659">
                  <c:v>-2.5905969103177831</c:v>
                </c:pt>
                <c:pt idx="660">
                  <c:v>-2.8152890915347988</c:v>
                </c:pt>
                <c:pt idx="661">
                  <c:v>-2.9075503667920404</c:v>
                </c:pt>
                <c:pt idx="662">
                  <c:v>-2.8349672952782492</c:v>
                </c:pt>
                <c:pt idx="663">
                  <c:v>-2.8383440956323147</c:v>
                </c:pt>
                <c:pt idx="664">
                  <c:v>-2.8092382490363517</c:v>
                </c:pt>
                <c:pt idx="665">
                  <c:v>-2.8850844409865122</c:v>
                </c:pt>
                <c:pt idx="666">
                  <c:v>-2.7045794602795206</c:v>
                </c:pt>
                <c:pt idx="667">
                  <c:v>-2.5406569498619596</c:v>
                </c:pt>
                <c:pt idx="668">
                  <c:v>-2.5776649884467866</c:v>
                </c:pt>
                <c:pt idx="669">
                  <c:v>-2.5606799431900718</c:v>
                </c:pt>
                <c:pt idx="670">
                  <c:v>-2.4057969764685914</c:v>
                </c:pt>
                <c:pt idx="671">
                  <c:v>-2.4072098314532568</c:v>
                </c:pt>
                <c:pt idx="672">
                  <c:v>-2.5086727537581361</c:v>
                </c:pt>
                <c:pt idx="673">
                  <c:v>-2.4675982733367365</c:v>
                </c:pt>
                <c:pt idx="674">
                  <c:v>-2.1082986331900773</c:v>
                </c:pt>
                <c:pt idx="675">
                  <c:v>-2.0563783243567735</c:v>
                </c:pt>
                <c:pt idx="676">
                  <c:v>-1.7387680577722335</c:v>
                </c:pt>
                <c:pt idx="677">
                  <c:v>-1.7694398345871662</c:v>
                </c:pt>
                <c:pt idx="678">
                  <c:v>-1.7335516297086282</c:v>
                </c:pt>
                <c:pt idx="679">
                  <c:v>-1.6929333967021356</c:v>
                </c:pt>
                <c:pt idx="680">
                  <c:v>-1.4926700582469228</c:v>
                </c:pt>
                <c:pt idx="681">
                  <c:v>-1.4730541821882284</c:v>
                </c:pt>
                <c:pt idx="682">
                  <c:v>-1.5849270531733297</c:v>
                </c:pt>
                <c:pt idx="683">
                  <c:v>-1.4816868803995735</c:v>
                </c:pt>
                <c:pt idx="684">
                  <c:v>-1.2281917824269271</c:v>
                </c:pt>
                <c:pt idx="685">
                  <c:v>-1.30901756749059</c:v>
                </c:pt>
                <c:pt idx="686">
                  <c:v>-1.2300147289143086</c:v>
                </c:pt>
                <c:pt idx="687">
                  <c:v>-1.3935347289893225</c:v>
                </c:pt>
                <c:pt idx="688">
                  <c:v>-1.3723775776948357</c:v>
                </c:pt>
                <c:pt idx="689">
                  <c:v>-1.4714204326852363</c:v>
                </c:pt>
                <c:pt idx="690">
                  <c:v>-1.3097953183647624</c:v>
                </c:pt>
                <c:pt idx="691">
                  <c:v>-1.1608403470819675</c:v>
                </c:pt>
                <c:pt idx="692">
                  <c:v>-1.0786312141474799</c:v>
                </c:pt>
                <c:pt idx="693">
                  <c:v>-1.0448653794393272</c:v>
                </c:pt>
                <c:pt idx="694">
                  <c:v>-1.2692782390606112</c:v>
                </c:pt>
                <c:pt idx="695">
                  <c:v>-1.1043833427909076</c:v>
                </c:pt>
                <c:pt idx="696">
                  <c:v>-1.1786951478686563</c:v>
                </c:pt>
                <c:pt idx="697">
                  <c:v>-1.3350581710158567</c:v>
                </c:pt>
                <c:pt idx="698">
                  <c:v>-1.3751963012240904</c:v>
                </c:pt>
                <c:pt idx="699">
                  <c:v>-1.3829893963304905</c:v>
                </c:pt>
                <c:pt idx="700">
                  <c:v>-1.4805387682457201</c:v>
                </c:pt>
                <c:pt idx="701">
                  <c:v>-1.5626026444460512</c:v>
                </c:pt>
                <c:pt idx="702">
                  <c:v>-1.6891000073656959</c:v>
                </c:pt>
                <c:pt idx="703">
                  <c:v>-1.7330433003065591</c:v>
                </c:pt>
                <c:pt idx="704">
                  <c:v>-1.8153768942878155</c:v>
                </c:pt>
                <c:pt idx="705">
                  <c:v>-1.8737352327044854</c:v>
                </c:pt>
                <c:pt idx="706">
                  <c:v>-1.8637140854198146</c:v>
                </c:pt>
                <c:pt idx="707">
                  <c:v>-1.8452821527425338</c:v>
                </c:pt>
                <c:pt idx="708">
                  <c:v>-1.8159666032729587</c:v>
                </c:pt>
                <c:pt idx="709">
                  <c:v>-1.8278595444259969</c:v>
                </c:pt>
                <c:pt idx="710">
                  <c:v>-1.9343761197431397</c:v>
                </c:pt>
                <c:pt idx="711">
                  <c:v>-2.063988501507303</c:v>
                </c:pt>
                <c:pt idx="712">
                  <c:v>-1.9893889054135938</c:v>
                </c:pt>
                <c:pt idx="713">
                  <c:v>-2.0231384554082346</c:v>
                </c:pt>
                <c:pt idx="714">
                  <c:v>-2.0330722990279031</c:v>
                </c:pt>
                <c:pt idx="715">
                  <c:v>-1.9525803182227208</c:v>
                </c:pt>
                <c:pt idx="716">
                  <c:v>-1.9724762187679095</c:v>
                </c:pt>
                <c:pt idx="717">
                  <c:v>-1.8719413180141711</c:v>
                </c:pt>
                <c:pt idx="718">
                  <c:v>-1.9168558976143371</c:v>
                </c:pt>
                <c:pt idx="719">
                  <c:v>-1.8714635154079646</c:v>
                </c:pt>
                <c:pt idx="720">
                  <c:v>-1.9565369132574042</c:v>
                </c:pt>
                <c:pt idx="721">
                  <c:v>-1.9694514778723557</c:v>
                </c:pt>
                <c:pt idx="722">
                  <c:v>-2.127948823273115</c:v>
                </c:pt>
                <c:pt idx="723">
                  <c:v>-2.1589900600454057</c:v>
                </c:pt>
                <c:pt idx="724">
                  <c:v>-2.0198082497346985</c:v>
                </c:pt>
                <c:pt idx="725">
                  <c:v>-1.9956468235127938</c:v>
                </c:pt>
                <c:pt idx="726">
                  <c:v>-2.0599097204746575</c:v>
                </c:pt>
                <c:pt idx="727">
                  <c:v>-1.8178088688449665</c:v>
                </c:pt>
                <c:pt idx="728">
                  <c:v>-1.7127353854126315</c:v>
                </c:pt>
                <c:pt idx="729">
                  <c:v>-1.6795608753042495</c:v>
                </c:pt>
                <c:pt idx="730">
                  <c:v>-1.6117355400848052</c:v>
                </c:pt>
                <c:pt idx="731">
                  <c:v>-1.6006758822639342</c:v>
                </c:pt>
                <c:pt idx="732">
                  <c:v>-1.402611305024172</c:v>
                </c:pt>
                <c:pt idx="733">
                  <c:v>-1.3771062296121497</c:v>
                </c:pt>
                <c:pt idx="734">
                  <c:v>-1.4107750832782222</c:v>
                </c:pt>
                <c:pt idx="735">
                  <c:v>-1.4116331992968378</c:v>
                </c:pt>
                <c:pt idx="736">
                  <c:v>-1.4072084082365093</c:v>
                </c:pt>
                <c:pt idx="737">
                  <c:v>-1.395781038974524</c:v>
                </c:pt>
                <c:pt idx="738">
                  <c:v>-1.4039965549380717</c:v>
                </c:pt>
                <c:pt idx="739">
                  <c:v>-1.6110144684500667</c:v>
                </c:pt>
                <c:pt idx="740">
                  <c:v>-1.5678415574851092</c:v>
                </c:pt>
                <c:pt idx="741">
                  <c:v>-1.500510069820542</c:v>
                </c:pt>
                <c:pt idx="742">
                  <c:v>-1.5062456183330526</c:v>
                </c:pt>
                <c:pt idx="743">
                  <c:v>-1.4465987965837832</c:v>
                </c:pt>
                <c:pt idx="744">
                  <c:v>-1.6173302634726419</c:v>
                </c:pt>
                <c:pt idx="745">
                  <c:v>-1.547698962721304</c:v>
                </c:pt>
                <c:pt idx="746">
                  <c:v>-1.607114568058261</c:v>
                </c:pt>
                <c:pt idx="747">
                  <c:v>-1.7266513170093076</c:v>
                </c:pt>
                <c:pt idx="748">
                  <c:v>-1.6433831273025588</c:v>
                </c:pt>
                <c:pt idx="749">
                  <c:v>-1.5899654332081474</c:v>
                </c:pt>
                <c:pt idx="750">
                  <c:v>-1.6009624679927783</c:v>
                </c:pt>
                <c:pt idx="751">
                  <c:v>-1.7646187898283165</c:v>
                </c:pt>
                <c:pt idx="752">
                  <c:v>-1.9314703796356922</c:v>
                </c:pt>
                <c:pt idx="753">
                  <c:v>-1.9845016594484908</c:v>
                </c:pt>
                <c:pt idx="754">
                  <c:v>-1.997147102506776</c:v>
                </c:pt>
                <c:pt idx="755">
                  <c:v>-2.1227509897281984</c:v>
                </c:pt>
                <c:pt idx="756">
                  <c:v>-2.0170906160091886</c:v>
                </c:pt>
                <c:pt idx="757">
                  <c:v>-2.1391080440740562</c:v>
                </c:pt>
                <c:pt idx="758">
                  <c:v>-2.1605024327835367</c:v>
                </c:pt>
                <c:pt idx="759">
                  <c:v>-2.221351199105718</c:v>
                </c:pt>
                <c:pt idx="760">
                  <c:v>-2.1943123228646599</c:v>
                </c:pt>
                <c:pt idx="761">
                  <c:v>-2.3004082808565434</c:v>
                </c:pt>
                <c:pt idx="762">
                  <c:v>-2.3808834290543346</c:v>
                </c:pt>
                <c:pt idx="763">
                  <c:v>-2.4466185692630265</c:v>
                </c:pt>
                <c:pt idx="764">
                  <c:v>-2.3957260869527981</c:v>
                </c:pt>
                <c:pt idx="765">
                  <c:v>-2.3799803214512196</c:v>
                </c:pt>
                <c:pt idx="766">
                  <c:v>-2.3703626283699677</c:v>
                </c:pt>
                <c:pt idx="767">
                  <c:v>-2.2439153776010525</c:v>
                </c:pt>
                <c:pt idx="768">
                  <c:v>-2.2805273939723505</c:v>
                </c:pt>
                <c:pt idx="769">
                  <c:v>-2.1826331185276522</c:v>
                </c:pt>
                <c:pt idx="770">
                  <c:v>-2.1294484764813006</c:v>
                </c:pt>
                <c:pt idx="771">
                  <c:v>-2.1537926634252318</c:v>
                </c:pt>
                <c:pt idx="772">
                  <c:v>-2.2063291209629514</c:v>
                </c:pt>
                <c:pt idx="773">
                  <c:v>-2.301547308217069</c:v>
                </c:pt>
                <c:pt idx="774">
                  <c:v>-2.1713271061292958</c:v>
                </c:pt>
                <c:pt idx="775">
                  <c:v>-2.1617917692388251</c:v>
                </c:pt>
                <c:pt idx="776">
                  <c:v>-2.0953332627673964</c:v>
                </c:pt>
                <c:pt idx="777">
                  <c:v>-2.0402567205858189</c:v>
                </c:pt>
                <c:pt idx="778">
                  <c:v>-2.1014614351829874</c:v>
                </c:pt>
                <c:pt idx="779">
                  <c:v>-2.1609328969557531</c:v>
                </c:pt>
                <c:pt idx="780">
                  <c:v>-2.089794742204484</c:v>
                </c:pt>
                <c:pt idx="781">
                  <c:v>-1.9074602655288371</c:v>
                </c:pt>
                <c:pt idx="782">
                  <c:v>-1.8573095561220816</c:v>
                </c:pt>
                <c:pt idx="783">
                  <c:v>-1.842402310204502</c:v>
                </c:pt>
                <c:pt idx="784">
                  <c:v>-2.0441546224046019</c:v>
                </c:pt>
                <c:pt idx="785">
                  <c:v>-1.8888936320821457</c:v>
                </c:pt>
                <c:pt idx="786">
                  <c:v>-1.9697119828006726</c:v>
                </c:pt>
                <c:pt idx="787">
                  <c:v>-1.8758277691869916</c:v>
                </c:pt>
                <c:pt idx="788">
                  <c:v>-2.1236202959270201</c:v>
                </c:pt>
                <c:pt idx="789">
                  <c:v>-1.9611153155629508</c:v>
                </c:pt>
                <c:pt idx="790">
                  <c:v>-1.8454658030942381</c:v>
                </c:pt>
                <c:pt idx="791">
                  <c:v>-1.6517761943988063</c:v>
                </c:pt>
                <c:pt idx="792">
                  <c:v>-1.6574807813125423</c:v>
                </c:pt>
                <c:pt idx="793">
                  <c:v>-1.8421225557717387</c:v>
                </c:pt>
                <c:pt idx="794">
                  <c:v>-1.9727209012611873</c:v>
                </c:pt>
                <c:pt idx="795">
                  <c:v>-1.9395403601695014</c:v>
                </c:pt>
                <c:pt idx="796">
                  <c:v>-1.8956482824721954</c:v>
                </c:pt>
                <c:pt idx="797">
                  <c:v>-1.9597789525774929</c:v>
                </c:pt>
                <c:pt idx="798">
                  <c:v>-1.9357295243288513</c:v>
                </c:pt>
                <c:pt idx="799">
                  <c:v>-1.8866975591280375</c:v>
                </c:pt>
                <c:pt idx="800">
                  <c:v>-1.8578234978708039</c:v>
                </c:pt>
                <c:pt idx="801">
                  <c:v>-1.6706994751443092</c:v>
                </c:pt>
                <c:pt idx="802">
                  <c:v>-1.6415264316693761</c:v>
                </c:pt>
                <c:pt idx="803">
                  <c:v>-1.5255939051758598</c:v>
                </c:pt>
                <c:pt idx="804">
                  <c:v>-1.5823354546553001</c:v>
                </c:pt>
                <c:pt idx="805">
                  <c:v>-1.7556818755628516</c:v>
                </c:pt>
                <c:pt idx="806">
                  <c:v>-1.820726204934378</c:v>
                </c:pt>
                <c:pt idx="807">
                  <c:v>-1.885214852910519</c:v>
                </c:pt>
                <c:pt idx="808">
                  <c:v>-1.8566916312661941</c:v>
                </c:pt>
                <c:pt idx="809">
                  <c:v>-1.8073999024137599</c:v>
                </c:pt>
                <c:pt idx="810">
                  <c:v>-1.7938076890536592</c:v>
                </c:pt>
                <c:pt idx="811">
                  <c:v>-1.8290877943420374</c:v>
                </c:pt>
                <c:pt idx="812">
                  <c:v>-1.6326702012741339</c:v>
                </c:pt>
                <c:pt idx="813">
                  <c:v>-1.852323985864254</c:v>
                </c:pt>
                <c:pt idx="814">
                  <c:v>-1.7426245819654196</c:v>
                </c:pt>
                <c:pt idx="815">
                  <c:v>-1.7753446683634428</c:v>
                </c:pt>
                <c:pt idx="816">
                  <c:v>-1.6740620376361393</c:v>
                </c:pt>
                <c:pt idx="817">
                  <c:v>-1.7213482450796951</c:v>
                </c:pt>
                <c:pt idx="818">
                  <c:v>-1.5225349672398125</c:v>
                </c:pt>
                <c:pt idx="819">
                  <c:v>-1.5673638152327354</c:v>
                </c:pt>
                <c:pt idx="820">
                  <c:v>-1.5845507977173137</c:v>
                </c:pt>
                <c:pt idx="821">
                  <c:v>-1.8195799643548889</c:v>
                </c:pt>
                <c:pt idx="822">
                  <c:v>-1.7862296359617749</c:v>
                </c:pt>
                <c:pt idx="823">
                  <c:v>-1.6704837616487311</c:v>
                </c:pt>
                <c:pt idx="824">
                  <c:v>-1.6357949243425876</c:v>
                </c:pt>
                <c:pt idx="825">
                  <c:v>-1.7758675826086932</c:v>
                </c:pt>
                <c:pt idx="826">
                  <c:v>-1.8365816092785736</c:v>
                </c:pt>
                <c:pt idx="827">
                  <c:v>-1.8884417094804093</c:v>
                </c:pt>
                <c:pt idx="828">
                  <c:v>-1.9052583119437325</c:v>
                </c:pt>
                <c:pt idx="829">
                  <c:v>-1.9113980893950271</c:v>
                </c:pt>
                <c:pt idx="830">
                  <c:v>-1.9272847041651091</c:v>
                </c:pt>
                <c:pt idx="831">
                  <c:v>-2.0371695721425396</c:v>
                </c:pt>
                <c:pt idx="832">
                  <c:v>-2.1282075802435307</c:v>
                </c:pt>
                <c:pt idx="833">
                  <c:v>-2.3025916087632043</c:v>
                </c:pt>
                <c:pt idx="834">
                  <c:v>-2.2127276196894239</c:v>
                </c:pt>
                <c:pt idx="835">
                  <c:v>-2.1252497699117345</c:v>
                </c:pt>
                <c:pt idx="836">
                  <c:v>-2.0834192044831528</c:v>
                </c:pt>
                <c:pt idx="837">
                  <c:v>-1.9036828130652794</c:v>
                </c:pt>
                <c:pt idx="838">
                  <c:v>-1.8741795426121874</c:v>
                </c:pt>
                <c:pt idx="839">
                  <c:v>-1.817852223541975</c:v>
                </c:pt>
                <c:pt idx="840">
                  <c:v>-1.8604414764144859</c:v>
                </c:pt>
                <c:pt idx="841">
                  <c:v>-1.7862290165471006</c:v>
                </c:pt>
                <c:pt idx="842">
                  <c:v>-1.8844671852339272</c:v>
                </c:pt>
                <c:pt idx="843">
                  <c:v>-1.6760180224999277</c:v>
                </c:pt>
                <c:pt idx="844">
                  <c:v>-1.6868430590014749</c:v>
                </c:pt>
                <c:pt idx="845">
                  <c:v>-1.7677293167497519</c:v>
                </c:pt>
                <c:pt idx="846">
                  <c:v>-1.7838509782755234</c:v>
                </c:pt>
                <c:pt idx="847">
                  <c:v>-1.7711266929485925</c:v>
                </c:pt>
                <c:pt idx="848">
                  <c:v>-1.8725796034281061</c:v>
                </c:pt>
                <c:pt idx="849">
                  <c:v>-1.9128626065474399</c:v>
                </c:pt>
                <c:pt idx="850">
                  <c:v>-2.0616557914365465</c:v>
                </c:pt>
                <c:pt idx="851">
                  <c:v>-1.9908571410407832</c:v>
                </c:pt>
                <c:pt idx="852">
                  <c:v>-2.0175275827021446</c:v>
                </c:pt>
                <c:pt idx="853">
                  <c:v>-1.8469559268927305</c:v>
                </c:pt>
                <c:pt idx="854">
                  <c:v>-1.7707902847431285</c:v>
                </c:pt>
                <c:pt idx="855">
                  <c:v>-1.5682473154686627</c:v>
                </c:pt>
                <c:pt idx="856">
                  <c:v>-1.5994075275346806</c:v>
                </c:pt>
                <c:pt idx="857">
                  <c:v>-1.4331109088390339</c:v>
                </c:pt>
                <c:pt idx="858">
                  <c:v>-1.4292464971713699</c:v>
                </c:pt>
                <c:pt idx="859">
                  <c:v>-1.4568935682048454</c:v>
                </c:pt>
                <c:pt idx="860">
                  <c:v>-1.5910019877726578</c:v>
                </c:pt>
                <c:pt idx="861">
                  <c:v>-1.5130594540715627</c:v>
                </c:pt>
                <c:pt idx="862">
                  <c:v>-1.4538827667987517</c:v>
                </c:pt>
                <c:pt idx="863">
                  <c:v>-1.2074234631016849</c:v>
                </c:pt>
                <c:pt idx="864">
                  <c:v>-1.2228389508903739</c:v>
                </c:pt>
                <c:pt idx="865">
                  <c:v>-1.0171083698726386</c:v>
                </c:pt>
                <c:pt idx="866">
                  <c:v>-0.98164004935748073</c:v>
                </c:pt>
                <c:pt idx="867">
                  <c:v>-1.0362908808603009</c:v>
                </c:pt>
                <c:pt idx="868">
                  <c:v>-1.2113382764946645</c:v>
                </c:pt>
                <c:pt idx="869">
                  <c:v>-1.275271220975664</c:v>
                </c:pt>
                <c:pt idx="870">
                  <c:v>-1.273545499275027</c:v>
                </c:pt>
                <c:pt idx="871">
                  <c:v>-1.3986024704101263</c:v>
                </c:pt>
                <c:pt idx="872">
                  <c:v>-1.6519613364577803</c:v>
                </c:pt>
                <c:pt idx="873">
                  <c:v>-1.6154988319997097</c:v>
                </c:pt>
                <c:pt idx="874">
                  <c:v>-1.6278496688092439</c:v>
                </c:pt>
                <c:pt idx="875">
                  <c:v>-1.6215569080085555</c:v>
                </c:pt>
                <c:pt idx="876">
                  <c:v>-1.658906592696368</c:v>
                </c:pt>
                <c:pt idx="877">
                  <c:v>-1.8073745086258124</c:v>
                </c:pt>
                <c:pt idx="878">
                  <c:v>-1.800065405869701</c:v>
                </c:pt>
                <c:pt idx="879">
                  <c:v>-1.7756449051680425</c:v>
                </c:pt>
                <c:pt idx="880">
                  <c:v>-1.6104538221358387</c:v>
                </c:pt>
                <c:pt idx="881">
                  <c:v>-1.5377695114176739</c:v>
                </c:pt>
                <c:pt idx="882">
                  <c:v>-1.509299338793165</c:v>
                </c:pt>
                <c:pt idx="883">
                  <c:v>-1.5623742384871613</c:v>
                </c:pt>
                <c:pt idx="884">
                  <c:v>-1.6019810520593238</c:v>
                </c:pt>
                <c:pt idx="885">
                  <c:v>-1.7302497364071523</c:v>
                </c:pt>
                <c:pt idx="886">
                  <c:v>-1.887579366887342</c:v>
                </c:pt>
                <c:pt idx="887">
                  <c:v>-2.1306899833121462</c:v>
                </c:pt>
                <c:pt idx="888">
                  <c:v>-2.0783327603821249</c:v>
                </c:pt>
                <c:pt idx="889">
                  <c:v>-2.0605052567367053</c:v>
                </c:pt>
                <c:pt idx="890">
                  <c:v>-2.0195426287256097</c:v>
                </c:pt>
                <c:pt idx="891">
                  <c:v>-2.1689001479462759</c:v>
                </c:pt>
                <c:pt idx="892">
                  <c:v>-2.1696075505325787</c:v>
                </c:pt>
                <c:pt idx="893">
                  <c:v>-2.2744748423321313</c:v>
                </c:pt>
                <c:pt idx="894">
                  <c:v>-2.1844939927040938</c:v>
                </c:pt>
                <c:pt idx="895">
                  <c:v>-2.3782754881611385</c:v>
                </c:pt>
                <c:pt idx="896">
                  <c:v>-2.296719430980096</c:v>
                </c:pt>
                <c:pt idx="897">
                  <c:v>-2.4302920852862919</c:v>
                </c:pt>
                <c:pt idx="898">
                  <c:v>-2.3914768522770444</c:v>
                </c:pt>
                <c:pt idx="899">
                  <c:v>-2.3839695316770251</c:v>
                </c:pt>
                <c:pt idx="900">
                  <c:v>-2.3374998323481164</c:v>
                </c:pt>
                <c:pt idx="901">
                  <c:v>-2.3392413675418644</c:v>
                </c:pt>
                <c:pt idx="902">
                  <c:v>-2.3409398307250777</c:v>
                </c:pt>
                <c:pt idx="903">
                  <c:v>-2.4936667659922915</c:v>
                </c:pt>
                <c:pt idx="904">
                  <c:v>-2.4721667278717798</c:v>
                </c:pt>
                <c:pt idx="905">
                  <c:v>-2.5913041121548424</c:v>
                </c:pt>
                <c:pt idx="906">
                  <c:v>-2.5071528345588323</c:v>
                </c:pt>
                <c:pt idx="907">
                  <c:v>-2.5360175697997991</c:v>
                </c:pt>
                <c:pt idx="908">
                  <c:v>-2.4545950245430803</c:v>
                </c:pt>
                <c:pt idx="909">
                  <c:v>-2.4503835898355253</c:v>
                </c:pt>
                <c:pt idx="910">
                  <c:v>-2.4160207970578038</c:v>
                </c:pt>
                <c:pt idx="911">
                  <c:v>-2.4826901808910056</c:v>
                </c:pt>
                <c:pt idx="912">
                  <c:v>-2.5285737364574197</c:v>
                </c:pt>
                <c:pt idx="913">
                  <c:v>-2.5319488881556462</c:v>
                </c:pt>
                <c:pt idx="914">
                  <c:v>-2.4942366559074007</c:v>
                </c:pt>
                <c:pt idx="915">
                  <c:v>-2.3952797774763557</c:v>
                </c:pt>
                <c:pt idx="916">
                  <c:v>-2.3245120977510343</c:v>
                </c:pt>
                <c:pt idx="917">
                  <c:v>-2.2011605877289839</c:v>
                </c:pt>
                <c:pt idx="918">
                  <c:v>-2.3405548993907517</c:v>
                </c:pt>
                <c:pt idx="919">
                  <c:v>-2.339079411253119</c:v>
                </c:pt>
                <c:pt idx="920">
                  <c:v>-2.2225202420388865</c:v>
                </c:pt>
                <c:pt idx="921">
                  <c:v>-2.0284488467782373</c:v>
                </c:pt>
                <c:pt idx="922">
                  <c:v>-2.0360604834725007</c:v>
                </c:pt>
                <c:pt idx="923">
                  <c:v>-1.8834628483838434</c:v>
                </c:pt>
                <c:pt idx="924">
                  <c:v>-2.0880428781521876</c:v>
                </c:pt>
                <c:pt idx="925">
                  <c:v>-1.9944368929454463</c:v>
                </c:pt>
                <c:pt idx="926">
                  <c:v>-2.0880455634702222</c:v>
                </c:pt>
                <c:pt idx="927">
                  <c:v>-2.041982961941931</c:v>
                </c:pt>
                <c:pt idx="928">
                  <c:v>-2.0759609457016066</c:v>
                </c:pt>
                <c:pt idx="929">
                  <c:v>-2.0808584066545666</c:v>
                </c:pt>
                <c:pt idx="930">
                  <c:v>-2.1615475492492355</c:v>
                </c:pt>
                <c:pt idx="931">
                  <c:v>-2.1607505512633538</c:v>
                </c:pt>
                <c:pt idx="932">
                  <c:v>-2.1262905389650917</c:v>
                </c:pt>
                <c:pt idx="933">
                  <c:v>-1.9423737914950308</c:v>
                </c:pt>
                <c:pt idx="934">
                  <c:v>-1.9858728354705231</c:v>
                </c:pt>
                <c:pt idx="935">
                  <c:v>-1.8329985224675402</c:v>
                </c:pt>
                <c:pt idx="936">
                  <c:v>-1.9364111511310207</c:v>
                </c:pt>
                <c:pt idx="937">
                  <c:v>-1.7757422466410815</c:v>
                </c:pt>
                <c:pt idx="938">
                  <c:v>-1.7249130159761292</c:v>
                </c:pt>
                <c:pt idx="939">
                  <c:v>-1.8225585370303139</c:v>
                </c:pt>
                <c:pt idx="940">
                  <c:v>-2.0134927216723923</c:v>
                </c:pt>
                <c:pt idx="941">
                  <c:v>-1.9566824828578326</c:v>
                </c:pt>
                <c:pt idx="942">
                  <c:v>-1.9985066820020694</c:v>
                </c:pt>
                <c:pt idx="943">
                  <c:v>-1.9972386373807556</c:v>
                </c:pt>
                <c:pt idx="944">
                  <c:v>-2.0202410420611492</c:v>
                </c:pt>
                <c:pt idx="945">
                  <c:v>-1.9828144914240542</c:v>
                </c:pt>
                <c:pt idx="946">
                  <c:v>-1.9410150808791768</c:v>
                </c:pt>
                <c:pt idx="947">
                  <c:v>-1.9621396091445411</c:v>
                </c:pt>
                <c:pt idx="948">
                  <c:v>-1.8676768985656533</c:v>
                </c:pt>
                <c:pt idx="949">
                  <c:v>-1.8934484906252433</c:v>
                </c:pt>
                <c:pt idx="950">
                  <c:v>-1.8852273420451322</c:v>
                </c:pt>
                <c:pt idx="951">
                  <c:v>-1.8572802286792345</c:v>
                </c:pt>
                <c:pt idx="952">
                  <c:v>-1.9564478932509508</c:v>
                </c:pt>
                <c:pt idx="953">
                  <c:v>-2.0349876745046305</c:v>
                </c:pt>
                <c:pt idx="954">
                  <c:v>-1.8706246058725813</c:v>
                </c:pt>
                <c:pt idx="955">
                  <c:v>-1.9179431489675189</c:v>
                </c:pt>
                <c:pt idx="956">
                  <c:v>-1.698738773818683</c:v>
                </c:pt>
                <c:pt idx="957">
                  <c:v>-1.5880321091266381</c:v>
                </c:pt>
                <c:pt idx="958">
                  <c:v>-1.5094431608298993</c:v>
                </c:pt>
                <c:pt idx="959">
                  <c:v>-1.5375381086983579</c:v>
                </c:pt>
                <c:pt idx="960">
                  <c:v>-1.2820958232222597</c:v>
                </c:pt>
                <c:pt idx="961">
                  <c:v>-1.3934847781995461</c:v>
                </c:pt>
                <c:pt idx="962">
                  <c:v>-1.263943155090514</c:v>
                </c:pt>
                <c:pt idx="963">
                  <c:v>-1.2186759879976177</c:v>
                </c:pt>
                <c:pt idx="964">
                  <c:v>-1.1721841974475802</c:v>
                </c:pt>
                <c:pt idx="965">
                  <c:v>-1.2139588061667044</c:v>
                </c:pt>
                <c:pt idx="966">
                  <c:v>-1.1657013332232005</c:v>
                </c:pt>
                <c:pt idx="967">
                  <c:v>-1.1738472400628708</c:v>
                </c:pt>
                <c:pt idx="968">
                  <c:v>-1.0897466287697366</c:v>
                </c:pt>
                <c:pt idx="969">
                  <c:v>-0.95547591471843341</c:v>
                </c:pt>
                <c:pt idx="970">
                  <c:v>-1.069817445953563</c:v>
                </c:pt>
                <c:pt idx="971">
                  <c:v>-1.1319130265059001</c:v>
                </c:pt>
                <c:pt idx="972">
                  <c:v>-1.2401835358984896</c:v>
                </c:pt>
                <c:pt idx="973">
                  <c:v>-1.4164245436243337</c:v>
                </c:pt>
                <c:pt idx="974">
                  <c:v>-1.4021813218983579</c:v>
                </c:pt>
                <c:pt idx="975">
                  <c:v>-1.3536231964748588</c:v>
                </c:pt>
                <c:pt idx="976">
                  <c:v>-1.3728113439778187</c:v>
                </c:pt>
                <c:pt idx="977">
                  <c:v>-1.3153254024333561</c:v>
                </c:pt>
                <c:pt idx="978">
                  <c:v>-1.3292080090695388</c:v>
                </c:pt>
                <c:pt idx="979">
                  <c:v>-1.3244991889214117</c:v>
                </c:pt>
                <c:pt idx="980">
                  <c:v>-1.4339689317888245</c:v>
                </c:pt>
                <c:pt idx="981">
                  <c:v>-1.5367562597445432</c:v>
                </c:pt>
                <c:pt idx="982">
                  <c:v>-1.5425939963320094</c:v>
                </c:pt>
                <c:pt idx="983">
                  <c:v>-1.648202148118699</c:v>
                </c:pt>
                <c:pt idx="984">
                  <c:v>-1.7067454610453185</c:v>
                </c:pt>
                <c:pt idx="985">
                  <c:v>-1.7259556295668363</c:v>
                </c:pt>
                <c:pt idx="986">
                  <c:v>-1.8452233389209547</c:v>
                </c:pt>
                <c:pt idx="987">
                  <c:v>-1.8506704676891839</c:v>
                </c:pt>
                <c:pt idx="988">
                  <c:v>-2.0367113751335122</c:v>
                </c:pt>
                <c:pt idx="989">
                  <c:v>-2.1028523833094321</c:v>
                </c:pt>
                <c:pt idx="990">
                  <c:v>-2.1953468363923121</c:v>
                </c:pt>
                <c:pt idx="991">
                  <c:v>-2.0726563146382539</c:v>
                </c:pt>
                <c:pt idx="992">
                  <c:v>-2.0352467808194121</c:v>
                </c:pt>
                <c:pt idx="993">
                  <c:v>-2.1382787778286558</c:v>
                </c:pt>
                <c:pt idx="994">
                  <c:v>-2.1839360708401747</c:v>
                </c:pt>
                <c:pt idx="995">
                  <c:v>-2.122813397973466</c:v>
                </c:pt>
                <c:pt idx="996">
                  <c:v>-2.0944611456146363</c:v>
                </c:pt>
                <c:pt idx="997">
                  <c:v>-2.1953129169144439</c:v>
                </c:pt>
                <c:pt idx="998">
                  <c:v>-2.2683771359179854</c:v>
                </c:pt>
                <c:pt idx="999">
                  <c:v>-2.3642869422906534</c:v>
                </c:pt>
                <c:pt idx="1000">
                  <c:v>-2.2235452280655834</c:v>
                </c:pt>
                <c:pt idx="1001">
                  <c:v>-2.1832325463414111</c:v>
                </c:pt>
                <c:pt idx="1002">
                  <c:v>-2.1037903888432501</c:v>
                </c:pt>
                <c:pt idx="1003">
                  <c:v>-1.8815049460466438</c:v>
                </c:pt>
                <c:pt idx="1004">
                  <c:v>-1.941106296521768</c:v>
                </c:pt>
                <c:pt idx="1005">
                  <c:v>-1.9800519376612562</c:v>
                </c:pt>
                <c:pt idx="1006">
                  <c:v>-1.9431922033154216</c:v>
                </c:pt>
                <c:pt idx="1007">
                  <c:v>-1.9476198300316767</c:v>
                </c:pt>
                <c:pt idx="1008">
                  <c:v>-2.1027797547548461</c:v>
                </c:pt>
                <c:pt idx="1009">
                  <c:v>-1.9979602273643611</c:v>
                </c:pt>
                <c:pt idx="1010">
                  <c:v>-1.9655404809116255</c:v>
                </c:pt>
                <c:pt idx="1011">
                  <c:v>-1.8917294973151413</c:v>
                </c:pt>
                <c:pt idx="1012">
                  <c:v>-1.9053780626952377</c:v>
                </c:pt>
                <c:pt idx="1013">
                  <c:v>-1.8538699940592038</c:v>
                </c:pt>
                <c:pt idx="1014">
                  <c:v>-1.8800743119836176</c:v>
                </c:pt>
                <c:pt idx="1015">
                  <c:v>-1.760934022675213</c:v>
                </c:pt>
                <c:pt idx="1016">
                  <c:v>-1.7893111864106688</c:v>
                </c:pt>
                <c:pt idx="1017">
                  <c:v>-2.0023419628399322</c:v>
                </c:pt>
                <c:pt idx="1018">
                  <c:v>-1.9413453719234233</c:v>
                </c:pt>
                <c:pt idx="1019">
                  <c:v>-1.7375767499710375</c:v>
                </c:pt>
                <c:pt idx="1020">
                  <c:v>-1.6649791523735971</c:v>
                </c:pt>
                <c:pt idx="1021">
                  <c:v>-1.709477904513407</c:v>
                </c:pt>
                <c:pt idx="1022">
                  <c:v>-1.7797985728738337</c:v>
                </c:pt>
                <c:pt idx="1023">
                  <c:v>-1.62365572612475</c:v>
                </c:pt>
                <c:pt idx="1024">
                  <c:v>-1.6613252199342763</c:v>
                </c:pt>
                <c:pt idx="1025">
                  <c:v>-1.6662366365979291</c:v>
                </c:pt>
                <c:pt idx="1026">
                  <c:v>-1.6929951910777765</c:v>
                </c:pt>
                <c:pt idx="1027">
                  <c:v>-1.812743407762925</c:v>
                </c:pt>
                <c:pt idx="1028">
                  <c:v>-1.795642209575687</c:v>
                </c:pt>
                <c:pt idx="1029">
                  <c:v>-1.7677585991066791</c:v>
                </c:pt>
                <c:pt idx="1030">
                  <c:v>-1.7477965666401958</c:v>
                </c:pt>
                <c:pt idx="1031">
                  <c:v>-1.7406520363731786</c:v>
                </c:pt>
                <c:pt idx="1032">
                  <c:v>-1.8148319365719341</c:v>
                </c:pt>
                <c:pt idx="1033">
                  <c:v>-1.8067758130848603</c:v>
                </c:pt>
                <c:pt idx="1034">
                  <c:v>-1.7556704502746672</c:v>
                </c:pt>
                <c:pt idx="1035">
                  <c:v>-1.7103526331402148</c:v>
                </c:pt>
                <c:pt idx="1036">
                  <c:v>-1.6874988032323883</c:v>
                </c:pt>
                <c:pt idx="1037">
                  <c:v>-1.7793563240054691</c:v>
                </c:pt>
                <c:pt idx="1038">
                  <c:v>-1.522028448790484</c:v>
                </c:pt>
                <c:pt idx="1039">
                  <c:v>-1.6760851362349958</c:v>
                </c:pt>
                <c:pt idx="1040">
                  <c:v>-1.6002556481541332</c:v>
                </c:pt>
                <c:pt idx="1041">
                  <c:v>-1.745722078553221</c:v>
                </c:pt>
                <c:pt idx="1042">
                  <c:v>-1.7033784798430935</c:v>
                </c:pt>
                <c:pt idx="1043">
                  <c:v>-1.6772183222151145</c:v>
                </c:pt>
                <c:pt idx="1044">
                  <c:v>-1.710159836148796</c:v>
                </c:pt>
                <c:pt idx="1045">
                  <c:v>-1.8151530476412803</c:v>
                </c:pt>
                <c:pt idx="1046">
                  <c:v>-1.806463133950825</c:v>
                </c:pt>
                <c:pt idx="1047">
                  <c:v>-1.5705589459767535</c:v>
                </c:pt>
                <c:pt idx="1048">
                  <c:v>-1.5458429859613085</c:v>
                </c:pt>
                <c:pt idx="1049">
                  <c:v>-1.6694572180015936</c:v>
                </c:pt>
                <c:pt idx="1050">
                  <c:v>-1.90828354363232</c:v>
                </c:pt>
                <c:pt idx="1051">
                  <c:v>-1.9880311835595927</c:v>
                </c:pt>
                <c:pt idx="1052">
                  <c:v>-2.1332640717731199</c:v>
                </c:pt>
                <c:pt idx="1053">
                  <c:v>-2.1392536146429904</c:v>
                </c:pt>
                <c:pt idx="1054">
                  <c:v>-2.2503451068493119</c:v>
                </c:pt>
                <c:pt idx="1055">
                  <c:v>-2.2089988501770743</c:v>
                </c:pt>
                <c:pt idx="1056">
                  <c:v>-2.2331874943291186</c:v>
                </c:pt>
                <c:pt idx="1057">
                  <c:v>-2.0937437763246733</c:v>
                </c:pt>
                <c:pt idx="1058">
                  <c:v>-2.1027269785077736</c:v>
                </c:pt>
                <c:pt idx="1059">
                  <c:v>-2.1153875285142005</c:v>
                </c:pt>
                <c:pt idx="1060">
                  <c:v>-2.0753072339658805</c:v>
                </c:pt>
                <c:pt idx="1061">
                  <c:v>-1.9330743190104767</c:v>
                </c:pt>
                <c:pt idx="1062">
                  <c:v>-1.5871242133694294</c:v>
                </c:pt>
                <c:pt idx="1063">
                  <c:v>-1.712014483383157</c:v>
                </c:pt>
                <c:pt idx="1064">
                  <c:v>-1.433615381240481</c:v>
                </c:pt>
                <c:pt idx="1065">
                  <c:v>-1.446503733601574</c:v>
                </c:pt>
                <c:pt idx="1066">
                  <c:v>-1.3433964131312282</c:v>
                </c:pt>
                <c:pt idx="1067">
                  <c:v>-0.93448482763233776</c:v>
                </c:pt>
                <c:pt idx="1068">
                  <c:v>-0.92298289732899474</c:v>
                </c:pt>
                <c:pt idx="1069">
                  <c:v>-0.26945560381094336</c:v>
                </c:pt>
                <c:pt idx="1070">
                  <c:v>-0.13971924455354656</c:v>
                </c:pt>
                <c:pt idx="1071">
                  <c:v>-0.17739836942504239</c:v>
                </c:pt>
                <c:pt idx="1072">
                  <c:v>-0.13142153867280071</c:v>
                </c:pt>
                <c:pt idx="1073">
                  <c:v>-0.18658138481928821</c:v>
                </c:pt>
                <c:pt idx="1074">
                  <c:v>-0.21255319372375514</c:v>
                </c:pt>
                <c:pt idx="1075">
                  <c:v>-0.25661809416946413</c:v>
                </c:pt>
                <c:pt idx="1076">
                  <c:v>-0.36506777421718006</c:v>
                </c:pt>
                <c:pt idx="1077">
                  <c:v>-0.36980459602790894</c:v>
                </c:pt>
                <c:pt idx="1078">
                  <c:v>-0.27317080129261317</c:v>
                </c:pt>
                <c:pt idx="1079">
                  <c:v>-0.23127108226573967</c:v>
                </c:pt>
                <c:pt idx="1080">
                  <c:v>-0.2330186972174485</c:v>
                </c:pt>
                <c:pt idx="1081">
                  <c:v>-0.3157761928512427</c:v>
                </c:pt>
                <c:pt idx="1082">
                  <c:v>-0.34763530785084173</c:v>
                </c:pt>
                <c:pt idx="1083">
                  <c:v>-0.43349004158674898</c:v>
                </c:pt>
                <c:pt idx="1084">
                  <c:v>-0.43943361218078214</c:v>
                </c:pt>
                <c:pt idx="1085">
                  <c:v>-0.55008846787604837</c:v>
                </c:pt>
                <c:pt idx="1086">
                  <c:v>-0.51824526019392148</c:v>
                </c:pt>
                <c:pt idx="1087">
                  <c:v>-0.56825028736192562</c:v>
                </c:pt>
                <c:pt idx="1088">
                  <c:v>-0.61513251179253892</c:v>
                </c:pt>
                <c:pt idx="1089">
                  <c:v>-0.42507808660329804</c:v>
                </c:pt>
                <c:pt idx="1090">
                  <c:v>-0.26541874637469476</c:v>
                </c:pt>
                <c:pt idx="1091">
                  <c:v>-0.27196624006038295</c:v>
                </c:pt>
                <c:pt idx="1092">
                  <c:v>-0.25347523089658341</c:v>
                </c:pt>
                <c:pt idx="1093">
                  <c:v>-0.15625673299076992</c:v>
                </c:pt>
                <c:pt idx="1094">
                  <c:v>-0.17589792032601126</c:v>
                </c:pt>
                <c:pt idx="1095">
                  <c:v>-0.1290806522452056</c:v>
                </c:pt>
                <c:pt idx="1096">
                  <c:v>-3.4794445602102431E-2</c:v>
                </c:pt>
                <c:pt idx="1097">
                  <c:v>-0.36533365391963468</c:v>
                </c:pt>
                <c:pt idx="1098">
                  <c:v>-0.43447332844014375</c:v>
                </c:pt>
                <c:pt idx="1099">
                  <c:v>-0.58569146410814643</c:v>
                </c:pt>
                <c:pt idx="1100">
                  <c:v>-0.63609127543861133</c:v>
                </c:pt>
                <c:pt idx="1101">
                  <c:v>-0.87825541451688938</c:v>
                </c:pt>
                <c:pt idx="1102">
                  <c:v>-0.97140104958858642</c:v>
                </c:pt>
                <c:pt idx="1103">
                  <c:v>-1.0582706009771377</c:v>
                </c:pt>
                <c:pt idx="1104">
                  <c:v>-1.0925112254059766</c:v>
                </c:pt>
                <c:pt idx="1105">
                  <c:v>-0.95506794335222123</c:v>
                </c:pt>
                <c:pt idx="1106">
                  <c:v>-1.5499062424203056</c:v>
                </c:pt>
                <c:pt idx="1107">
                  <c:v>-1.931104205385747</c:v>
                </c:pt>
                <c:pt idx="1108">
                  <c:v>-2.1293791925076286</c:v>
                </c:pt>
                <c:pt idx="1109">
                  <c:v>-2.2646009259677347</c:v>
                </c:pt>
                <c:pt idx="1110">
                  <c:v>-2.3433095993806918</c:v>
                </c:pt>
                <c:pt idx="1111">
                  <c:v>-2.4300970421495474</c:v>
                </c:pt>
                <c:pt idx="1112">
                  <c:v>-2.3909948328217836</c:v>
                </c:pt>
                <c:pt idx="1113">
                  <c:v>-2.3497145444195326</c:v>
                </c:pt>
                <c:pt idx="1114">
                  <c:v>-2.3380345150240851</c:v>
                </c:pt>
                <c:pt idx="1115">
                  <c:v>-2.3359679553775341</c:v>
                </c:pt>
                <c:pt idx="1116">
                  <c:v>-2.3470179003155134</c:v>
                </c:pt>
                <c:pt idx="1117">
                  <c:v>-2.2814668916968688</c:v>
                </c:pt>
                <c:pt idx="1118">
                  <c:v>-2.033780778658731</c:v>
                </c:pt>
                <c:pt idx="1119">
                  <c:v>-2.3289421798202334</c:v>
                </c:pt>
                <c:pt idx="1120">
                  <c:v>-2.3036389138221005</c:v>
                </c:pt>
                <c:pt idx="1121">
                  <c:v>-2.1922068961048189</c:v>
                </c:pt>
                <c:pt idx="1122">
                  <c:v>-1.9868194158789358</c:v>
                </c:pt>
                <c:pt idx="1123">
                  <c:v>-1.7465193408539945</c:v>
                </c:pt>
                <c:pt idx="1124">
                  <c:v>-1.7051482411741685</c:v>
                </c:pt>
                <c:pt idx="1125">
                  <c:v>-1.5228578563373318</c:v>
                </c:pt>
                <c:pt idx="1126">
                  <c:v>-1.5571435573792463</c:v>
                </c:pt>
                <c:pt idx="1127">
                  <c:v>-1.6868621659185306</c:v>
                </c:pt>
                <c:pt idx="1128">
                  <c:v>-1.8673759669525345</c:v>
                </c:pt>
                <c:pt idx="1129">
                  <c:v>-1.8554786767965052</c:v>
                </c:pt>
                <c:pt idx="1130">
                  <c:v>-1.931385103531102</c:v>
                </c:pt>
                <c:pt idx="1131">
                  <c:v>-2.0865315103171418</c:v>
                </c:pt>
                <c:pt idx="1132">
                  <c:v>-2.1994090990332733</c:v>
                </c:pt>
                <c:pt idx="1133">
                  <c:v>-2.2564280668518433</c:v>
                </c:pt>
                <c:pt idx="1134">
                  <c:v>-2.1260114056047263</c:v>
                </c:pt>
                <c:pt idx="1135">
                  <c:v>-1.9744629280212562</c:v>
                </c:pt>
                <c:pt idx="1136">
                  <c:v>-2.1048984281021856</c:v>
                </c:pt>
                <c:pt idx="1137">
                  <c:v>-2.1817865429299608</c:v>
                </c:pt>
                <c:pt idx="1138">
                  <c:v>-2.2502714962255888</c:v>
                </c:pt>
                <c:pt idx="1139">
                  <c:v>-2.3313143944834542</c:v>
                </c:pt>
                <c:pt idx="1140">
                  <c:v>-2.3738554492760602</c:v>
                </c:pt>
                <c:pt idx="1141">
                  <c:v>-2.2508835473307331</c:v>
                </c:pt>
                <c:pt idx="1142">
                  <c:v>-2.4245206720733981</c:v>
                </c:pt>
                <c:pt idx="1143">
                  <c:v>-2.4620218950371862</c:v>
                </c:pt>
                <c:pt idx="1144">
                  <c:v>-2.5124302535359164</c:v>
                </c:pt>
                <c:pt idx="1145">
                  <c:v>-2.5916845193445091</c:v>
                </c:pt>
                <c:pt idx="1146">
                  <c:v>-2.7512947836650512</c:v>
                </c:pt>
                <c:pt idx="1147">
                  <c:v>-2.8240350004114259</c:v>
                </c:pt>
                <c:pt idx="1148">
                  <c:v>-2.8815909498463048</c:v>
                </c:pt>
                <c:pt idx="1149">
                  <c:v>-2.8677305048920032</c:v>
                </c:pt>
                <c:pt idx="1150">
                  <c:v>-2.7821154664876202</c:v>
                </c:pt>
                <c:pt idx="1151">
                  <c:v>-2.6634420837091928</c:v>
                </c:pt>
                <c:pt idx="1152">
                  <c:v>-2.693327802448072</c:v>
                </c:pt>
                <c:pt idx="1153">
                  <c:v>-2.8753686968592347</c:v>
                </c:pt>
                <c:pt idx="1154">
                  <c:v>-2.8267884544832071</c:v>
                </c:pt>
                <c:pt idx="1155">
                  <c:v>-2.9011521475995976</c:v>
                </c:pt>
                <c:pt idx="1156">
                  <c:v>-2.8709878243145655</c:v>
                </c:pt>
                <c:pt idx="1157">
                  <c:v>-2.9600617893651622</c:v>
                </c:pt>
                <c:pt idx="1158">
                  <c:v>-2.9675900783692017</c:v>
                </c:pt>
                <c:pt idx="1159">
                  <c:v>-2.9975062356048165</c:v>
                </c:pt>
                <c:pt idx="1160">
                  <c:v>-2.9020694372352573</c:v>
                </c:pt>
                <c:pt idx="1161">
                  <c:v>-2.8553912940156354</c:v>
                </c:pt>
                <c:pt idx="1162">
                  <c:v>-2.6891485685351708</c:v>
                </c:pt>
                <c:pt idx="1163">
                  <c:v>-2.6429110965168485</c:v>
                </c:pt>
                <c:pt idx="1164">
                  <c:v>-2.6356679663598857</c:v>
                </c:pt>
                <c:pt idx="1165">
                  <c:v>-2.7572936293716843</c:v>
                </c:pt>
                <c:pt idx="1166">
                  <c:v>-2.6218128021160596</c:v>
                </c:pt>
                <c:pt idx="1167">
                  <c:v>-2.6044094359939485</c:v>
                </c:pt>
                <c:pt idx="1168">
                  <c:v>-2.6045509747284887</c:v>
                </c:pt>
                <c:pt idx="1169">
                  <c:v>-2.4227253494949061</c:v>
                </c:pt>
                <c:pt idx="1170">
                  <c:v>-2.3912590890859553</c:v>
                </c:pt>
                <c:pt idx="1171">
                  <c:v>-2.3245934757842694</c:v>
                </c:pt>
                <c:pt idx="1172">
                  <c:v>-2.2518561522816998</c:v>
                </c:pt>
                <c:pt idx="1173">
                  <c:v>-2.26943350127164</c:v>
                </c:pt>
                <c:pt idx="1174">
                  <c:v>-2.2204855600508568</c:v>
                </c:pt>
                <c:pt idx="1175">
                  <c:v>-2.1447272692198092</c:v>
                </c:pt>
                <c:pt idx="1176">
                  <c:v>-2.0280875738883459</c:v>
                </c:pt>
                <c:pt idx="1177">
                  <c:v>-1.9948103319812569</c:v>
                </c:pt>
                <c:pt idx="1178">
                  <c:v>-1.9143100565332438</c:v>
                </c:pt>
                <c:pt idx="1179">
                  <c:v>-1.7487303520469477</c:v>
                </c:pt>
                <c:pt idx="1180">
                  <c:v>-1.7080077825962392</c:v>
                </c:pt>
                <c:pt idx="1181">
                  <c:v>-1.6967912558774136</c:v>
                </c:pt>
                <c:pt idx="1182">
                  <c:v>-1.7294508306981089</c:v>
                </c:pt>
                <c:pt idx="1183">
                  <c:v>-1.5986757881266316</c:v>
                </c:pt>
                <c:pt idx="1184">
                  <c:v>-1.7056550635510521</c:v>
                </c:pt>
                <c:pt idx="1185">
                  <c:v>-1.5292311037591251</c:v>
                </c:pt>
                <c:pt idx="1186">
                  <c:v>-1.4593840840549932</c:v>
                </c:pt>
                <c:pt idx="1187">
                  <c:v>-1.1430113142048381</c:v>
                </c:pt>
                <c:pt idx="1188">
                  <c:v>-1.2098512763798417</c:v>
                </c:pt>
                <c:pt idx="1189">
                  <c:v>-1.2196272651091999</c:v>
                </c:pt>
                <c:pt idx="1190">
                  <c:v>-1.2530981500929572</c:v>
                </c:pt>
                <c:pt idx="1191">
                  <c:v>-1.1963470421307396</c:v>
                </c:pt>
                <c:pt idx="1192">
                  <c:v>-1.3158112475321606</c:v>
                </c:pt>
                <c:pt idx="1193">
                  <c:v>-1.4889722854380256</c:v>
                </c:pt>
                <c:pt idx="1194">
                  <c:v>-1.661300369954851</c:v>
                </c:pt>
                <c:pt idx="1195">
                  <c:v>-1.5765776040266855</c:v>
                </c:pt>
                <c:pt idx="1196">
                  <c:v>-1.5727995994165864</c:v>
                </c:pt>
                <c:pt idx="1197">
                  <c:v>-1.4247950220500125</c:v>
                </c:pt>
                <c:pt idx="1198">
                  <c:v>-1.486447266664888</c:v>
                </c:pt>
                <c:pt idx="1199">
                  <c:v>-1.5947223919629097</c:v>
                </c:pt>
                <c:pt idx="1200">
                  <c:v>-1.6479037893969526</c:v>
                </c:pt>
                <c:pt idx="1201">
                  <c:v>-1.7461787278065115</c:v>
                </c:pt>
                <c:pt idx="1202">
                  <c:v>-1.8103677943499998</c:v>
                </c:pt>
                <c:pt idx="1203">
                  <c:v>-1.8549540638791133</c:v>
                </c:pt>
                <c:pt idx="1204">
                  <c:v>-1.9856632992724359</c:v>
                </c:pt>
                <c:pt idx="1205">
                  <c:v>-1.991410840113637</c:v>
                </c:pt>
                <c:pt idx="1206">
                  <c:v>-1.9209884903914172</c:v>
                </c:pt>
                <c:pt idx="1207">
                  <c:v>-1.8765182578990491</c:v>
                </c:pt>
                <c:pt idx="1208">
                  <c:v>-1.9140529424138726</c:v>
                </c:pt>
                <c:pt idx="1209">
                  <c:v>-2.0401873703092233</c:v>
                </c:pt>
                <c:pt idx="1210">
                  <c:v>-2.0489735065309871</c:v>
                </c:pt>
                <c:pt idx="1211">
                  <c:v>-2.2424667780576066</c:v>
                </c:pt>
                <c:pt idx="1212">
                  <c:v>-2.3609816359061178</c:v>
                </c:pt>
                <c:pt idx="1213">
                  <c:v>-2.3704417710633474</c:v>
                </c:pt>
                <c:pt idx="1214">
                  <c:v>-2.3478727308516762</c:v>
                </c:pt>
                <c:pt idx="1215">
                  <c:v>-2.3894765620846488</c:v>
                </c:pt>
                <c:pt idx="1216">
                  <c:v>-2.338003669810425</c:v>
                </c:pt>
                <c:pt idx="1217">
                  <c:v>-2.4161791134193948</c:v>
                </c:pt>
                <c:pt idx="1218">
                  <c:v>-2.3362200625951073</c:v>
                </c:pt>
                <c:pt idx="1219">
                  <c:v>-2.2541916590655995</c:v>
                </c:pt>
                <c:pt idx="1220">
                  <c:v>-2.2855510923333733</c:v>
                </c:pt>
                <c:pt idx="1221">
                  <c:v>-2.3844574601941826</c:v>
                </c:pt>
                <c:pt idx="1222">
                  <c:v>-2.3683225104649495</c:v>
                </c:pt>
                <c:pt idx="1223">
                  <c:v>-2.410206056761202</c:v>
                </c:pt>
                <c:pt idx="1224">
                  <c:v>-2.4163848276787916</c:v>
                </c:pt>
                <c:pt idx="1225">
                  <c:v>-2.4161346646392645</c:v>
                </c:pt>
                <c:pt idx="1226">
                  <c:v>-2.5190471316119223</c:v>
                </c:pt>
                <c:pt idx="1227">
                  <c:v>-2.6382140898593724</c:v>
                </c:pt>
                <c:pt idx="1228">
                  <c:v>-2.5397488363247804</c:v>
                </c:pt>
                <c:pt idx="1229">
                  <c:v>-2.5791649582594993</c:v>
                </c:pt>
                <c:pt idx="1230">
                  <c:v>-2.5724982967679488</c:v>
                </c:pt>
                <c:pt idx="1231">
                  <c:v>-2.5387584882867116</c:v>
                </c:pt>
                <c:pt idx="1232">
                  <c:v>-2.5174881485021126</c:v>
                </c:pt>
                <c:pt idx="1233">
                  <c:v>-2.8084204277219853</c:v>
                </c:pt>
                <c:pt idx="1234">
                  <c:v>-2.8951786015713932</c:v>
                </c:pt>
                <c:pt idx="1235">
                  <c:v>-2.8644695655696348</c:v>
                </c:pt>
                <c:pt idx="1236">
                  <c:v>-2.8938717832578624</c:v>
                </c:pt>
                <c:pt idx="1237">
                  <c:v>-2.9347283603779042</c:v>
                </c:pt>
                <c:pt idx="1238">
                  <c:v>-2.9290580974705436</c:v>
                </c:pt>
                <c:pt idx="1239">
                  <c:v>-2.6752231048819719</c:v>
                </c:pt>
                <c:pt idx="1240">
                  <c:v>-2.8731805428507822</c:v>
                </c:pt>
                <c:pt idx="1241">
                  <c:v>-2.8208831403458059</c:v>
                </c:pt>
                <c:pt idx="1242">
                  <c:v>-2.6794703316201232</c:v>
                </c:pt>
                <c:pt idx="1243">
                  <c:v>-2.5863812874992811</c:v>
                </c:pt>
                <c:pt idx="1244">
                  <c:v>-2.4724116295811367</c:v>
                </c:pt>
                <c:pt idx="1245">
                  <c:v>-2.5781328328911255</c:v>
                </c:pt>
                <c:pt idx="1246">
                  <c:v>-2.51830615877993</c:v>
                </c:pt>
                <c:pt idx="1247">
                  <c:v>-2.5508535308752562</c:v>
                </c:pt>
                <c:pt idx="1248">
                  <c:v>-2.3326980741387842</c:v>
                </c:pt>
                <c:pt idx="1249">
                  <c:v>-2.5357387646425704</c:v>
                </c:pt>
                <c:pt idx="1250">
                  <c:v>-2.530590847568396</c:v>
                </c:pt>
                <c:pt idx="1251">
                  <c:v>-2.5983310731419262</c:v>
                </c:pt>
                <c:pt idx="1252">
                  <c:v>-2.4077695852548593</c:v>
                </c:pt>
                <c:pt idx="1253">
                  <c:v>-1.8549688177452213</c:v>
                </c:pt>
                <c:pt idx="1254">
                  <c:v>-1.2333289042961217</c:v>
                </c:pt>
                <c:pt idx="1255">
                  <c:v>-1.2046310485726375</c:v>
                </c:pt>
                <c:pt idx="1256">
                  <c:v>-1.3791248121123574</c:v>
                </c:pt>
                <c:pt idx="1257">
                  <c:v>-0.58636988466974815</c:v>
                </c:pt>
                <c:pt idx="1258">
                  <c:v>-0.5151184919918711</c:v>
                </c:pt>
                <c:pt idx="1259">
                  <c:v>-0.57600303761941729</c:v>
                </c:pt>
                <c:pt idx="1260">
                  <c:v>-0.56206755565394839</c:v>
                </c:pt>
                <c:pt idx="1261">
                  <c:v>-0.59842252491877479</c:v>
                </c:pt>
                <c:pt idx="1262">
                  <c:v>-0.51867646035530457</c:v>
                </c:pt>
                <c:pt idx="1263">
                  <c:v>-0.57116317603716904</c:v>
                </c:pt>
                <c:pt idx="1264">
                  <c:v>-0.61298845092904652</c:v>
                </c:pt>
                <c:pt idx="1265">
                  <c:v>-0.66428584150668624</c:v>
                </c:pt>
                <c:pt idx="1266">
                  <c:v>-0.67484843793488392</c:v>
                </c:pt>
                <c:pt idx="1267">
                  <c:v>-0.6375676356082306</c:v>
                </c:pt>
                <c:pt idx="1268">
                  <c:v>-0.71241642025428475</c:v>
                </c:pt>
                <c:pt idx="1269">
                  <c:v>-0.69065462741197214</c:v>
                </c:pt>
                <c:pt idx="1270">
                  <c:v>-0.61668920630152602</c:v>
                </c:pt>
                <c:pt idx="1271">
                  <c:v>-0.56676918281731814</c:v>
                </c:pt>
                <c:pt idx="1272">
                  <c:v>-0.60539987201564893</c:v>
                </c:pt>
                <c:pt idx="1273">
                  <c:v>-0.62038259727456879</c:v>
                </c:pt>
                <c:pt idx="1274">
                  <c:v>-0.64375924038516141</c:v>
                </c:pt>
                <c:pt idx="1275">
                  <c:v>-0.60333726372772067</c:v>
                </c:pt>
                <c:pt idx="1276">
                  <c:v>-0.536708132396296</c:v>
                </c:pt>
                <c:pt idx="1277">
                  <c:v>-0.27784164517990939</c:v>
                </c:pt>
                <c:pt idx="1278">
                  <c:v>-0.28133625515024152</c:v>
                </c:pt>
                <c:pt idx="1279">
                  <c:v>-1.0920633949067939</c:v>
                </c:pt>
                <c:pt idx="1280">
                  <c:v>-1.5742632476444309</c:v>
                </c:pt>
                <c:pt idx="1281">
                  <c:v>-1.5555730385151807</c:v>
                </c:pt>
                <c:pt idx="1282">
                  <c:v>-1.4685484592960933</c:v>
                </c:pt>
                <c:pt idx="1283">
                  <c:v>-1.5160515384701241</c:v>
                </c:pt>
                <c:pt idx="1284">
                  <c:v>-1.8974222749476084</c:v>
                </c:pt>
                <c:pt idx="1285">
                  <c:v>-2.2278135742418135</c:v>
                </c:pt>
                <c:pt idx="1286">
                  <c:v>-2.4300642570421473</c:v>
                </c:pt>
                <c:pt idx="1287">
                  <c:v>-2.448156361495577</c:v>
                </c:pt>
                <c:pt idx="1288">
                  <c:v>-2.4186764434504551</c:v>
                </c:pt>
                <c:pt idx="1289">
                  <c:v>-2.492923255917066</c:v>
                </c:pt>
                <c:pt idx="1290">
                  <c:v>-2.5782058766597342</c:v>
                </c:pt>
                <c:pt idx="1291">
                  <c:v>-2.555906144276233</c:v>
                </c:pt>
                <c:pt idx="1292">
                  <c:v>-2.656750559360713</c:v>
                </c:pt>
                <c:pt idx="1293">
                  <c:v>-2.5646828639679251</c:v>
                </c:pt>
                <c:pt idx="1294">
                  <c:v>-2.4141722869918056</c:v>
                </c:pt>
                <c:pt idx="1295">
                  <c:v>-2.3398837034418842</c:v>
                </c:pt>
                <c:pt idx="1296">
                  <c:v>-2.3152823083776499</c:v>
                </c:pt>
                <c:pt idx="1297">
                  <c:v>-2.3849847928438677</c:v>
                </c:pt>
                <c:pt idx="1298">
                  <c:v>-2.5139624032739989</c:v>
                </c:pt>
                <c:pt idx="1299">
                  <c:v>-2.449555930172985</c:v>
                </c:pt>
                <c:pt idx="1300">
                  <c:v>-2.3070860885683602</c:v>
                </c:pt>
                <c:pt idx="1301">
                  <c:v>-2.2483652696047671</c:v>
                </c:pt>
                <c:pt idx="1302">
                  <c:v>-2.352435311511051</c:v>
                </c:pt>
                <c:pt idx="1303">
                  <c:v>-2.2153950885711686</c:v>
                </c:pt>
                <c:pt idx="1304">
                  <c:v>-2.3066471879416111</c:v>
                </c:pt>
                <c:pt idx="1305">
                  <c:v>-2.285315817281973</c:v>
                </c:pt>
                <c:pt idx="1306">
                  <c:v>-2.2126683017100679</c:v>
                </c:pt>
                <c:pt idx="1307">
                  <c:v>-2.2377151858271085</c:v>
                </c:pt>
                <c:pt idx="1308">
                  <c:v>-2.2411359263127033</c:v>
                </c:pt>
                <c:pt idx="1309">
                  <c:v>-2.134082351187796</c:v>
                </c:pt>
                <c:pt idx="1310">
                  <c:v>-2.1340671617096727</c:v>
                </c:pt>
                <c:pt idx="1311">
                  <c:v>-2.0091955501107592</c:v>
                </c:pt>
                <c:pt idx="1312">
                  <c:v>-2.1430409111088973</c:v>
                </c:pt>
                <c:pt idx="1313">
                  <c:v>-2.1877797700672352</c:v>
                </c:pt>
                <c:pt idx="1314">
                  <c:v>-2.1435219996888342</c:v>
                </c:pt>
                <c:pt idx="1315">
                  <c:v>-1.9777357895823013</c:v>
                </c:pt>
                <c:pt idx="1316">
                  <c:v>-1.9921052272538673</c:v>
                </c:pt>
                <c:pt idx="1317">
                  <c:v>-1.9983676550937379</c:v>
                </c:pt>
                <c:pt idx="1318">
                  <c:v>-2.0192943502156546</c:v>
                </c:pt>
                <c:pt idx="1319">
                  <c:v>-2.181211353365843</c:v>
                </c:pt>
                <c:pt idx="1320">
                  <c:v>-2.1977619778427502</c:v>
                </c:pt>
                <c:pt idx="1321">
                  <c:v>-2.1676960162855976</c:v>
                </c:pt>
                <c:pt idx="1322">
                  <c:v>-2.1581247288595029</c:v>
                </c:pt>
                <c:pt idx="1323">
                  <c:v>-2.1241491264485504</c:v>
                </c:pt>
                <c:pt idx="1324">
                  <c:v>-2.1272903176757385</c:v>
                </c:pt>
                <c:pt idx="1325">
                  <c:v>-2.255162694232534</c:v>
                </c:pt>
                <c:pt idx="1326">
                  <c:v>-2.3045961366467167</c:v>
                </c:pt>
                <c:pt idx="1327">
                  <c:v>-2.311094097646643</c:v>
                </c:pt>
                <c:pt idx="1328">
                  <c:v>-2.315611458671667</c:v>
                </c:pt>
                <c:pt idx="1329">
                  <c:v>-2.3375618547716459</c:v>
                </c:pt>
                <c:pt idx="1330">
                  <c:v>-2.4227063312484494</c:v>
                </c:pt>
                <c:pt idx="1331">
                  <c:v>-2.3748548266933063</c:v>
                </c:pt>
                <c:pt idx="1332">
                  <c:v>-2.1956775767226158</c:v>
                </c:pt>
                <c:pt idx="1333">
                  <c:v>-2.1272755930840392</c:v>
                </c:pt>
                <c:pt idx="1334">
                  <c:v>-2.0383236894697823</c:v>
                </c:pt>
                <c:pt idx="1335">
                  <c:v>-2.2205747710814898</c:v>
                </c:pt>
                <c:pt idx="1336">
                  <c:v>-2.0739435124621557</c:v>
                </c:pt>
                <c:pt idx="1337">
                  <c:v>-2.0333991257895692</c:v>
                </c:pt>
                <c:pt idx="1338">
                  <c:v>-2.0818007057884262</c:v>
                </c:pt>
                <c:pt idx="1339">
                  <c:v>-2.0449972021194287</c:v>
                </c:pt>
                <c:pt idx="1340">
                  <c:v>-1.9895920903077275</c:v>
                </c:pt>
                <c:pt idx="1341">
                  <c:v>-2.110161075034326</c:v>
                </c:pt>
                <c:pt idx="1342">
                  <c:v>-1.8749817564041957</c:v>
                </c:pt>
                <c:pt idx="1343">
                  <c:v>-1.971237346441336</c:v>
                </c:pt>
                <c:pt idx="1344">
                  <c:v>-1.9350260097667995</c:v>
                </c:pt>
                <c:pt idx="1345">
                  <c:v>-1.9651023183702292</c:v>
                </c:pt>
                <c:pt idx="1346">
                  <c:v>-1.8428079424680139</c:v>
                </c:pt>
                <c:pt idx="1347">
                  <c:v>-1.7938814790426956</c:v>
                </c:pt>
                <c:pt idx="1348">
                  <c:v>-1.7589327974839502</c:v>
                </c:pt>
                <c:pt idx="1349">
                  <c:v>-1.7019334924570857</c:v>
                </c:pt>
                <c:pt idx="1350">
                  <c:v>-1.7243407328018234</c:v>
                </c:pt>
                <c:pt idx="1351">
                  <c:v>-1.634693229239244</c:v>
                </c:pt>
                <c:pt idx="1352">
                  <c:v>-1.8092164355295668</c:v>
                </c:pt>
                <c:pt idx="1353">
                  <c:v>-1.7980301165847843</c:v>
                </c:pt>
                <c:pt idx="1354">
                  <c:v>-1.8952913253851524</c:v>
                </c:pt>
                <c:pt idx="1355">
                  <c:v>-1.6921163307194402</c:v>
                </c:pt>
                <c:pt idx="1356">
                  <c:v>-1.5453044082635872</c:v>
                </c:pt>
                <c:pt idx="1357">
                  <c:v>-1.4161254114504676</c:v>
                </c:pt>
                <c:pt idx="1358">
                  <c:v>-1.503044214555997</c:v>
                </c:pt>
                <c:pt idx="1359">
                  <c:v>-1.7135057309879227</c:v>
                </c:pt>
                <c:pt idx="1360">
                  <c:v>-1.762316736612759</c:v>
                </c:pt>
                <c:pt idx="1361">
                  <c:v>-1.7540176453315852</c:v>
                </c:pt>
                <c:pt idx="1362">
                  <c:v>-1.7915923505511429</c:v>
                </c:pt>
                <c:pt idx="1363">
                  <c:v>-1.8562101860082953</c:v>
                </c:pt>
                <c:pt idx="1364">
                  <c:v>-1.8968144983601665</c:v>
                </c:pt>
                <c:pt idx="1365">
                  <c:v>-1.7616344211368591</c:v>
                </c:pt>
                <c:pt idx="1366">
                  <c:v>-1.7553073336321225</c:v>
                </c:pt>
                <c:pt idx="1367">
                  <c:v>-1.7824303490384401</c:v>
                </c:pt>
                <c:pt idx="1368">
                  <c:v>-1.8796222246370706</c:v>
                </c:pt>
                <c:pt idx="1369">
                  <c:v>-1.8289982590973146</c:v>
                </c:pt>
                <c:pt idx="1370">
                  <c:v>-1.9850829741832507</c:v>
                </c:pt>
                <c:pt idx="1371">
                  <c:v>-1.8748455053805371</c:v>
                </c:pt>
                <c:pt idx="1372">
                  <c:v>-1.9278302364463351</c:v>
                </c:pt>
                <c:pt idx="1373">
                  <c:v>-1.8623198615166716</c:v>
                </c:pt>
                <c:pt idx="1374">
                  <c:v>-2.0016804794172232</c:v>
                </c:pt>
                <c:pt idx="1375">
                  <c:v>-2.1226561252555034</c:v>
                </c:pt>
                <c:pt idx="1376">
                  <c:v>-2.2367906329224492</c:v>
                </c:pt>
                <c:pt idx="1377">
                  <c:v>-2.1508374890737625</c:v>
                </c:pt>
                <c:pt idx="1378">
                  <c:v>-2.1026957187274178</c:v>
                </c:pt>
                <c:pt idx="1379">
                  <c:v>-2.2374063033909004</c:v>
                </c:pt>
                <c:pt idx="1380">
                  <c:v>-2.1606011688771485</c:v>
                </c:pt>
                <c:pt idx="1381">
                  <c:v>-2.1635388805041278</c:v>
                </c:pt>
                <c:pt idx="1382">
                  <c:v>-2.0414660666894213</c:v>
                </c:pt>
                <c:pt idx="1383">
                  <c:v>-2.0152811989565307</c:v>
                </c:pt>
                <c:pt idx="1384">
                  <c:v>-2.0042293952723931</c:v>
                </c:pt>
                <c:pt idx="1385">
                  <c:v>-1.9968900025396032</c:v>
                </c:pt>
                <c:pt idx="1386">
                  <c:v>-2.0196753253912574</c:v>
                </c:pt>
                <c:pt idx="1387">
                  <c:v>-1.9605567248023905</c:v>
                </c:pt>
                <c:pt idx="1388">
                  <c:v>-1.9449443474467039</c:v>
                </c:pt>
                <c:pt idx="1389">
                  <c:v>-1.7652222361322063</c:v>
                </c:pt>
                <c:pt idx="1390">
                  <c:v>-1.8459552467244547</c:v>
                </c:pt>
                <c:pt idx="1391">
                  <c:v>-1.8866058597473261</c:v>
                </c:pt>
                <c:pt idx="1392">
                  <c:v>-1.9259109528985734</c:v>
                </c:pt>
                <c:pt idx="1393">
                  <c:v>-1.8605646206524322</c:v>
                </c:pt>
                <c:pt idx="1394">
                  <c:v>-1.9614739251758442</c:v>
                </c:pt>
                <c:pt idx="1395">
                  <c:v>-2.0221789662429921</c:v>
                </c:pt>
                <c:pt idx="1396">
                  <c:v>-2.0803264901102891</c:v>
                </c:pt>
                <c:pt idx="1397">
                  <c:v>-2.0250716659913688</c:v>
                </c:pt>
                <c:pt idx="1398">
                  <c:v>-1.946076675937126</c:v>
                </c:pt>
                <c:pt idx="1399">
                  <c:v>-2.0790730884550652</c:v>
                </c:pt>
                <c:pt idx="1400">
                  <c:v>-2.055762923952329</c:v>
                </c:pt>
                <c:pt idx="1401">
                  <c:v>-2.1454514492695318</c:v>
                </c:pt>
                <c:pt idx="1402">
                  <c:v>-2.1789142854411878</c:v>
                </c:pt>
                <c:pt idx="1403">
                  <c:v>-2.2287415338150907</c:v>
                </c:pt>
                <c:pt idx="1404">
                  <c:v>-2.1592224808586731</c:v>
                </c:pt>
                <c:pt idx="1405">
                  <c:v>-1.9819969647639484</c:v>
                </c:pt>
                <c:pt idx="1406">
                  <c:v>-1.7520070929267351</c:v>
                </c:pt>
                <c:pt idx="1407">
                  <c:v>-1.858247672786042</c:v>
                </c:pt>
                <c:pt idx="1408">
                  <c:v>-1.9626252311738877</c:v>
                </c:pt>
                <c:pt idx="1409">
                  <c:v>-1.8500045799819653</c:v>
                </c:pt>
                <c:pt idx="1410">
                  <c:v>-1.8835108085022014</c:v>
                </c:pt>
                <c:pt idx="1411">
                  <c:v>-1.9913690031514393</c:v>
                </c:pt>
                <c:pt idx="1412">
                  <c:v>-2.0403830645012868</c:v>
                </c:pt>
                <c:pt idx="1413">
                  <c:v>-2.244281735158554</c:v>
                </c:pt>
                <c:pt idx="1414">
                  <c:v>-2.1749725116401994</c:v>
                </c:pt>
                <c:pt idx="1415">
                  <c:v>-2.2538591060404065</c:v>
                </c:pt>
                <c:pt idx="1416">
                  <c:v>-2.2468744053561251</c:v>
                </c:pt>
                <c:pt idx="1417">
                  <c:v>-2.291361526385304</c:v>
                </c:pt>
                <c:pt idx="1418">
                  <c:v>-2.3223563193504142</c:v>
                </c:pt>
                <c:pt idx="1419">
                  <c:v>-2.3841358433043003</c:v>
                </c:pt>
                <c:pt idx="1420">
                  <c:v>-2.3268851809476447</c:v>
                </c:pt>
                <c:pt idx="1421">
                  <c:v>-2.2234773112165915</c:v>
                </c:pt>
                <c:pt idx="1422">
                  <c:v>-2.2050729696875182</c:v>
                </c:pt>
                <c:pt idx="1423">
                  <c:v>-2.2660028765720113</c:v>
                </c:pt>
                <c:pt idx="1424">
                  <c:v>-2.2725309195303764</c:v>
                </c:pt>
                <c:pt idx="1425">
                  <c:v>-2.3714189176063418</c:v>
                </c:pt>
                <c:pt idx="1426">
                  <c:v>-2.4524761758201823</c:v>
                </c:pt>
                <c:pt idx="1427">
                  <c:v>-2.3960677526448797</c:v>
                </c:pt>
                <c:pt idx="1428">
                  <c:v>-2.497102097313102</c:v>
                </c:pt>
                <c:pt idx="1429">
                  <c:v>-2.2953229233689689</c:v>
                </c:pt>
                <c:pt idx="1430">
                  <c:v>-2.3208382075315463</c:v>
                </c:pt>
                <c:pt idx="1431">
                  <c:v>-2.2545721241439778</c:v>
                </c:pt>
                <c:pt idx="1432">
                  <c:v>-2.2335282087193482</c:v>
                </c:pt>
                <c:pt idx="1433">
                  <c:v>-2.1287165318654533</c:v>
                </c:pt>
                <c:pt idx="1434">
                  <c:v>-2.1989800043246519</c:v>
                </c:pt>
                <c:pt idx="1435">
                  <c:v>-2.2334949824194328</c:v>
                </c:pt>
                <c:pt idx="1436">
                  <c:v>-2.3004073469257702</c:v>
                </c:pt>
                <c:pt idx="1437">
                  <c:v>-2.3210067424949656</c:v>
                </c:pt>
                <c:pt idx="1438">
                  <c:v>-2.2728997205835371</c:v>
                </c:pt>
                <c:pt idx="1439">
                  <c:v>-2.2288341911377416</c:v>
                </c:pt>
                <c:pt idx="1440">
                  <c:v>-2.2510754840606872</c:v>
                </c:pt>
                <c:pt idx="1441">
                  <c:v>-2.2635701498211214</c:v>
                </c:pt>
                <c:pt idx="1442">
                  <c:v>-2.2147298735524266</c:v>
                </c:pt>
                <c:pt idx="1443">
                  <c:v>-2.182252237427885</c:v>
                </c:pt>
                <c:pt idx="1444">
                  <c:v>-2.0430577880909211</c:v>
                </c:pt>
                <c:pt idx="1445">
                  <c:v>-2.0725794075234449</c:v>
                </c:pt>
                <c:pt idx="1446">
                  <c:v>-2.2360994649345791</c:v>
                </c:pt>
                <c:pt idx="1447">
                  <c:v>-2.2552834011133833</c:v>
                </c:pt>
                <c:pt idx="1448">
                  <c:v>-2.2116398192283087</c:v>
                </c:pt>
                <c:pt idx="1449">
                  <c:v>-2.2170854586704016</c:v>
                </c:pt>
                <c:pt idx="1450">
                  <c:v>-2.2868448603978124</c:v>
                </c:pt>
                <c:pt idx="1451">
                  <c:v>-2.4279376774485777</c:v>
                </c:pt>
                <c:pt idx="1452">
                  <c:v>-2.4907801928801576</c:v>
                </c:pt>
                <c:pt idx="1453">
                  <c:v>-2.5358092631372373</c:v>
                </c:pt>
                <c:pt idx="1454">
                  <c:v>-2.5528090215773243</c:v>
                </c:pt>
                <c:pt idx="1455">
                  <c:v>-2.3783485982966419</c:v>
                </c:pt>
                <c:pt idx="1456">
                  <c:v>-2.2714559912979895</c:v>
                </c:pt>
                <c:pt idx="1457">
                  <c:v>-2.3405074397235497</c:v>
                </c:pt>
                <c:pt idx="1458">
                  <c:v>-2.224794558485697</c:v>
                </c:pt>
                <c:pt idx="1459">
                  <c:v>-2.2907416553583064</c:v>
                </c:pt>
                <c:pt idx="1460">
                  <c:v>-2.0767658436231078</c:v>
                </c:pt>
                <c:pt idx="1461">
                  <c:v>-2.2105087151374785</c:v>
                </c:pt>
                <c:pt idx="1462">
                  <c:v>-2.1645416792895378</c:v>
                </c:pt>
                <c:pt idx="1463">
                  <c:v>-2.2599116555654599</c:v>
                </c:pt>
                <c:pt idx="1464">
                  <c:v>-2.293068140204118</c:v>
                </c:pt>
                <c:pt idx="1465">
                  <c:v>-2.4291086594789335</c:v>
                </c:pt>
                <c:pt idx="1466">
                  <c:v>-2.3350676280734208</c:v>
                </c:pt>
                <c:pt idx="1467">
                  <c:v>-2.2760440870149981</c:v>
                </c:pt>
                <c:pt idx="1468">
                  <c:v>-2.2176192165411206</c:v>
                </c:pt>
                <c:pt idx="1469">
                  <c:v>-2.2252238498425867</c:v>
                </c:pt>
                <c:pt idx="1470">
                  <c:v>-2.2037636858597454</c:v>
                </c:pt>
                <c:pt idx="1471">
                  <c:v>-2.1923739694599242</c:v>
                </c:pt>
                <c:pt idx="1472">
                  <c:v>-2.2499536278999277</c:v>
                </c:pt>
                <c:pt idx="1473">
                  <c:v>-2.3906655452116876</c:v>
                </c:pt>
                <c:pt idx="1474">
                  <c:v>-2.5392374580883517</c:v>
                </c:pt>
                <c:pt idx="1475">
                  <c:v>-2.5143338735831788</c:v>
                </c:pt>
                <c:pt idx="1476">
                  <c:v>-2.3761559966700232</c:v>
                </c:pt>
                <c:pt idx="1477">
                  <c:v>-2.4392387243781246</c:v>
                </c:pt>
                <c:pt idx="1478">
                  <c:v>-2.2988717433983057</c:v>
                </c:pt>
                <c:pt idx="1479">
                  <c:v>-2.3192076833307471</c:v>
                </c:pt>
                <c:pt idx="1480">
                  <c:v>-2.2714742878557077</c:v>
                </c:pt>
                <c:pt idx="1481">
                  <c:v>-2.1390495493865802</c:v>
                </c:pt>
                <c:pt idx="1482">
                  <c:v>-2.0830715338086363</c:v>
                </c:pt>
                <c:pt idx="1483">
                  <c:v>-1.9421985505656449</c:v>
                </c:pt>
                <c:pt idx="1484">
                  <c:v>-1.8458380477706529</c:v>
                </c:pt>
                <c:pt idx="1485">
                  <c:v>-1.8845042120323892</c:v>
                </c:pt>
                <c:pt idx="1486">
                  <c:v>-2.072254323132745</c:v>
                </c:pt>
                <c:pt idx="1487">
                  <c:v>-2.0546771243476853</c:v>
                </c:pt>
                <c:pt idx="1488">
                  <c:v>-2.1243290570154105</c:v>
                </c:pt>
                <c:pt idx="1489">
                  <c:v>-2.1569583559971104</c:v>
                </c:pt>
                <c:pt idx="1490">
                  <c:v>-2.1601251579335936</c:v>
                </c:pt>
                <c:pt idx="1491">
                  <c:v>-2.0210863564988126</c:v>
                </c:pt>
                <c:pt idx="1492">
                  <c:v>-1.9992803292820178</c:v>
                </c:pt>
                <c:pt idx="1493">
                  <c:v>-1.9491612694049847</c:v>
                </c:pt>
                <c:pt idx="1494">
                  <c:v>-2.0252866053026151</c:v>
                </c:pt>
                <c:pt idx="1495">
                  <c:v>-1.8657001245817111</c:v>
                </c:pt>
                <c:pt idx="1496">
                  <c:v>-1.9086775288087616</c:v>
                </c:pt>
                <c:pt idx="1497">
                  <c:v>-1.7929779285715854</c:v>
                </c:pt>
                <c:pt idx="1498">
                  <c:v>-1.7445609897334475</c:v>
                </c:pt>
                <c:pt idx="1499">
                  <c:v>-1.7442213691878945</c:v>
                </c:pt>
                <c:pt idx="1500">
                  <c:v>-1.8610055377793016</c:v>
                </c:pt>
                <c:pt idx="1501">
                  <c:v>-1.7947298124413513</c:v>
                </c:pt>
                <c:pt idx="1502">
                  <c:v>-1.8166656858424033</c:v>
                </c:pt>
                <c:pt idx="1503">
                  <c:v>-1.7638581010370125</c:v>
                </c:pt>
                <c:pt idx="1504">
                  <c:v>-1.7776947873067566</c:v>
                </c:pt>
                <c:pt idx="1505">
                  <c:v>-1.6327698328529494</c:v>
                </c:pt>
                <c:pt idx="1506">
                  <c:v>-1.6961314704195853</c:v>
                </c:pt>
                <c:pt idx="1507">
                  <c:v>-1.5587825171957537</c:v>
                </c:pt>
                <c:pt idx="1508">
                  <c:v>-1.6438990039308301</c:v>
                </c:pt>
                <c:pt idx="1509">
                  <c:v>-1.7111440624511896</c:v>
                </c:pt>
                <c:pt idx="1510">
                  <c:v>-1.6802841297263491</c:v>
                </c:pt>
                <c:pt idx="1511">
                  <c:v>-1.4760132681440332</c:v>
                </c:pt>
                <c:pt idx="1512">
                  <c:v>-1.4977006266067914</c:v>
                </c:pt>
                <c:pt idx="1513">
                  <c:v>-1.700736249879339</c:v>
                </c:pt>
                <c:pt idx="1514">
                  <c:v>-1.7443866716351701</c:v>
                </c:pt>
                <c:pt idx="1515">
                  <c:v>-1.7863100624696906</c:v>
                </c:pt>
                <c:pt idx="1516">
                  <c:v>-1.6795948020585443</c:v>
                </c:pt>
                <c:pt idx="1517">
                  <c:v>-1.6785628906606411</c:v>
                </c:pt>
                <c:pt idx="1518">
                  <c:v>-1.6383273551132373</c:v>
                </c:pt>
                <c:pt idx="1519">
                  <c:v>-1.6704447013563488</c:v>
                </c:pt>
                <c:pt idx="1520">
                  <c:v>-1.8149965468383544</c:v>
                </c:pt>
                <c:pt idx="1521">
                  <c:v>-1.9638267246220225</c:v>
                </c:pt>
                <c:pt idx="1522">
                  <c:v>-2.1358845606396186</c:v>
                </c:pt>
                <c:pt idx="1523">
                  <c:v>-2.1425008191645207</c:v>
                </c:pt>
                <c:pt idx="1524">
                  <c:v>-2.1017935189800205</c:v>
                </c:pt>
                <c:pt idx="1525">
                  <c:v>-2.144462657880863</c:v>
                </c:pt>
                <c:pt idx="1526">
                  <c:v>-2.1210894416427495</c:v>
                </c:pt>
                <c:pt idx="1527">
                  <c:v>-2.377021777143121</c:v>
                </c:pt>
                <c:pt idx="1528">
                  <c:v>-2.3176309725072306</c:v>
                </c:pt>
                <c:pt idx="1529">
                  <c:v>-2.2467356845641144</c:v>
                </c:pt>
                <c:pt idx="1530">
                  <c:v>-2.2473564098753855</c:v>
                </c:pt>
                <c:pt idx="1531">
                  <c:v>-2.3085396893242587</c:v>
                </c:pt>
                <c:pt idx="1532">
                  <c:v>-2.2570761000984034</c:v>
                </c:pt>
                <c:pt idx="1533">
                  <c:v>-2.3051345138677948</c:v>
                </c:pt>
                <c:pt idx="1534">
                  <c:v>-2.2741175751162297</c:v>
                </c:pt>
                <c:pt idx="1535">
                  <c:v>-2.276146271938448</c:v>
                </c:pt>
                <c:pt idx="1536">
                  <c:v>-2.1724241460755622</c:v>
                </c:pt>
                <c:pt idx="1537">
                  <c:v>-2.2313096254973588</c:v>
                </c:pt>
                <c:pt idx="1538">
                  <c:v>-2.212583162342415</c:v>
                </c:pt>
                <c:pt idx="1539">
                  <c:v>-2.1977881852511163</c:v>
                </c:pt>
                <c:pt idx="1540">
                  <c:v>-2.2028668646630387</c:v>
                </c:pt>
                <c:pt idx="1541">
                  <c:v>-2.2840486151407959</c:v>
                </c:pt>
                <c:pt idx="1542">
                  <c:v>-2.308966585392596</c:v>
                </c:pt>
                <c:pt idx="1543">
                  <c:v>-2.1505833066100597</c:v>
                </c:pt>
                <c:pt idx="1544">
                  <c:v>-2.0923891741692482</c:v>
                </c:pt>
                <c:pt idx="1545">
                  <c:v>-2.1970568119880447</c:v>
                </c:pt>
                <c:pt idx="1546">
                  <c:v>-2.1927675761854215</c:v>
                </c:pt>
                <c:pt idx="1547">
                  <c:v>-2.3161940842230044</c:v>
                </c:pt>
                <c:pt idx="1548">
                  <c:v>-2.2955456842586699</c:v>
                </c:pt>
                <c:pt idx="1549">
                  <c:v>-2.2506153069591424</c:v>
                </c:pt>
                <c:pt idx="1550">
                  <c:v>-2.1264463429073452</c:v>
                </c:pt>
                <c:pt idx="1551">
                  <c:v>-2.073065633541066</c:v>
                </c:pt>
                <c:pt idx="1552">
                  <c:v>-2.000175720504906</c:v>
                </c:pt>
                <c:pt idx="1553">
                  <c:v>-2.0104865916548893</c:v>
                </c:pt>
                <c:pt idx="1554">
                  <c:v>-1.9362721506781173</c:v>
                </c:pt>
                <c:pt idx="1555">
                  <c:v>-1.9227262287298443</c:v>
                </c:pt>
                <c:pt idx="1556">
                  <c:v>-1.9556848997136851</c:v>
                </c:pt>
                <c:pt idx="1557">
                  <c:v>-1.8988115020870269</c:v>
                </c:pt>
                <c:pt idx="1558">
                  <c:v>-1.9204728798836741</c:v>
                </c:pt>
                <c:pt idx="1559">
                  <c:v>-2.0015335095819338</c:v>
                </c:pt>
                <c:pt idx="1560">
                  <c:v>-2.0218722688622082</c:v>
                </c:pt>
                <c:pt idx="1561">
                  <c:v>-2.0817925475166486</c:v>
                </c:pt>
                <c:pt idx="1562">
                  <c:v>-1.9474224958775355</c:v>
                </c:pt>
                <c:pt idx="1563">
                  <c:v>-1.7501620584944635</c:v>
                </c:pt>
                <c:pt idx="1564">
                  <c:v>-1.743930690519925</c:v>
                </c:pt>
                <c:pt idx="1565">
                  <c:v>-1.7040453789612555</c:v>
                </c:pt>
                <c:pt idx="1566">
                  <c:v>-1.708135691720797</c:v>
                </c:pt>
                <c:pt idx="1567">
                  <c:v>-1.7055824852667869</c:v>
                </c:pt>
                <c:pt idx="1568">
                  <c:v>-1.7448585159825813</c:v>
                </c:pt>
                <c:pt idx="1569">
                  <c:v>-1.6238192275803556</c:v>
                </c:pt>
                <c:pt idx="1570">
                  <c:v>-1.5927848444672774</c:v>
                </c:pt>
                <c:pt idx="1571">
                  <c:v>-1.707554778998555</c:v>
                </c:pt>
                <c:pt idx="1572">
                  <c:v>-1.6310510344730229</c:v>
                </c:pt>
                <c:pt idx="1573">
                  <c:v>-1.6057746135634847</c:v>
                </c:pt>
                <c:pt idx="1574">
                  <c:v>-1.6258653610011891</c:v>
                </c:pt>
                <c:pt idx="1575">
                  <c:v>-1.4803690003688894</c:v>
                </c:pt>
                <c:pt idx="1576">
                  <c:v>-1.4126195449161929</c:v>
                </c:pt>
                <c:pt idx="1577">
                  <c:v>-1.2509870269694234</c:v>
                </c:pt>
                <c:pt idx="1578">
                  <c:v>-1.225042482145509</c:v>
                </c:pt>
                <c:pt idx="1579">
                  <c:v>-1.1099174384162049</c:v>
                </c:pt>
                <c:pt idx="1580">
                  <c:v>-1.207120921152093</c:v>
                </c:pt>
                <c:pt idx="1581">
                  <c:v>-1.1411550580224841</c:v>
                </c:pt>
                <c:pt idx="1582">
                  <c:v>-1.073940776646972</c:v>
                </c:pt>
                <c:pt idx="1583">
                  <c:v>-1.0695639570672841</c:v>
                </c:pt>
                <c:pt idx="1584">
                  <c:v>-1.0945553555096921</c:v>
                </c:pt>
                <c:pt idx="1585">
                  <c:v>-1.1154299346619636</c:v>
                </c:pt>
                <c:pt idx="1586">
                  <c:v>-1.0157565995845155</c:v>
                </c:pt>
                <c:pt idx="1587">
                  <c:v>-0.93563393769549108</c:v>
                </c:pt>
                <c:pt idx="1588">
                  <c:v>-0.96408665211244238</c:v>
                </c:pt>
                <c:pt idx="1589">
                  <c:v>-0.63873746757201244</c:v>
                </c:pt>
                <c:pt idx="1590">
                  <c:v>-0.63118280756327649</c:v>
                </c:pt>
                <c:pt idx="1591">
                  <c:v>-0.46020190045758536</c:v>
                </c:pt>
                <c:pt idx="1592">
                  <c:v>-0.48673875184066795</c:v>
                </c:pt>
                <c:pt idx="1593">
                  <c:v>-0.67701376822801007</c:v>
                </c:pt>
                <c:pt idx="1594">
                  <c:v>-0.65971090021234124</c:v>
                </c:pt>
                <c:pt idx="1595">
                  <c:v>-0.74673981041608173</c:v>
                </c:pt>
                <c:pt idx="1596">
                  <c:v>-0.70016903139749831</c:v>
                </c:pt>
                <c:pt idx="1597">
                  <c:v>-0.75692063815024746</c:v>
                </c:pt>
                <c:pt idx="1598">
                  <c:v>-0.87919446305347082</c:v>
                </c:pt>
                <c:pt idx="1599">
                  <c:v>-0.90437316536168899</c:v>
                </c:pt>
                <c:pt idx="1600">
                  <c:v>-0.88627899518228836</c:v>
                </c:pt>
                <c:pt idx="1601">
                  <c:v>-0.78498184788419334</c:v>
                </c:pt>
                <c:pt idx="1602">
                  <c:v>-0.92036968430119959</c:v>
                </c:pt>
                <c:pt idx="1603">
                  <c:v>-0.99602637848700748</c:v>
                </c:pt>
                <c:pt idx="1604">
                  <c:v>-0.90591280662555185</c:v>
                </c:pt>
                <c:pt idx="1605">
                  <c:v>-0.89285693839759295</c:v>
                </c:pt>
                <c:pt idx="1606">
                  <c:v>-0.93029678010195604</c:v>
                </c:pt>
                <c:pt idx="1607">
                  <c:v>-0.93140458259935544</c:v>
                </c:pt>
                <c:pt idx="1608">
                  <c:v>-0.83756279255256183</c:v>
                </c:pt>
                <c:pt idx="1609">
                  <c:v>-0.85516467110880912</c:v>
                </c:pt>
                <c:pt idx="1610">
                  <c:v>-0.78405118191871381</c:v>
                </c:pt>
                <c:pt idx="1611">
                  <c:v>-0.97356378455012227</c:v>
                </c:pt>
                <c:pt idx="1612">
                  <c:v>-1.1426834850318475</c:v>
                </c:pt>
                <c:pt idx="1613">
                  <c:v>-1.0894774999664509</c:v>
                </c:pt>
                <c:pt idx="1614">
                  <c:v>-1.2929815480332154</c:v>
                </c:pt>
                <c:pt idx="1615">
                  <c:v>-1.2542352188496109</c:v>
                </c:pt>
                <c:pt idx="1616">
                  <c:v>-1.4382788108342397</c:v>
                </c:pt>
                <c:pt idx="1617">
                  <c:v>-1.5173442781899071</c:v>
                </c:pt>
                <c:pt idx="1618">
                  <c:v>-1.5087334263022831</c:v>
                </c:pt>
                <c:pt idx="1619">
                  <c:v>-1.6226828129655386</c:v>
                </c:pt>
                <c:pt idx="1620">
                  <c:v>-1.6455825169736542</c:v>
                </c:pt>
                <c:pt idx="1621">
                  <c:v>-1.8446850442523495</c:v>
                </c:pt>
                <c:pt idx="1622">
                  <c:v>-1.9550601803275787</c:v>
                </c:pt>
                <c:pt idx="1623">
                  <c:v>-1.8025285792920935</c:v>
                </c:pt>
                <c:pt idx="1624">
                  <c:v>-1.7701962569817251</c:v>
                </c:pt>
                <c:pt idx="1625">
                  <c:v>-1.6902743531875957</c:v>
                </c:pt>
                <c:pt idx="1626">
                  <c:v>-1.8962198347539827</c:v>
                </c:pt>
                <c:pt idx="1627">
                  <c:v>-1.8237685805269095</c:v>
                </c:pt>
                <c:pt idx="1628">
                  <c:v>-1.7785954437819131</c:v>
                </c:pt>
                <c:pt idx="1629">
                  <c:v>-1.7918200070797377</c:v>
                </c:pt>
                <c:pt idx="1630">
                  <c:v>-1.935449957628161</c:v>
                </c:pt>
                <c:pt idx="1631">
                  <c:v>-2.0561220465396199</c:v>
                </c:pt>
                <c:pt idx="1632">
                  <c:v>-1.9190623767525827</c:v>
                </c:pt>
                <c:pt idx="1633">
                  <c:v>-1.9311883231084885</c:v>
                </c:pt>
                <c:pt idx="1634">
                  <c:v>-1.9752916790423494</c:v>
                </c:pt>
                <c:pt idx="1635">
                  <c:v>-1.9665139132707128</c:v>
                </c:pt>
                <c:pt idx="1636">
                  <c:v>-1.9597982433677603</c:v>
                </c:pt>
                <c:pt idx="1637">
                  <c:v>-2.1350181091211833</c:v>
                </c:pt>
                <c:pt idx="1638">
                  <c:v>-2.1446244438490805</c:v>
                </c:pt>
                <c:pt idx="1639">
                  <c:v>-2.2014082020343801</c:v>
                </c:pt>
                <c:pt idx="1640">
                  <c:v>-2.2921209704933383</c:v>
                </c:pt>
                <c:pt idx="1641">
                  <c:v>-2.1736975953858475</c:v>
                </c:pt>
                <c:pt idx="1642">
                  <c:v>-2.017061405267262</c:v>
                </c:pt>
                <c:pt idx="1643">
                  <c:v>-2.0571635334084415</c:v>
                </c:pt>
                <c:pt idx="1644">
                  <c:v>-1.8957028626551669</c:v>
                </c:pt>
                <c:pt idx="1645">
                  <c:v>-1.9869960100020352</c:v>
                </c:pt>
                <c:pt idx="1646">
                  <c:v>-1.8306483724508689</c:v>
                </c:pt>
                <c:pt idx="1647">
                  <c:v>-1.8200515949421643</c:v>
                </c:pt>
                <c:pt idx="1648">
                  <c:v>-1.8415513917663779</c:v>
                </c:pt>
                <c:pt idx="1649">
                  <c:v>-1.917386320874674</c:v>
                </c:pt>
                <c:pt idx="1650">
                  <c:v>-1.9821260668531355</c:v>
                </c:pt>
                <c:pt idx="1651">
                  <c:v>-1.8635187242208699</c:v>
                </c:pt>
                <c:pt idx="1652">
                  <c:v>-1.8023374559624399</c:v>
                </c:pt>
                <c:pt idx="1653">
                  <c:v>-1.7692767483219707</c:v>
                </c:pt>
                <c:pt idx="1654">
                  <c:v>-1.7172555466273844</c:v>
                </c:pt>
                <c:pt idx="1655">
                  <c:v>-1.7128849327133051</c:v>
                </c:pt>
                <c:pt idx="1656">
                  <c:v>-1.6034358502468051</c:v>
                </c:pt>
                <c:pt idx="1657">
                  <c:v>-1.6446698285088717</c:v>
                </c:pt>
                <c:pt idx="1658">
                  <c:v>-1.4001174464801514</c:v>
                </c:pt>
                <c:pt idx="1659">
                  <c:v>-1.2924750388580515</c:v>
                </c:pt>
                <c:pt idx="1660">
                  <c:v>-1.2425468398957586</c:v>
                </c:pt>
                <c:pt idx="1661">
                  <c:v>-1.4271384193771999</c:v>
                </c:pt>
                <c:pt idx="1662">
                  <c:v>-1.4222797995862431</c:v>
                </c:pt>
                <c:pt idx="1663">
                  <c:v>-1.435689949102068</c:v>
                </c:pt>
                <c:pt idx="1664">
                  <c:v>-1.5115423354064741</c:v>
                </c:pt>
                <c:pt idx="1665">
                  <c:v>-1.5638318799310036</c:v>
                </c:pt>
                <c:pt idx="1666">
                  <c:v>-1.754674673970281</c:v>
                </c:pt>
                <c:pt idx="1667">
                  <c:v>-1.7170500651359455</c:v>
                </c:pt>
                <c:pt idx="1668">
                  <c:v>-1.6750866661803472</c:v>
                </c:pt>
                <c:pt idx="1669">
                  <c:v>-1.6492108774851437</c:v>
                </c:pt>
                <c:pt idx="1670">
                  <c:v>-1.6898918571684796</c:v>
                </c:pt>
                <c:pt idx="1671">
                  <c:v>-1.8313654481051072</c:v>
                </c:pt>
                <c:pt idx="1672">
                  <c:v>-1.8719589100562923</c:v>
                </c:pt>
                <c:pt idx="1673">
                  <c:v>-1.9204246005341501</c:v>
                </c:pt>
                <c:pt idx="1674">
                  <c:v>-2.1009391800992216</c:v>
                </c:pt>
                <c:pt idx="1675">
                  <c:v>-1.9951438745061085</c:v>
                </c:pt>
                <c:pt idx="1676">
                  <c:v>-2.0517202970898092</c:v>
                </c:pt>
                <c:pt idx="1677">
                  <c:v>-2.125432742485756</c:v>
                </c:pt>
                <c:pt idx="1678">
                  <c:v>-2.1336845515443366</c:v>
                </c:pt>
                <c:pt idx="1679">
                  <c:v>-2.0479214399248549</c:v>
                </c:pt>
                <c:pt idx="1680">
                  <c:v>-1.9613499780815715</c:v>
                </c:pt>
                <c:pt idx="1681">
                  <c:v>-1.7554429387284425</c:v>
                </c:pt>
                <c:pt idx="1682">
                  <c:v>-1.6082913980041074</c:v>
                </c:pt>
                <c:pt idx="1683">
                  <c:v>-1.7374656526751164</c:v>
                </c:pt>
                <c:pt idx="1684">
                  <c:v>-1.6684675205151209</c:v>
                </c:pt>
                <c:pt idx="1685">
                  <c:v>-1.7101269514986464</c:v>
                </c:pt>
                <c:pt idx="1686">
                  <c:v>-1.7406762766427573</c:v>
                </c:pt>
                <c:pt idx="1687">
                  <c:v>-1.7388198905264631</c:v>
                </c:pt>
                <c:pt idx="1688">
                  <c:v>-1.7988652455227765</c:v>
                </c:pt>
                <c:pt idx="1689">
                  <c:v>-1.7661388487556411</c:v>
                </c:pt>
                <c:pt idx="1690">
                  <c:v>-1.7676534896773251</c:v>
                </c:pt>
                <c:pt idx="1691">
                  <c:v>-1.7744897916955815</c:v>
                </c:pt>
                <c:pt idx="1692">
                  <c:v>-2.0007279327623442</c:v>
                </c:pt>
                <c:pt idx="1693">
                  <c:v>-2.0735168749809278</c:v>
                </c:pt>
                <c:pt idx="1694">
                  <c:v>-1.9875097505844281</c:v>
                </c:pt>
                <c:pt idx="1695">
                  <c:v>-1.9417669886212301</c:v>
                </c:pt>
                <c:pt idx="1696">
                  <c:v>-1.9851458975188598</c:v>
                </c:pt>
                <c:pt idx="1697">
                  <c:v>-1.9549682533396555</c:v>
                </c:pt>
                <c:pt idx="1698">
                  <c:v>-2.0240434936357805</c:v>
                </c:pt>
                <c:pt idx="1699">
                  <c:v>-2.0032686404582942</c:v>
                </c:pt>
                <c:pt idx="1700">
                  <c:v>-2.2378185066922858</c:v>
                </c:pt>
                <c:pt idx="1701">
                  <c:v>-2.3114657959020026</c:v>
                </c:pt>
                <c:pt idx="1702">
                  <c:v>-2.5316242200109262</c:v>
                </c:pt>
                <c:pt idx="1703">
                  <c:v>-2.4120555232975107</c:v>
                </c:pt>
                <c:pt idx="1704">
                  <c:v>-2.546305853577076</c:v>
                </c:pt>
                <c:pt idx="1705">
                  <c:v>-2.5577129410268471</c:v>
                </c:pt>
                <c:pt idx="1706">
                  <c:v>-2.6654431364935203</c:v>
                </c:pt>
                <c:pt idx="1707">
                  <c:v>-2.7961341506056576</c:v>
                </c:pt>
                <c:pt idx="1708">
                  <c:v>-2.724073642306402</c:v>
                </c:pt>
                <c:pt idx="1709">
                  <c:v>-2.5999616274540505</c:v>
                </c:pt>
                <c:pt idx="1710">
                  <c:v>-2.515521452347544</c:v>
                </c:pt>
                <c:pt idx="1711">
                  <c:v>-2.5260596031503391</c:v>
                </c:pt>
                <c:pt idx="1712">
                  <c:v>-2.577438010565738</c:v>
                </c:pt>
                <c:pt idx="1713">
                  <c:v>-2.3797644847572705</c:v>
                </c:pt>
                <c:pt idx="1714">
                  <c:v>-2.4017410793568725</c:v>
                </c:pt>
                <c:pt idx="1715">
                  <c:v>-2.3728973192616913</c:v>
                </c:pt>
                <c:pt idx="1716">
                  <c:v>-2.3375138777272713</c:v>
                </c:pt>
                <c:pt idx="1717">
                  <c:v>-2.3265868181358011</c:v>
                </c:pt>
                <c:pt idx="1718">
                  <c:v>-2.0621093692358876</c:v>
                </c:pt>
                <c:pt idx="1719">
                  <c:v>-2.2157453803692095</c:v>
                </c:pt>
                <c:pt idx="1720">
                  <c:v>-2.0979550746033584</c:v>
                </c:pt>
                <c:pt idx="1721">
                  <c:v>-2.1897053946480116</c:v>
                </c:pt>
                <c:pt idx="1722">
                  <c:v>-1.7549070029912275</c:v>
                </c:pt>
                <c:pt idx="1723">
                  <c:v>-1.7334037104986013</c:v>
                </c:pt>
                <c:pt idx="1724">
                  <c:v>-1.9344461706428295</c:v>
                </c:pt>
                <c:pt idx="1725">
                  <c:v>-1.8744066005509903</c:v>
                </c:pt>
                <c:pt idx="1726">
                  <c:v>-1.4469553496171526</c:v>
                </c:pt>
                <c:pt idx="1727">
                  <c:v>-1.3768623699783613</c:v>
                </c:pt>
                <c:pt idx="1728">
                  <c:v>-0.99525964024617941</c:v>
                </c:pt>
                <c:pt idx="1729">
                  <c:v>-0.78685923224378296</c:v>
                </c:pt>
                <c:pt idx="1730">
                  <c:v>-0.75121295649640862</c:v>
                </c:pt>
                <c:pt idx="1731">
                  <c:v>-0.85798715974034911</c:v>
                </c:pt>
                <c:pt idx="1732">
                  <c:v>-0.83638727431839743</c:v>
                </c:pt>
                <c:pt idx="1733">
                  <c:v>-0.81208410231247485</c:v>
                </c:pt>
                <c:pt idx="1734">
                  <c:v>-0.71328330056688716</c:v>
                </c:pt>
                <c:pt idx="1735">
                  <c:v>-0.70672731277034051</c:v>
                </c:pt>
                <c:pt idx="1736">
                  <c:v>-0.73982920977194089</c:v>
                </c:pt>
                <c:pt idx="1737">
                  <c:v>-0.79002422220976987</c:v>
                </c:pt>
                <c:pt idx="1738">
                  <c:v>-0.85074431879668422</c:v>
                </c:pt>
                <c:pt idx="1739">
                  <c:v>-0.84937798475961757</c:v>
                </c:pt>
                <c:pt idx="1740">
                  <c:v>-0.77302120642705241</c:v>
                </c:pt>
                <c:pt idx="1741">
                  <c:v>-0.70897194303369593</c:v>
                </c:pt>
                <c:pt idx="1742">
                  <c:v>-0.7268044673532762</c:v>
                </c:pt>
                <c:pt idx="1743">
                  <c:v>-0.73428663008675665</c:v>
                </c:pt>
                <c:pt idx="1744">
                  <c:v>-0.71155112674821919</c:v>
                </c:pt>
                <c:pt idx="1745">
                  <c:v>-1.6003474670554723</c:v>
                </c:pt>
                <c:pt idx="1746">
                  <c:v>-2.192547006500523</c:v>
                </c:pt>
                <c:pt idx="1747">
                  <c:v>-2.4094574903825587</c:v>
                </c:pt>
                <c:pt idx="1748">
                  <c:v>-2.6503496410227929</c:v>
                </c:pt>
                <c:pt idx="1749">
                  <c:v>-2.6529508215606969</c:v>
                </c:pt>
                <c:pt idx="1750">
                  <c:v>-2.4868949640675191</c:v>
                </c:pt>
                <c:pt idx="1751">
                  <c:v>-2.4695374146475735</c:v>
                </c:pt>
                <c:pt idx="1752">
                  <c:v>-2.4913706059042626</c:v>
                </c:pt>
                <c:pt idx="1753">
                  <c:v>-2.6965889752632157</c:v>
                </c:pt>
                <c:pt idx="1754">
                  <c:v>-2.4900747861552319</c:v>
                </c:pt>
                <c:pt idx="1755">
                  <c:v>-2.6537528741813472</c:v>
                </c:pt>
                <c:pt idx="1756">
                  <c:v>-2.5911732154238778</c:v>
                </c:pt>
                <c:pt idx="1757">
                  <c:v>-2.730049109311071</c:v>
                </c:pt>
                <c:pt idx="1758">
                  <c:v>-2.7259235188370519</c:v>
                </c:pt>
                <c:pt idx="1759">
                  <c:v>-2.6665865370657698</c:v>
                </c:pt>
                <c:pt idx="1760">
                  <c:v>-2.625131162790471</c:v>
                </c:pt>
                <c:pt idx="1761">
                  <c:v>-2.5890183027881828</c:v>
                </c:pt>
                <c:pt idx="1762">
                  <c:v>-2.459947796770209</c:v>
                </c:pt>
                <c:pt idx="1763">
                  <c:v>-2.5438545264837491</c:v>
                </c:pt>
                <c:pt idx="1764">
                  <c:v>-2.6454038554840555</c:v>
                </c:pt>
                <c:pt idx="1765">
                  <c:v>-2.6195292957868239</c:v>
                </c:pt>
                <c:pt idx="1766">
                  <c:v>-2.5143644220738417</c:v>
                </c:pt>
                <c:pt idx="1767">
                  <c:v>-2.4066792082065871</c:v>
                </c:pt>
                <c:pt idx="1768">
                  <c:v>-2.1535647328662897</c:v>
                </c:pt>
                <c:pt idx="1769">
                  <c:v>-2.1191374156001754</c:v>
                </c:pt>
                <c:pt idx="1770">
                  <c:v>-1.984008452809388</c:v>
                </c:pt>
                <c:pt idx="1771">
                  <c:v>-1.7908277363060914</c:v>
                </c:pt>
                <c:pt idx="1772">
                  <c:v>-1.6705178358860273</c:v>
                </c:pt>
                <c:pt idx="1773">
                  <c:v>-1.3217259448960781</c:v>
                </c:pt>
                <c:pt idx="1774">
                  <c:v>-1.2660406281983168</c:v>
                </c:pt>
                <c:pt idx="1775">
                  <c:v>-1.1773178526089572</c:v>
                </c:pt>
                <c:pt idx="1776">
                  <c:v>-1.1433024770721523</c:v>
                </c:pt>
                <c:pt idx="1777">
                  <c:v>-1.1646772535479468</c:v>
                </c:pt>
                <c:pt idx="1778">
                  <c:v>-1.2403320915724172</c:v>
                </c:pt>
                <c:pt idx="1779">
                  <c:v>-1.2908740091920028</c:v>
                </c:pt>
                <c:pt idx="1780">
                  <c:v>-1.3983994046914048</c:v>
                </c:pt>
                <c:pt idx="1781">
                  <c:v>-1.3766625343740113</c:v>
                </c:pt>
                <c:pt idx="1782">
                  <c:v>-1.4210853030544075</c:v>
                </c:pt>
                <c:pt idx="1783">
                  <c:v>-1.4183303499613995</c:v>
                </c:pt>
                <c:pt idx="1784">
                  <c:v>-1.4361284881563106</c:v>
                </c:pt>
                <c:pt idx="1785">
                  <c:v>-1.5280180728858999</c:v>
                </c:pt>
                <c:pt idx="1786">
                  <c:v>-1.5054831663260786</c:v>
                </c:pt>
                <c:pt idx="1787">
                  <c:v>-1.6349558437204537</c:v>
                </c:pt>
                <c:pt idx="1788">
                  <c:v>-1.7589839295402929</c:v>
                </c:pt>
                <c:pt idx="1789">
                  <c:v>-1.912920832991273</c:v>
                </c:pt>
                <c:pt idx="1790">
                  <c:v>-2.1595036872752043</c:v>
                </c:pt>
                <c:pt idx="1791">
                  <c:v>-2.345287305123628</c:v>
                </c:pt>
                <c:pt idx="1792">
                  <c:v>-2.3615246697273586</c:v>
                </c:pt>
                <c:pt idx="1793">
                  <c:v>-2.4238734139029114</c:v>
                </c:pt>
                <c:pt idx="1794">
                  <c:v>-2.4167659848743468</c:v>
                </c:pt>
                <c:pt idx="1795">
                  <c:v>-2.4925875698936286</c:v>
                </c:pt>
                <c:pt idx="1796">
                  <c:v>-2.3352788264325683</c:v>
                </c:pt>
                <c:pt idx="1797">
                  <c:v>-2.362632920346615</c:v>
                </c:pt>
                <c:pt idx="1798">
                  <c:v>-2.4049318410991058</c:v>
                </c:pt>
                <c:pt idx="1799">
                  <c:v>-2.4151941561397572</c:v>
                </c:pt>
                <c:pt idx="1800">
                  <c:v>-2.5001247508104769</c:v>
                </c:pt>
                <c:pt idx="1801">
                  <c:v>-2.5984997152847891</c:v>
                </c:pt>
                <c:pt idx="1802">
                  <c:v>-2.7162968050591698</c:v>
                </c:pt>
                <c:pt idx="1803">
                  <c:v>-2.6663253418537223</c:v>
                </c:pt>
                <c:pt idx="1804">
                  <c:v>-2.6119279633683008</c:v>
                </c:pt>
                <c:pt idx="1805">
                  <c:v>-2.6158889520936666</c:v>
                </c:pt>
                <c:pt idx="1806">
                  <c:v>-2.5712548407083862</c:v>
                </c:pt>
                <c:pt idx="1807">
                  <c:v>-2.6073886911824942</c:v>
                </c:pt>
                <c:pt idx="1808">
                  <c:v>-2.3922943547718458</c:v>
                </c:pt>
                <c:pt idx="1809">
                  <c:v>-2.393156755522893</c:v>
                </c:pt>
                <c:pt idx="1810">
                  <c:v>-2.2637821182165747</c:v>
                </c:pt>
                <c:pt idx="1811">
                  <c:v>-2.2843348900444567</c:v>
                </c:pt>
                <c:pt idx="1812">
                  <c:v>-2.2870788921815661</c:v>
                </c:pt>
                <c:pt idx="1813">
                  <c:v>-2.3152363608490476</c:v>
                </c:pt>
                <c:pt idx="1814">
                  <c:v>-2.3578597485907431</c:v>
                </c:pt>
                <c:pt idx="1815">
                  <c:v>-2.2554876529877133</c:v>
                </c:pt>
                <c:pt idx="1816">
                  <c:v>-2.2650688192996729</c:v>
                </c:pt>
                <c:pt idx="1817">
                  <c:v>-2.2462619994137021</c:v>
                </c:pt>
                <c:pt idx="1818">
                  <c:v>-2.3177021635221187</c:v>
                </c:pt>
                <c:pt idx="1819">
                  <c:v>-2.1483455524581063</c:v>
                </c:pt>
                <c:pt idx="1820">
                  <c:v>-1.9782778220324415</c:v>
                </c:pt>
                <c:pt idx="1821">
                  <c:v>-1.9937343075787624</c:v>
                </c:pt>
                <c:pt idx="1822">
                  <c:v>-2.0821067817845496</c:v>
                </c:pt>
                <c:pt idx="1823">
                  <c:v>-1.9654087395178812</c:v>
                </c:pt>
                <c:pt idx="1824">
                  <c:v>-1.8753869263476863</c:v>
                </c:pt>
                <c:pt idx="1825">
                  <c:v>-1.8990339745935909</c:v>
                </c:pt>
                <c:pt idx="1826">
                  <c:v>-1.9067545349627095</c:v>
                </c:pt>
                <c:pt idx="1827">
                  <c:v>-1.9692547008206396</c:v>
                </c:pt>
                <c:pt idx="1828">
                  <c:v>-1.989565930467458</c:v>
                </c:pt>
                <c:pt idx="1829">
                  <c:v>-1.9350377161334067</c:v>
                </c:pt>
                <c:pt idx="1830">
                  <c:v>-1.7778093736097378</c:v>
                </c:pt>
                <c:pt idx="1831">
                  <c:v>-1.6973472616901994</c:v>
                </c:pt>
                <c:pt idx="1832">
                  <c:v>-1.7979694397929928</c:v>
                </c:pt>
                <c:pt idx="1833">
                  <c:v>-1.7058124739757092</c:v>
                </c:pt>
                <c:pt idx="1834">
                  <c:v>-1.7603159530375518</c:v>
                </c:pt>
                <c:pt idx="1835">
                  <c:v>-1.710881625199232</c:v>
                </c:pt>
                <c:pt idx="1836">
                  <c:v>-1.7030322449978126</c:v>
                </c:pt>
                <c:pt idx="1837">
                  <c:v>-1.6976702270722486</c:v>
                </c:pt>
                <c:pt idx="1838">
                  <c:v>-1.802515615847319</c:v>
                </c:pt>
                <c:pt idx="1839">
                  <c:v>-1.6604473249991485</c:v>
                </c:pt>
                <c:pt idx="1840">
                  <c:v>-1.6803631224407529</c:v>
                </c:pt>
                <c:pt idx="1841">
                  <c:v>-1.6321577063124444</c:v>
                </c:pt>
                <c:pt idx="1842">
                  <c:v>-1.6228845198792321</c:v>
                </c:pt>
                <c:pt idx="1843">
                  <c:v>-1.5750804146783257</c:v>
                </c:pt>
                <c:pt idx="1844">
                  <c:v>-1.5626023683204879</c:v>
                </c:pt>
                <c:pt idx="1845">
                  <c:v>-1.7067482500423536</c:v>
                </c:pt>
                <c:pt idx="1846">
                  <c:v>-1.6764329044851647</c:v>
                </c:pt>
                <c:pt idx="1847">
                  <c:v>-1.5118644273672093</c:v>
                </c:pt>
                <c:pt idx="1848">
                  <c:v>-1.4335764470200933</c:v>
                </c:pt>
                <c:pt idx="1849">
                  <c:v>-1.5266183732372034</c:v>
                </c:pt>
                <c:pt idx="1850">
                  <c:v>-1.6063839214245719</c:v>
                </c:pt>
                <c:pt idx="1851">
                  <c:v>-1.4729848143925657</c:v>
                </c:pt>
                <c:pt idx="1852">
                  <c:v>-1.517770736454314</c:v>
                </c:pt>
                <c:pt idx="1853">
                  <c:v>-1.7288688997639983</c:v>
                </c:pt>
                <c:pt idx="1854">
                  <c:v>-1.9111717428223898</c:v>
                </c:pt>
                <c:pt idx="1855">
                  <c:v>-1.8269403800115929</c:v>
                </c:pt>
                <c:pt idx="1856">
                  <c:v>-1.8132595554016246</c:v>
                </c:pt>
                <c:pt idx="1857">
                  <c:v>-1.6197422750422037</c:v>
                </c:pt>
                <c:pt idx="1858">
                  <c:v>-1.6445190034234383</c:v>
                </c:pt>
                <c:pt idx="1859">
                  <c:v>-1.8490557366439857</c:v>
                </c:pt>
                <c:pt idx="1860">
                  <c:v>-2.0285854902979588</c:v>
                </c:pt>
                <c:pt idx="1861">
                  <c:v>-2.204541350211819</c:v>
                </c:pt>
                <c:pt idx="1862">
                  <c:v>-2.2342842856095131</c:v>
                </c:pt>
                <c:pt idx="1863">
                  <c:v>-2.2689525257146097</c:v>
                </c:pt>
                <c:pt idx="1864">
                  <c:v>-2.1867857923794878</c:v>
                </c:pt>
                <c:pt idx="1865">
                  <c:v>-2.2183709449821847</c:v>
                </c:pt>
                <c:pt idx="1866">
                  <c:v>-2.2991961217830079</c:v>
                </c:pt>
                <c:pt idx="1867">
                  <c:v>-2.4374712918058186</c:v>
                </c:pt>
                <c:pt idx="1868">
                  <c:v>-2.3899728179449107</c:v>
                </c:pt>
                <c:pt idx="1869">
                  <c:v>-2.473189395017299</c:v>
                </c:pt>
                <c:pt idx="1870">
                  <c:v>-2.4693777585064676</c:v>
                </c:pt>
                <c:pt idx="1871">
                  <c:v>-2.4274960896041828</c:v>
                </c:pt>
                <c:pt idx="1872">
                  <c:v>-2.4317588535842862</c:v>
                </c:pt>
                <c:pt idx="1873">
                  <c:v>-2.5785512439767087</c:v>
                </c:pt>
                <c:pt idx="1874">
                  <c:v>-2.6866973585767009</c:v>
                </c:pt>
                <c:pt idx="1875">
                  <c:v>-2.6979209864857352</c:v>
                </c:pt>
                <c:pt idx="1876">
                  <c:v>-2.7181671043708215</c:v>
                </c:pt>
                <c:pt idx="1877">
                  <c:v>-2.8354732823305411</c:v>
                </c:pt>
                <c:pt idx="1878">
                  <c:v>-2.8119536874290154</c:v>
                </c:pt>
                <c:pt idx="1879">
                  <c:v>-3.0076984708248085</c:v>
                </c:pt>
                <c:pt idx="1880">
                  <c:v>-3.0297116493398835</c:v>
                </c:pt>
                <c:pt idx="1881">
                  <c:v>-3.0985961607480919</c:v>
                </c:pt>
                <c:pt idx="1882">
                  <c:v>-3.0712024508733671</c:v>
                </c:pt>
                <c:pt idx="1883">
                  <c:v>-2.9721285571577183</c:v>
                </c:pt>
                <c:pt idx="1884">
                  <c:v>-2.948232471567048</c:v>
                </c:pt>
                <c:pt idx="1885">
                  <c:v>-2.9401409653365334</c:v>
                </c:pt>
                <c:pt idx="1886">
                  <c:v>-3.020112012089978</c:v>
                </c:pt>
                <c:pt idx="1887">
                  <c:v>-3.0496311857964549</c:v>
                </c:pt>
                <c:pt idx="1888">
                  <c:v>-3.1169473490211028</c:v>
                </c:pt>
                <c:pt idx="1889">
                  <c:v>-2.9281316278397376</c:v>
                </c:pt>
                <c:pt idx="1890">
                  <c:v>-2.8888685672232728</c:v>
                </c:pt>
                <c:pt idx="1891">
                  <c:v>-3.0026718422662939</c:v>
                </c:pt>
                <c:pt idx="1892">
                  <c:v>-2.7856695539995209</c:v>
                </c:pt>
                <c:pt idx="1893">
                  <c:v>-2.7052690734755416</c:v>
                </c:pt>
                <c:pt idx="1894">
                  <c:v>-2.690565717366137</c:v>
                </c:pt>
                <c:pt idx="1895">
                  <c:v>-2.6568753134529048</c:v>
                </c:pt>
                <c:pt idx="1896">
                  <c:v>-2.2487496694445324</c:v>
                </c:pt>
                <c:pt idx="1897">
                  <c:v>-2.2762929027747023</c:v>
                </c:pt>
                <c:pt idx="1898">
                  <c:v>-2.290740078712282</c:v>
                </c:pt>
                <c:pt idx="1899">
                  <c:v>-2.3654504428663992</c:v>
                </c:pt>
                <c:pt idx="1900">
                  <c:v>-2.3347852942951133</c:v>
                </c:pt>
                <c:pt idx="1901">
                  <c:v>-2.2084158365336255</c:v>
                </c:pt>
                <c:pt idx="1902">
                  <c:v>-2.2700403692376705</c:v>
                </c:pt>
                <c:pt idx="1903">
                  <c:v>-1.8633768558814343</c:v>
                </c:pt>
                <c:pt idx="1904">
                  <c:v>-1.368337749816666</c:v>
                </c:pt>
                <c:pt idx="1905">
                  <c:v>-1.3623150220057383</c:v>
                </c:pt>
                <c:pt idx="1906">
                  <c:v>-0.85687998294026457</c:v>
                </c:pt>
                <c:pt idx="1907">
                  <c:v>-0.85558324198091384</c:v>
                </c:pt>
                <c:pt idx="1908">
                  <c:v>-0.8001149522869152</c:v>
                </c:pt>
                <c:pt idx="1909">
                  <c:v>-0.75672248917553764</c:v>
                </c:pt>
                <c:pt idx="1910">
                  <c:v>-0.76595179145706072</c:v>
                </c:pt>
                <c:pt idx="1911">
                  <c:v>-0.76847407096810738</c:v>
                </c:pt>
                <c:pt idx="1912">
                  <c:v>-0.82335658789409483</c:v>
                </c:pt>
                <c:pt idx="1913">
                  <c:v>-0.56870504688370682</c:v>
                </c:pt>
                <c:pt idx="1914">
                  <c:v>-0.645717455701036</c:v>
                </c:pt>
                <c:pt idx="1915">
                  <c:v>-0.25241330962210407</c:v>
                </c:pt>
                <c:pt idx="1916">
                  <c:v>-0.30108335952839116</c:v>
                </c:pt>
                <c:pt idx="1917">
                  <c:v>-0.48920338754031845</c:v>
                </c:pt>
                <c:pt idx="1918">
                  <c:v>-0.49969094298593986</c:v>
                </c:pt>
                <c:pt idx="1919">
                  <c:v>-0.45667124771129697</c:v>
                </c:pt>
                <c:pt idx="1920">
                  <c:v>-0.45567066550062252</c:v>
                </c:pt>
                <c:pt idx="1921">
                  <c:v>-0.50399773409324122</c:v>
                </c:pt>
                <c:pt idx="1922">
                  <c:v>-0.56420770523945485</c:v>
                </c:pt>
                <c:pt idx="1923">
                  <c:v>-0.5972046171224713</c:v>
                </c:pt>
                <c:pt idx="1924">
                  <c:v>-0.60239664395143955</c:v>
                </c:pt>
                <c:pt idx="1925">
                  <c:v>-0.51921872036226657</c:v>
                </c:pt>
                <c:pt idx="1926">
                  <c:v>-0.53108757997996714</c:v>
                </c:pt>
                <c:pt idx="1927">
                  <c:v>-0.56176387312383691</c:v>
                </c:pt>
                <c:pt idx="1928">
                  <c:v>-0.58171812248273114</c:v>
                </c:pt>
                <c:pt idx="1929">
                  <c:v>-0.54739819627579622</c:v>
                </c:pt>
                <c:pt idx="1930">
                  <c:v>-0.54067044369210604</c:v>
                </c:pt>
                <c:pt idx="1931">
                  <c:v>-0.54024225772106094</c:v>
                </c:pt>
                <c:pt idx="1932">
                  <c:v>-0.4552743787261776</c:v>
                </c:pt>
                <c:pt idx="1933">
                  <c:v>-0.42377092094873292</c:v>
                </c:pt>
                <c:pt idx="1934">
                  <c:v>-0.70479713191148774</c:v>
                </c:pt>
                <c:pt idx="1935">
                  <c:v>-0.6636292660775448</c:v>
                </c:pt>
                <c:pt idx="1936">
                  <c:v>-0.91390830464636219</c:v>
                </c:pt>
                <c:pt idx="1937">
                  <c:v>-0.86249444018660004</c:v>
                </c:pt>
                <c:pt idx="1938">
                  <c:v>-0.72679114675723622</c:v>
                </c:pt>
                <c:pt idx="1939">
                  <c:v>-0.91747274966789616</c:v>
                </c:pt>
                <c:pt idx="1940">
                  <c:v>-0.89200421563242827</c:v>
                </c:pt>
                <c:pt idx="1941">
                  <c:v>-0.9419753692231766</c:v>
                </c:pt>
                <c:pt idx="1942">
                  <c:v>-1.2365840759738767</c:v>
                </c:pt>
                <c:pt idx="1943">
                  <c:v>-1.6552059510714363</c:v>
                </c:pt>
                <c:pt idx="1944">
                  <c:v>-1.4962433674706337</c:v>
                </c:pt>
                <c:pt idx="1945">
                  <c:v>-1.6972933739617457</c:v>
                </c:pt>
                <c:pt idx="1946">
                  <c:v>-1.7050045033990089</c:v>
                </c:pt>
                <c:pt idx="1947">
                  <c:v>-1.7621087208022472</c:v>
                </c:pt>
                <c:pt idx="1948">
                  <c:v>-1.85995130599068</c:v>
                </c:pt>
                <c:pt idx="1949">
                  <c:v>-1.8472376522173506</c:v>
                </c:pt>
                <c:pt idx="1950">
                  <c:v>-1.9667102108786607</c:v>
                </c:pt>
                <c:pt idx="1951">
                  <c:v>-1.9474388768686226</c:v>
                </c:pt>
                <c:pt idx="1952">
                  <c:v>-2.0921992423677156</c:v>
                </c:pt>
                <c:pt idx="1953">
                  <c:v>-2.0776222143322971</c:v>
                </c:pt>
                <c:pt idx="1954">
                  <c:v>-2.1828673082479741</c:v>
                </c:pt>
                <c:pt idx="1955">
                  <c:v>-2.0533075079039462</c:v>
                </c:pt>
                <c:pt idx="1956">
                  <c:v>-1.8939540948805118</c:v>
                </c:pt>
                <c:pt idx="1957">
                  <c:v>-1.8435877075588372</c:v>
                </c:pt>
                <c:pt idx="1958">
                  <c:v>-1.6082219563445537</c:v>
                </c:pt>
                <c:pt idx="1959">
                  <c:v>-1.7342382681137738</c:v>
                </c:pt>
                <c:pt idx="1960">
                  <c:v>-1.5806908275667353</c:v>
                </c:pt>
                <c:pt idx="1961">
                  <c:v>-1.6476206373908253</c:v>
                </c:pt>
                <c:pt idx="1962">
                  <c:v>-1.7006053597640918</c:v>
                </c:pt>
                <c:pt idx="1963">
                  <c:v>-1.7066094513069876</c:v>
                </c:pt>
                <c:pt idx="1964">
                  <c:v>-1.7781877222833296</c:v>
                </c:pt>
                <c:pt idx="1965">
                  <c:v>-2.0145790237480115</c:v>
                </c:pt>
                <c:pt idx="1966">
                  <c:v>-1.9992161026743847</c:v>
                </c:pt>
                <c:pt idx="1967">
                  <c:v>-1.9241885704644934</c:v>
                </c:pt>
                <c:pt idx="1968">
                  <c:v>-1.8850771571314597</c:v>
                </c:pt>
                <c:pt idx="1969">
                  <c:v>-1.8625558350836084</c:v>
                </c:pt>
                <c:pt idx="1970">
                  <c:v>-1.8852257790001876</c:v>
                </c:pt>
                <c:pt idx="1971">
                  <c:v>-1.787428994789888</c:v>
                </c:pt>
                <c:pt idx="1972">
                  <c:v>-1.8190013157797496</c:v>
                </c:pt>
                <c:pt idx="1973">
                  <c:v>-1.8294858515213748</c:v>
                </c:pt>
                <c:pt idx="1974">
                  <c:v>-1.7773294610816239</c:v>
                </c:pt>
                <c:pt idx="1975">
                  <c:v>-1.8125290726967651</c:v>
                </c:pt>
                <c:pt idx="1976">
                  <c:v>-1.7138990978750219</c:v>
                </c:pt>
                <c:pt idx="1977">
                  <c:v>-1.6425297597275796</c:v>
                </c:pt>
                <c:pt idx="1978">
                  <c:v>-1.7537514115666983</c:v>
                </c:pt>
                <c:pt idx="1979">
                  <c:v>-1.8921704616085968</c:v>
                </c:pt>
                <c:pt idx="1980">
                  <c:v>-1.8974842728278412</c:v>
                </c:pt>
                <c:pt idx="1981">
                  <c:v>-1.9850241958156469</c:v>
                </c:pt>
                <c:pt idx="1982">
                  <c:v>-2.0690622054909187</c:v>
                </c:pt>
                <c:pt idx="1983">
                  <c:v>-2.1108538641511543</c:v>
                </c:pt>
                <c:pt idx="1984">
                  <c:v>-1.9576319008993743</c:v>
                </c:pt>
                <c:pt idx="1985">
                  <c:v>-1.865094942713887</c:v>
                </c:pt>
                <c:pt idx="1986">
                  <c:v>-2.1052514513800067</c:v>
                </c:pt>
                <c:pt idx="1987">
                  <c:v>-2.0327476255730268</c:v>
                </c:pt>
                <c:pt idx="1988">
                  <c:v>-2.168283102676138</c:v>
                </c:pt>
                <c:pt idx="1989">
                  <c:v>-2.0651173094700517</c:v>
                </c:pt>
                <c:pt idx="1990">
                  <c:v>-2.0451760177575542</c:v>
                </c:pt>
                <c:pt idx="1991">
                  <c:v>-2.0021027844227883</c:v>
                </c:pt>
                <c:pt idx="1992">
                  <c:v>-1.9107114163535064</c:v>
                </c:pt>
                <c:pt idx="1993">
                  <c:v>-2.0448202498909338</c:v>
                </c:pt>
                <c:pt idx="1994">
                  <c:v>-2.0732674615803117</c:v>
                </c:pt>
                <c:pt idx="1995">
                  <c:v>-1.9083987520928507</c:v>
                </c:pt>
                <c:pt idx="1996">
                  <c:v>-1.9664509155970964</c:v>
                </c:pt>
                <c:pt idx="1997">
                  <c:v>-2.0965676780064895</c:v>
                </c:pt>
                <c:pt idx="1998">
                  <c:v>-2.1846979303967538</c:v>
                </c:pt>
                <c:pt idx="1999">
                  <c:v>-2.3111495791336534</c:v>
                </c:pt>
                <c:pt idx="2000">
                  <c:v>-2.2942341284857379</c:v>
                </c:pt>
                <c:pt idx="2001">
                  <c:v>-2.1680987329345141</c:v>
                </c:pt>
                <c:pt idx="2002">
                  <c:v>-2.1795413900290788</c:v>
                </c:pt>
                <c:pt idx="2003">
                  <c:v>-2.2025327158014965</c:v>
                </c:pt>
                <c:pt idx="2004">
                  <c:v>-2.1419802234171086</c:v>
                </c:pt>
                <c:pt idx="2005">
                  <c:v>-2.1507743499543541</c:v>
                </c:pt>
                <c:pt idx="2006">
                  <c:v>-2.1381309049528121</c:v>
                </c:pt>
                <c:pt idx="2007">
                  <c:v>-2.2473994228471845</c:v>
                </c:pt>
                <c:pt idx="2008">
                  <c:v>-2.1817428372927794</c:v>
                </c:pt>
                <c:pt idx="2009">
                  <c:v>-2.1390695126585419</c:v>
                </c:pt>
                <c:pt idx="2010">
                  <c:v>-2.1076883114643334</c:v>
                </c:pt>
                <c:pt idx="2011">
                  <c:v>-2.1496751976964683</c:v>
                </c:pt>
                <c:pt idx="2012">
                  <c:v>-2.1817636723563845</c:v>
                </c:pt>
                <c:pt idx="2013">
                  <c:v>-2.1602297339201857</c:v>
                </c:pt>
                <c:pt idx="2014">
                  <c:v>-2.1862321607635136</c:v>
                </c:pt>
                <c:pt idx="2015">
                  <c:v>-2.2779841279298405</c:v>
                </c:pt>
                <c:pt idx="2016">
                  <c:v>-2.0891881442329279</c:v>
                </c:pt>
                <c:pt idx="2017">
                  <c:v>-2.2616859536652045</c:v>
                </c:pt>
                <c:pt idx="2018">
                  <c:v>-2.219261273803137</c:v>
                </c:pt>
                <c:pt idx="2019">
                  <c:v>-2.3206727341423106</c:v>
                </c:pt>
                <c:pt idx="2020">
                  <c:v>-2.3619091055691546</c:v>
                </c:pt>
                <c:pt idx="2021">
                  <c:v>-2.3691589098105683</c:v>
                </c:pt>
                <c:pt idx="2022">
                  <c:v>-2.3694773229525845</c:v>
                </c:pt>
                <c:pt idx="2023">
                  <c:v>-2.2508728693273121</c:v>
                </c:pt>
                <c:pt idx="2024">
                  <c:v>-2.0808759449078544</c:v>
                </c:pt>
                <c:pt idx="2025">
                  <c:v>-2.1254087114405715</c:v>
                </c:pt>
                <c:pt idx="2026">
                  <c:v>-2.2241872768204014</c:v>
                </c:pt>
                <c:pt idx="2027">
                  <c:v>-2.019841626083275</c:v>
                </c:pt>
                <c:pt idx="2028">
                  <c:v>-2.2316165777710704</c:v>
                </c:pt>
                <c:pt idx="2029">
                  <c:v>-2.1936308111544864</c:v>
                </c:pt>
                <c:pt idx="2030">
                  <c:v>-2.2139992319678985</c:v>
                </c:pt>
                <c:pt idx="2031">
                  <c:v>-2.2292600643104614</c:v>
                </c:pt>
                <c:pt idx="2032">
                  <c:v>-2.2005914225988215</c:v>
                </c:pt>
                <c:pt idx="2033">
                  <c:v>-2.1501082528550541</c:v>
                </c:pt>
                <c:pt idx="2034">
                  <c:v>-2.2550081657752186</c:v>
                </c:pt>
                <c:pt idx="2035">
                  <c:v>-2.1805801052676297</c:v>
                </c:pt>
                <c:pt idx="2036">
                  <c:v>-2.2264357565431578</c:v>
                </c:pt>
                <c:pt idx="2037">
                  <c:v>-2.2428892845579118</c:v>
                </c:pt>
                <c:pt idx="2038">
                  <c:v>-2.2237548507834868</c:v>
                </c:pt>
                <c:pt idx="2039">
                  <c:v>-2.143192949270524</c:v>
                </c:pt>
                <c:pt idx="2040">
                  <c:v>-2.1926458961527113</c:v>
                </c:pt>
                <c:pt idx="2041">
                  <c:v>-2.1591822229130417</c:v>
                </c:pt>
                <c:pt idx="2042">
                  <c:v>-2.0748488346826854</c:v>
                </c:pt>
                <c:pt idx="2043">
                  <c:v>-2.1224744972469258</c:v>
                </c:pt>
                <c:pt idx="2044">
                  <c:v>-2.1644145484972772</c:v>
                </c:pt>
                <c:pt idx="2045">
                  <c:v>-2.1383922435358325</c:v>
                </c:pt>
                <c:pt idx="2046">
                  <c:v>-2.2345933056286342</c:v>
                </c:pt>
                <c:pt idx="2047">
                  <c:v>-2.1923626721330685</c:v>
                </c:pt>
                <c:pt idx="2048">
                  <c:v>-2.2046368887539383</c:v>
                </c:pt>
                <c:pt idx="2049">
                  <c:v>-2.1649807192281272</c:v>
                </c:pt>
                <c:pt idx="2050">
                  <c:v>-2.1239739775255893</c:v>
                </c:pt>
                <c:pt idx="2051">
                  <c:v>-2.1513208041075482</c:v>
                </c:pt>
                <c:pt idx="2052">
                  <c:v>-2.1175674606421278</c:v>
                </c:pt>
                <c:pt idx="2053">
                  <c:v>-1.9920970282216319</c:v>
                </c:pt>
                <c:pt idx="2054">
                  <c:v>-2.0061551413916754</c:v>
                </c:pt>
                <c:pt idx="2055">
                  <c:v>-2.0126819399557143</c:v>
                </c:pt>
                <c:pt idx="2056">
                  <c:v>-1.900519478255291</c:v>
                </c:pt>
                <c:pt idx="2057">
                  <c:v>-1.9072073015273143</c:v>
                </c:pt>
                <c:pt idx="2058">
                  <c:v>-1.6366170835489484</c:v>
                </c:pt>
                <c:pt idx="2059">
                  <c:v>-1.7243645834267531</c:v>
                </c:pt>
                <c:pt idx="2060">
                  <c:v>-1.7340913192622835</c:v>
                </c:pt>
                <c:pt idx="2061">
                  <c:v>-1.7223515073724776</c:v>
                </c:pt>
                <c:pt idx="2062">
                  <c:v>-1.7070954710510358</c:v>
                </c:pt>
                <c:pt idx="2063">
                  <c:v>-1.6679957263467666</c:v>
                </c:pt>
                <c:pt idx="2064">
                  <c:v>-1.6824167853960046</c:v>
                </c:pt>
                <c:pt idx="2065">
                  <c:v>-1.681752472334662</c:v>
                </c:pt>
                <c:pt idx="2066">
                  <c:v>-1.6667865204429941</c:v>
                </c:pt>
                <c:pt idx="2067">
                  <c:v>-1.6299453679346438</c:v>
                </c:pt>
                <c:pt idx="2068">
                  <c:v>-1.7550548703253637</c:v>
                </c:pt>
                <c:pt idx="2069">
                  <c:v>-1.7127076287841203</c:v>
                </c:pt>
                <c:pt idx="2070">
                  <c:v>-1.5573924020950374</c:v>
                </c:pt>
                <c:pt idx="2071">
                  <c:v>-1.5474776705413693</c:v>
                </c:pt>
                <c:pt idx="2072">
                  <c:v>-1.478533779549116</c:v>
                </c:pt>
                <c:pt idx="2073">
                  <c:v>-1.4362266622042461</c:v>
                </c:pt>
                <c:pt idx="2074">
                  <c:v>-1.4515677251059813</c:v>
                </c:pt>
                <c:pt idx="2075">
                  <c:v>-1.6138422694011925</c:v>
                </c:pt>
                <c:pt idx="2076">
                  <c:v>-1.5292696626414681</c:v>
                </c:pt>
                <c:pt idx="2077">
                  <c:v>-1.3975454578488367</c:v>
                </c:pt>
                <c:pt idx="2078">
                  <c:v>-1.3709713313018885</c:v>
                </c:pt>
                <c:pt idx="2079">
                  <c:v>-1.5406916003922864</c:v>
                </c:pt>
                <c:pt idx="2080">
                  <c:v>-1.5732574740671619</c:v>
                </c:pt>
                <c:pt idx="2081">
                  <c:v>-1.6910312250438269</c:v>
                </c:pt>
                <c:pt idx="2082">
                  <c:v>-1.7073868481108634</c:v>
                </c:pt>
                <c:pt idx="2083">
                  <c:v>-1.7842693902983608</c:v>
                </c:pt>
                <c:pt idx="2084">
                  <c:v>-1.6670842202821432</c:v>
                </c:pt>
                <c:pt idx="2085">
                  <c:v>-1.5533170019560019</c:v>
                </c:pt>
                <c:pt idx="2086">
                  <c:v>-1.4021583342760517</c:v>
                </c:pt>
                <c:pt idx="2087">
                  <c:v>-1.3958948332251615</c:v>
                </c:pt>
                <c:pt idx="2088">
                  <c:v>-1.3559229428241832</c:v>
                </c:pt>
                <c:pt idx="2089">
                  <c:v>-1.5902264457152859</c:v>
                </c:pt>
                <c:pt idx="2090">
                  <c:v>-1.5885106767810178</c:v>
                </c:pt>
                <c:pt idx="2091">
                  <c:v>-1.6848908805029161</c:v>
                </c:pt>
                <c:pt idx="2092">
                  <c:v>-1.7196806697601805</c:v>
                </c:pt>
                <c:pt idx="2093">
                  <c:v>-1.7162463504566481</c:v>
                </c:pt>
                <c:pt idx="2094">
                  <c:v>-1.7671483409290643</c:v>
                </c:pt>
                <c:pt idx="2095">
                  <c:v>-1.8846662693942933</c:v>
                </c:pt>
                <c:pt idx="2096">
                  <c:v>-1.893343162489356</c:v>
                </c:pt>
                <c:pt idx="2097">
                  <c:v>-1.8694782250359938</c:v>
                </c:pt>
                <c:pt idx="2098">
                  <c:v>-1.7779854550803971</c:v>
                </c:pt>
                <c:pt idx="2099">
                  <c:v>-1.7092686617585033</c:v>
                </c:pt>
                <c:pt idx="2100">
                  <c:v>-1.9199486614221963</c:v>
                </c:pt>
                <c:pt idx="2101">
                  <c:v>-1.9874749902043103</c:v>
                </c:pt>
                <c:pt idx="2102">
                  <c:v>-2.0610358386450778</c:v>
                </c:pt>
                <c:pt idx="2103">
                  <c:v>-2.1443886888664117</c:v>
                </c:pt>
                <c:pt idx="2104">
                  <c:v>-2.2314759702411902</c:v>
                </c:pt>
                <c:pt idx="2105">
                  <c:v>-2.1644090538282454</c:v>
                </c:pt>
                <c:pt idx="2106">
                  <c:v>-2.164983354961</c:v>
                </c:pt>
                <c:pt idx="2107">
                  <c:v>-2.1463210098640668</c:v>
                </c:pt>
                <c:pt idx="2108">
                  <c:v>-2.264489615108852</c:v>
                </c:pt>
                <c:pt idx="2109">
                  <c:v>-2.1816063106273833</c:v>
                </c:pt>
                <c:pt idx="2110">
                  <c:v>-2.2604391582048122</c:v>
                </c:pt>
                <c:pt idx="2111">
                  <c:v>-2.1688627240453529</c:v>
                </c:pt>
                <c:pt idx="2112">
                  <c:v>-2.1208663557023359</c:v>
                </c:pt>
                <c:pt idx="2113">
                  <c:v>-2.0732174471329903</c:v>
                </c:pt>
                <c:pt idx="2114">
                  <c:v>-2.0647445165289393</c:v>
                </c:pt>
                <c:pt idx="2115">
                  <c:v>-2.0272717193374898</c:v>
                </c:pt>
                <c:pt idx="2116">
                  <c:v>-1.9639871882259672</c:v>
                </c:pt>
                <c:pt idx="2117">
                  <c:v>-1.8512196099891249</c:v>
                </c:pt>
                <c:pt idx="2118">
                  <c:v>-1.6768799296253269</c:v>
                </c:pt>
                <c:pt idx="2119">
                  <c:v>-1.8440351788664167</c:v>
                </c:pt>
                <c:pt idx="2120">
                  <c:v>-1.9826364514230672</c:v>
                </c:pt>
                <c:pt idx="2121">
                  <c:v>-2.0977639723973134</c:v>
                </c:pt>
                <c:pt idx="2122">
                  <c:v>-2.1445971216132018</c:v>
                </c:pt>
                <c:pt idx="2123">
                  <c:v>-2.1910126670019854</c:v>
                </c:pt>
                <c:pt idx="2124">
                  <c:v>-2.0068200448046292</c:v>
                </c:pt>
                <c:pt idx="2125">
                  <c:v>-2.0055867879108313</c:v>
                </c:pt>
                <c:pt idx="2126">
                  <c:v>-1.9818467470797008</c:v>
                </c:pt>
                <c:pt idx="2127">
                  <c:v>-1.9611156734517299</c:v>
                </c:pt>
                <c:pt idx="2128">
                  <c:v>-2.013627614386039</c:v>
                </c:pt>
                <c:pt idx="2129">
                  <c:v>-2.1608084205349383</c:v>
                </c:pt>
                <c:pt idx="2130">
                  <c:v>-2.0842508133832562</c:v>
                </c:pt>
                <c:pt idx="2131">
                  <c:v>-2.0128189754858821</c:v>
                </c:pt>
                <c:pt idx="2132">
                  <c:v>-2.0256379009205605</c:v>
                </c:pt>
                <c:pt idx="2133">
                  <c:v>-1.8437782897655226</c:v>
                </c:pt>
                <c:pt idx="2134">
                  <c:v>-1.7007226673796314</c:v>
                </c:pt>
                <c:pt idx="2135">
                  <c:v>-1.9136879653961305</c:v>
                </c:pt>
                <c:pt idx="2136">
                  <c:v>-2.0088698549516981</c:v>
                </c:pt>
                <c:pt idx="2137">
                  <c:v>-2.0034357965126603</c:v>
                </c:pt>
                <c:pt idx="2138">
                  <c:v>-1.9874892237850283</c:v>
                </c:pt>
                <c:pt idx="2139">
                  <c:v>-1.9775630971572178</c:v>
                </c:pt>
                <c:pt idx="2140">
                  <c:v>-1.9279876148486492</c:v>
                </c:pt>
                <c:pt idx="2141">
                  <c:v>-1.8715302034053516</c:v>
                </c:pt>
                <c:pt idx="2142">
                  <c:v>-1.9745927674755808</c:v>
                </c:pt>
                <c:pt idx="2143">
                  <c:v>-1.7681285338625452</c:v>
                </c:pt>
                <c:pt idx="2144">
                  <c:v>-1.7476132867172622</c:v>
                </c:pt>
                <c:pt idx="2145">
                  <c:v>-1.544703204795884</c:v>
                </c:pt>
                <c:pt idx="2146">
                  <c:v>-1.7068555805523555</c:v>
                </c:pt>
                <c:pt idx="2147">
                  <c:v>-1.6004294912466221</c:v>
                </c:pt>
                <c:pt idx="2148">
                  <c:v>-1.5998470820781874</c:v>
                </c:pt>
                <c:pt idx="2149">
                  <c:v>-1.608972611554742</c:v>
                </c:pt>
                <c:pt idx="2150">
                  <c:v>-1.4699834163127106</c:v>
                </c:pt>
                <c:pt idx="2151">
                  <c:v>-1.5849360941379169</c:v>
                </c:pt>
                <c:pt idx="2152">
                  <c:v>-1.691347217862698</c:v>
                </c:pt>
                <c:pt idx="2153">
                  <c:v>-1.6626651019790049</c:v>
                </c:pt>
                <c:pt idx="2154">
                  <c:v>-1.9007416243640685</c:v>
                </c:pt>
                <c:pt idx="2155">
                  <c:v>-1.8688094380454081</c:v>
                </c:pt>
                <c:pt idx="2156">
                  <c:v>-1.8459431461242626</c:v>
                </c:pt>
                <c:pt idx="2157">
                  <c:v>-1.9350369793631468</c:v>
                </c:pt>
                <c:pt idx="2158">
                  <c:v>-1.9694467166514156</c:v>
                </c:pt>
                <c:pt idx="2159">
                  <c:v>-2.0647776616836073</c:v>
                </c:pt>
                <c:pt idx="2160">
                  <c:v>-2.1748117488782643</c:v>
                </c:pt>
                <c:pt idx="2161">
                  <c:v>-2.2108562379368446</c:v>
                </c:pt>
                <c:pt idx="2162">
                  <c:v>-2.1598352079000604</c:v>
                </c:pt>
                <c:pt idx="2163">
                  <c:v>-2.183953962164737</c:v>
                </c:pt>
                <c:pt idx="2164">
                  <c:v>-2.2234447614480248</c:v>
                </c:pt>
                <c:pt idx="2165">
                  <c:v>-2.0205229247794483</c:v>
                </c:pt>
                <c:pt idx="2166">
                  <c:v>-1.8813073435489795</c:v>
                </c:pt>
                <c:pt idx="2167">
                  <c:v>-1.9872922938888693</c:v>
                </c:pt>
                <c:pt idx="2168">
                  <c:v>-1.9220325510015042</c:v>
                </c:pt>
                <c:pt idx="2169">
                  <c:v>-2.0080152248755465</c:v>
                </c:pt>
                <c:pt idx="2170">
                  <c:v>-2.1752409631442906</c:v>
                </c:pt>
                <c:pt idx="2171">
                  <c:v>-2.3340089444216798</c:v>
                </c:pt>
                <c:pt idx="2172">
                  <c:v>-2.2968431735872783</c:v>
                </c:pt>
                <c:pt idx="2173">
                  <c:v>-2.3793221022227367</c:v>
                </c:pt>
                <c:pt idx="2174">
                  <c:v>-2.399254346329871</c:v>
                </c:pt>
                <c:pt idx="2175">
                  <c:v>-2.4512162233607793</c:v>
                </c:pt>
                <c:pt idx="2176">
                  <c:v>-2.4119027888506377</c:v>
                </c:pt>
                <c:pt idx="2177">
                  <c:v>-2.5149368760005211</c:v>
                </c:pt>
                <c:pt idx="2178">
                  <c:v>-2.5418780763931026</c:v>
                </c:pt>
                <c:pt idx="2179">
                  <c:v>-2.4006144892152261</c:v>
                </c:pt>
                <c:pt idx="2180">
                  <c:v>-2.4626677277398774</c:v>
                </c:pt>
                <c:pt idx="2181">
                  <c:v>-2.4851430886735875</c:v>
                </c:pt>
                <c:pt idx="2182">
                  <c:v>-2.3484760051641103</c:v>
                </c:pt>
                <c:pt idx="2183">
                  <c:v>-2.3721547871217719</c:v>
                </c:pt>
                <c:pt idx="2184">
                  <c:v>-2.2526464084059596</c:v>
                </c:pt>
                <c:pt idx="2185">
                  <c:v>-2.270097913595436</c:v>
                </c:pt>
                <c:pt idx="2186">
                  <c:v>-2.2138399825705775</c:v>
                </c:pt>
                <c:pt idx="2187">
                  <c:v>-2.2873223762411397</c:v>
                </c:pt>
                <c:pt idx="2188">
                  <c:v>-2.199284951179953</c:v>
                </c:pt>
                <c:pt idx="2189">
                  <c:v>-2.2549761288339831</c:v>
                </c:pt>
                <c:pt idx="2190">
                  <c:v>-2.0913724321452665</c:v>
                </c:pt>
                <c:pt idx="2191">
                  <c:v>-2.1386343756757831</c:v>
                </c:pt>
                <c:pt idx="2192">
                  <c:v>-2.1908086034224028</c:v>
                </c:pt>
                <c:pt idx="2193">
                  <c:v>-2.1451710570161837</c:v>
                </c:pt>
                <c:pt idx="2194">
                  <c:v>-2.0874158602471988</c:v>
                </c:pt>
                <c:pt idx="2195">
                  <c:v>-2.0491806231321701</c:v>
                </c:pt>
                <c:pt idx="2196">
                  <c:v>-2.0972288090505491</c:v>
                </c:pt>
                <c:pt idx="2197">
                  <c:v>-2.0393239753279562</c:v>
                </c:pt>
                <c:pt idx="2198">
                  <c:v>-2.2043258784118245</c:v>
                </c:pt>
                <c:pt idx="2199">
                  <c:v>-2.1538155516436412</c:v>
                </c:pt>
                <c:pt idx="2200">
                  <c:v>-2.0978041192138499</c:v>
                </c:pt>
                <c:pt idx="2201">
                  <c:v>-1.9822299107316996</c:v>
                </c:pt>
                <c:pt idx="2202">
                  <c:v>-2.0698170485562382</c:v>
                </c:pt>
                <c:pt idx="2203">
                  <c:v>-1.9827642141709245</c:v>
                </c:pt>
                <c:pt idx="2204">
                  <c:v>-1.9781533881917528</c:v>
                </c:pt>
                <c:pt idx="2205">
                  <c:v>-1.814751526605713</c:v>
                </c:pt>
                <c:pt idx="2206">
                  <c:v>-1.8872768355391902</c:v>
                </c:pt>
                <c:pt idx="2207">
                  <c:v>-1.8828036288530563</c:v>
                </c:pt>
                <c:pt idx="2208">
                  <c:v>-1.9572325245409679</c:v>
                </c:pt>
                <c:pt idx="2209">
                  <c:v>-1.9550549500489338</c:v>
                </c:pt>
                <c:pt idx="2210">
                  <c:v>-1.9459544641532216</c:v>
                </c:pt>
                <c:pt idx="2211">
                  <c:v>-1.8000154487102225</c:v>
                </c:pt>
                <c:pt idx="2212">
                  <c:v>-1.6784997676349103</c:v>
                </c:pt>
                <c:pt idx="2213">
                  <c:v>-1.8348691683683698</c:v>
                </c:pt>
                <c:pt idx="2214">
                  <c:v>-1.80959581697581</c:v>
                </c:pt>
                <c:pt idx="2215">
                  <c:v>-1.8147879536529428</c:v>
                </c:pt>
                <c:pt idx="2216">
                  <c:v>-1.9775089808272983</c:v>
                </c:pt>
                <c:pt idx="2217">
                  <c:v>-1.9215260285728619</c:v>
                </c:pt>
                <c:pt idx="2218">
                  <c:v>-1.9735574453535545</c:v>
                </c:pt>
                <c:pt idx="2219">
                  <c:v>-1.9073418538024449</c:v>
                </c:pt>
                <c:pt idx="2220">
                  <c:v>-2.0656402058321706</c:v>
                </c:pt>
                <c:pt idx="2221">
                  <c:v>-1.9281502414614464</c:v>
                </c:pt>
                <c:pt idx="2222">
                  <c:v>-1.94539957273139</c:v>
                </c:pt>
                <c:pt idx="2223">
                  <c:v>-1.9431716556022827</c:v>
                </c:pt>
                <c:pt idx="2224">
                  <c:v>-1.8480236661956186</c:v>
                </c:pt>
                <c:pt idx="2225">
                  <c:v>-2.4800262877691379</c:v>
                </c:pt>
                <c:pt idx="2226">
                  <c:v>-2.754327039314318</c:v>
                </c:pt>
                <c:pt idx="2227">
                  <c:v>-2.6630333909189128</c:v>
                </c:pt>
                <c:pt idx="2228">
                  <c:v>-2.873345598984828</c:v>
                </c:pt>
                <c:pt idx="2229">
                  <c:v>-3.2165839162400216</c:v>
                </c:pt>
                <c:pt idx="2230">
                  <c:v>-3.1956206540344483</c:v>
                </c:pt>
                <c:pt idx="2231">
                  <c:v>-3.1076284099048719</c:v>
                </c:pt>
                <c:pt idx="2232">
                  <c:v>-3.2588813169197763</c:v>
                </c:pt>
                <c:pt idx="2233">
                  <c:v>-3.3187520871281579</c:v>
                </c:pt>
                <c:pt idx="2234">
                  <c:v>-2.9981901456681928</c:v>
                </c:pt>
                <c:pt idx="2235">
                  <c:v>-2.6660178863761983</c:v>
                </c:pt>
                <c:pt idx="2236">
                  <c:v>-2.378168530285</c:v>
                </c:pt>
                <c:pt idx="2237">
                  <c:v>-2.5125716341029265</c:v>
                </c:pt>
                <c:pt idx="2238">
                  <c:v>-2.4919570721304032</c:v>
                </c:pt>
                <c:pt idx="2239">
                  <c:v>-2.5342547297565927</c:v>
                </c:pt>
                <c:pt idx="2240">
                  <c:v>-2.3004690450825072</c:v>
                </c:pt>
                <c:pt idx="2241">
                  <c:v>-1.8920110134335504</c:v>
                </c:pt>
                <c:pt idx="2242">
                  <c:v>-1.9122065378798023</c:v>
                </c:pt>
                <c:pt idx="2243">
                  <c:v>-1.3552954664513006</c:v>
                </c:pt>
                <c:pt idx="2244">
                  <c:v>-0.9443412342833778</c:v>
                </c:pt>
                <c:pt idx="2245">
                  <c:v>-0.39077628419939325</c:v>
                </c:pt>
                <c:pt idx="2246">
                  <c:v>0.29799629032899977</c:v>
                </c:pt>
                <c:pt idx="2247">
                  <c:v>0.70038348618972213</c:v>
                </c:pt>
                <c:pt idx="2248">
                  <c:v>0.82681816512069017</c:v>
                </c:pt>
                <c:pt idx="2249">
                  <c:v>0.95385460875221761</c:v>
                </c:pt>
                <c:pt idx="2250">
                  <c:v>1.2213999060238163</c:v>
                </c:pt>
                <c:pt idx="2251">
                  <c:v>1.4926886415982605</c:v>
                </c:pt>
                <c:pt idx="2252">
                  <c:v>1.7078133107455065</c:v>
                </c:pt>
                <c:pt idx="2253">
                  <c:v>2.2770667191436966</c:v>
                </c:pt>
                <c:pt idx="2254">
                  <c:v>2.1800622852226486</c:v>
                </c:pt>
                <c:pt idx="2255">
                  <c:v>2.1337720400991986</c:v>
                </c:pt>
                <c:pt idx="2256">
                  <c:v>2.2995250576254316</c:v>
                </c:pt>
                <c:pt idx="2257">
                  <c:v>2.3656161405637444</c:v>
                </c:pt>
                <c:pt idx="2258">
                  <c:v>2.4493978679278152</c:v>
                </c:pt>
                <c:pt idx="2259">
                  <c:v>2.5129218966734195</c:v>
                </c:pt>
                <c:pt idx="2260">
                  <c:v>2.483452415482907</c:v>
                </c:pt>
                <c:pt idx="2261">
                  <c:v>2.2991212973613324</c:v>
                </c:pt>
                <c:pt idx="2262">
                  <c:v>2.3188694862042492</c:v>
                </c:pt>
                <c:pt idx="2263">
                  <c:v>2.2435480449565235</c:v>
                </c:pt>
                <c:pt idx="2264">
                  <c:v>2.1798097918574588</c:v>
                </c:pt>
                <c:pt idx="2265">
                  <c:v>2.1453022289794172</c:v>
                </c:pt>
                <c:pt idx="2266">
                  <c:v>1.9181986949732277</c:v>
                </c:pt>
                <c:pt idx="2267">
                  <c:v>1.7969343584563511</c:v>
                </c:pt>
                <c:pt idx="2268">
                  <c:v>1.5538147422633708</c:v>
                </c:pt>
                <c:pt idx="2269">
                  <c:v>1.0931973303853231</c:v>
                </c:pt>
                <c:pt idx="2270">
                  <c:v>0.94971490019823823</c:v>
                </c:pt>
                <c:pt idx="2271">
                  <c:v>0.84393461067352271</c:v>
                </c:pt>
                <c:pt idx="2272">
                  <c:v>0.65255530875010892</c:v>
                </c:pt>
                <c:pt idx="2273">
                  <c:v>0.64253586678168373</c:v>
                </c:pt>
                <c:pt idx="2274">
                  <c:v>0.26928264070106811</c:v>
                </c:pt>
                <c:pt idx="2275">
                  <c:v>0.2355886897741003</c:v>
                </c:pt>
                <c:pt idx="2276">
                  <c:v>-3.1604616250390944</c:v>
                </c:pt>
                <c:pt idx="2277">
                  <c:v>-4.573232908890982</c:v>
                </c:pt>
                <c:pt idx="2278">
                  <c:v>-5.5481506551412858</c:v>
                </c:pt>
                <c:pt idx="2279">
                  <c:v>-6.3947136964263942</c:v>
                </c:pt>
                <c:pt idx="2280">
                  <c:v>-7.0748094341588699</c:v>
                </c:pt>
                <c:pt idx="2281">
                  <c:v>-7.7898740570746741</c:v>
                </c:pt>
                <c:pt idx="2282">
                  <c:v>-8.3250801516620641</c:v>
                </c:pt>
                <c:pt idx="2283">
                  <c:v>-8.7997446680208711</c:v>
                </c:pt>
                <c:pt idx="2284">
                  <c:v>-9.2729803925296892</c:v>
                </c:pt>
                <c:pt idx="2285">
                  <c:v>-9.8057889307579487</c:v>
                </c:pt>
                <c:pt idx="2286">
                  <c:v>-10.395956782645481</c:v>
                </c:pt>
                <c:pt idx="2287">
                  <c:v>-11.057089673224755</c:v>
                </c:pt>
                <c:pt idx="2288">
                  <c:v>-11.784462011709753</c:v>
                </c:pt>
                <c:pt idx="2289">
                  <c:v>-12.244432263791722</c:v>
                </c:pt>
                <c:pt idx="2290">
                  <c:v>-12.518601076650612</c:v>
                </c:pt>
                <c:pt idx="2291">
                  <c:v>-12.581974997305267</c:v>
                </c:pt>
                <c:pt idx="2292">
                  <c:v>-11.98646453853847</c:v>
                </c:pt>
                <c:pt idx="2293">
                  <c:v>-11.227038808993573</c:v>
                </c:pt>
                <c:pt idx="2294">
                  <c:v>-10.832431418974622</c:v>
                </c:pt>
                <c:pt idx="2295">
                  <c:v>-10.129582598006589</c:v>
                </c:pt>
                <c:pt idx="2296">
                  <c:v>-9.2885530933255538</c:v>
                </c:pt>
                <c:pt idx="2297">
                  <c:v>-8.5318922715399808</c:v>
                </c:pt>
                <c:pt idx="2298">
                  <c:v>-7.5677158776217199</c:v>
                </c:pt>
                <c:pt idx="2299">
                  <c:v>-6.4202862864697652</c:v>
                </c:pt>
                <c:pt idx="2300">
                  <c:v>-5.5856548757231126</c:v>
                </c:pt>
                <c:pt idx="2301">
                  <c:v>-4.6338438771635184</c:v>
                </c:pt>
                <c:pt idx="2302">
                  <c:v>-3.4582619715475684</c:v>
                </c:pt>
                <c:pt idx="2303">
                  <c:v>-2.3824202917871848</c:v>
                </c:pt>
                <c:pt idx="2304">
                  <c:v>-0.93621214623590332</c:v>
                </c:pt>
                <c:pt idx="2305">
                  <c:v>0.28401538258556458</c:v>
                </c:pt>
                <c:pt idx="2306">
                  <c:v>0.1650730647428803</c:v>
                </c:pt>
                <c:pt idx="2307">
                  <c:v>-0.11025020006584241</c:v>
                </c:pt>
                <c:pt idx="2308">
                  <c:v>-0.13871744134609598</c:v>
                </c:pt>
                <c:pt idx="2309">
                  <c:v>-0.14643178016898928</c:v>
                </c:pt>
                <c:pt idx="2310">
                  <c:v>-0.1559667446604861</c:v>
                </c:pt>
                <c:pt idx="2311">
                  <c:v>-0.18208495976211181</c:v>
                </c:pt>
                <c:pt idx="2312">
                  <c:v>-0.29133431789408049</c:v>
                </c:pt>
                <c:pt idx="2313">
                  <c:v>-0.27929615229595639</c:v>
                </c:pt>
                <c:pt idx="2314">
                  <c:v>-0.21067590735565089</c:v>
                </c:pt>
                <c:pt idx="2315">
                  <c:v>-0.25763315589711111</c:v>
                </c:pt>
                <c:pt idx="2316">
                  <c:v>-0.33723782261612867</c:v>
                </c:pt>
                <c:pt idx="2317">
                  <c:v>-0.40408083396426575</c:v>
                </c:pt>
                <c:pt idx="2318">
                  <c:v>-0.48559328067400698</c:v>
                </c:pt>
                <c:pt idx="2319">
                  <c:v>-0.44399960725540366</c:v>
                </c:pt>
                <c:pt idx="2320">
                  <c:v>-0.48695610455123151</c:v>
                </c:pt>
                <c:pt idx="2321">
                  <c:v>-2.0996243757907056</c:v>
                </c:pt>
                <c:pt idx="2322">
                  <c:v>-2.0707749422053001</c:v>
                </c:pt>
                <c:pt idx="2323">
                  <c:v>-2.0459773279883731</c:v>
                </c:pt>
                <c:pt idx="2324">
                  <c:v>-1.9188954396161031</c:v>
                </c:pt>
                <c:pt idx="2325">
                  <c:v>-2.0095998583701751</c:v>
                </c:pt>
                <c:pt idx="2326">
                  <c:v>-2.1631577640338775</c:v>
                </c:pt>
                <c:pt idx="2327">
                  <c:v>-2.1781089108113565</c:v>
                </c:pt>
                <c:pt idx="2328">
                  <c:v>-2.1716755422786385</c:v>
                </c:pt>
                <c:pt idx="2329">
                  <c:v>-2.1220272798079614</c:v>
                </c:pt>
                <c:pt idx="2330">
                  <c:v>-2.1944844916641739</c:v>
                </c:pt>
                <c:pt idx="2331">
                  <c:v>-2.1874870849337151</c:v>
                </c:pt>
                <c:pt idx="2332">
                  <c:v>-2.0274347964797563</c:v>
                </c:pt>
                <c:pt idx="2333">
                  <c:v>-2.1592716254535307</c:v>
                </c:pt>
                <c:pt idx="2334">
                  <c:v>-2.0325879960204492</c:v>
                </c:pt>
                <c:pt idx="2335">
                  <c:v>-2.1846428350673421</c:v>
                </c:pt>
                <c:pt idx="2336">
                  <c:v>-2.3431554247238711</c:v>
                </c:pt>
                <c:pt idx="2337">
                  <c:v>-2.307304573892734</c:v>
                </c:pt>
                <c:pt idx="2338">
                  <c:v>-2.4112820344785519</c:v>
                </c:pt>
                <c:pt idx="2339">
                  <c:v>-2.4269973128118698</c:v>
                </c:pt>
                <c:pt idx="2340">
                  <c:v>-2.3675701244954177</c:v>
                </c:pt>
                <c:pt idx="2341">
                  <c:v>-2.3402703614819669</c:v>
                </c:pt>
                <c:pt idx="2342">
                  <c:v>-2.4129515500419569</c:v>
                </c:pt>
                <c:pt idx="2343">
                  <c:v>-2.4383498775498693</c:v>
                </c:pt>
                <c:pt idx="2344">
                  <c:v>-2.4205710741189761</c:v>
                </c:pt>
                <c:pt idx="2345">
                  <c:v>-2.3346798467782439</c:v>
                </c:pt>
                <c:pt idx="2346">
                  <c:v>-2.2556410381011172</c:v>
                </c:pt>
                <c:pt idx="2347">
                  <c:v>-2.1298458161185363</c:v>
                </c:pt>
                <c:pt idx="2348">
                  <c:v>-1.9386068477827219</c:v>
                </c:pt>
                <c:pt idx="2349">
                  <c:v>-1.9642796620762248</c:v>
                </c:pt>
                <c:pt idx="2350">
                  <c:v>-1.848361349365645</c:v>
                </c:pt>
                <c:pt idx="2351">
                  <c:v>-1.9374623273021547</c:v>
                </c:pt>
                <c:pt idx="2352">
                  <c:v>-1.8716403923916931</c:v>
                </c:pt>
                <c:pt idx="2353">
                  <c:v>-1.8891382546668782</c:v>
                </c:pt>
                <c:pt idx="2354">
                  <c:v>-1.9021407844768885</c:v>
                </c:pt>
                <c:pt idx="2355">
                  <c:v>-1.8089112256889393</c:v>
                </c:pt>
                <c:pt idx="2356">
                  <c:v>-1.662868314867878</c:v>
                </c:pt>
                <c:pt idx="2357">
                  <c:v>-1.6854570138309608</c:v>
                </c:pt>
                <c:pt idx="2358">
                  <c:v>-1.7033244695128889</c:v>
                </c:pt>
                <c:pt idx="2359">
                  <c:v>-1.6224008604851545</c:v>
                </c:pt>
                <c:pt idx="2360">
                  <c:v>-1.4991093605956292</c:v>
                </c:pt>
                <c:pt idx="2361">
                  <c:v>-1.6418475316965688</c:v>
                </c:pt>
                <c:pt idx="2362">
                  <c:v>-1.715825711427498</c:v>
                </c:pt>
                <c:pt idx="2363">
                  <c:v>-1.7258827550089255</c:v>
                </c:pt>
                <c:pt idx="2364">
                  <c:v>-1.8437156296286199</c:v>
                </c:pt>
                <c:pt idx="2365">
                  <c:v>-1.8536429218300658</c:v>
                </c:pt>
                <c:pt idx="2366">
                  <c:v>-1.7681226038846645</c:v>
                </c:pt>
                <c:pt idx="2367">
                  <c:v>-1.9396187990537137</c:v>
                </c:pt>
                <c:pt idx="2368">
                  <c:v>-1.8633848529252792</c:v>
                </c:pt>
                <c:pt idx="2369">
                  <c:v>-2.0070623545526511</c:v>
                </c:pt>
                <c:pt idx="2370">
                  <c:v>-1.9925986871700716</c:v>
                </c:pt>
                <c:pt idx="2371">
                  <c:v>-1.9512228462492192</c:v>
                </c:pt>
                <c:pt idx="2372">
                  <c:v>-1.8363659937772465</c:v>
                </c:pt>
                <c:pt idx="2373">
                  <c:v>-1.8505852180961475</c:v>
                </c:pt>
                <c:pt idx="2374">
                  <c:v>-2.0065539474169456</c:v>
                </c:pt>
                <c:pt idx="2375">
                  <c:v>-1.9191840799242867</c:v>
                </c:pt>
                <c:pt idx="2376">
                  <c:v>-2.0179964631261531</c:v>
                </c:pt>
                <c:pt idx="2377">
                  <c:v>-2.0750996543695117</c:v>
                </c:pt>
                <c:pt idx="2378">
                  <c:v>-2.204726893397166</c:v>
                </c:pt>
                <c:pt idx="2379">
                  <c:v>-2.2672496150487604</c:v>
                </c:pt>
                <c:pt idx="2380">
                  <c:v>-2.2416221642262628</c:v>
                </c:pt>
                <c:pt idx="2381">
                  <c:v>-2.1548410656474561</c:v>
                </c:pt>
                <c:pt idx="2382">
                  <c:v>-2.1704408978421923</c:v>
                </c:pt>
                <c:pt idx="2383">
                  <c:v>-2.1685858032412155</c:v>
                </c:pt>
                <c:pt idx="2384">
                  <c:v>-2.2116490231595902</c:v>
                </c:pt>
                <c:pt idx="2385">
                  <c:v>-2.2463469927711315</c:v>
                </c:pt>
                <c:pt idx="2386">
                  <c:v>-2.2846307074044572</c:v>
                </c:pt>
                <c:pt idx="2387">
                  <c:v>-2.2935852996568666</c:v>
                </c:pt>
                <c:pt idx="2388">
                  <c:v>-2.4110798358472394</c:v>
                </c:pt>
                <c:pt idx="2389">
                  <c:v>-2.5711156794267809</c:v>
                </c:pt>
                <c:pt idx="2390">
                  <c:v>-2.6257388782914091</c:v>
                </c:pt>
                <c:pt idx="2391">
                  <c:v>-2.5358073013988105</c:v>
                </c:pt>
                <c:pt idx="2392">
                  <c:v>-2.4571985708376838</c:v>
                </c:pt>
                <c:pt idx="2393">
                  <c:v>-2.3805882347924232</c:v>
                </c:pt>
                <c:pt idx="2394">
                  <c:v>-2.302753945027006</c:v>
                </c:pt>
                <c:pt idx="2395">
                  <c:v>-2.3069215057219661</c:v>
                </c:pt>
                <c:pt idx="2396">
                  <c:v>-2.4354650407422107</c:v>
                </c:pt>
                <c:pt idx="2397">
                  <c:v>-2.2231691118682124</c:v>
                </c:pt>
                <c:pt idx="2398">
                  <c:v>-2.3100171879996774</c:v>
                </c:pt>
                <c:pt idx="2399">
                  <c:v>-2.282223824179153</c:v>
                </c:pt>
                <c:pt idx="2400">
                  <c:v>-2.3134561030983991</c:v>
                </c:pt>
                <c:pt idx="2401">
                  <c:v>-2.4361772414873815</c:v>
                </c:pt>
                <c:pt idx="2402">
                  <c:v>-2.6063432769513093</c:v>
                </c:pt>
                <c:pt idx="2403">
                  <c:v>-2.5271837497190015</c:v>
                </c:pt>
                <c:pt idx="2404">
                  <c:v>-2.4271590978713919</c:v>
                </c:pt>
                <c:pt idx="2405">
                  <c:v>-2.4408793960973161</c:v>
                </c:pt>
                <c:pt idx="2406">
                  <c:v>-2.4282749349478689</c:v>
                </c:pt>
                <c:pt idx="2407">
                  <c:v>-2.3655922405596059</c:v>
                </c:pt>
                <c:pt idx="2408">
                  <c:v>-2.2826635675555287</c:v>
                </c:pt>
                <c:pt idx="2409">
                  <c:v>-2.3709055013579494</c:v>
                </c:pt>
                <c:pt idx="2410">
                  <c:v>-2.3876722320807864</c:v>
                </c:pt>
                <c:pt idx="2411">
                  <c:v>-2.3915336055812211</c:v>
                </c:pt>
                <c:pt idx="2412">
                  <c:v>-2.478391043265328</c:v>
                </c:pt>
                <c:pt idx="2413">
                  <c:v>-2.483571631989228</c:v>
                </c:pt>
                <c:pt idx="2414">
                  <c:v>-2.5121031162597594</c:v>
                </c:pt>
                <c:pt idx="2415">
                  <c:v>-2.5332475920437547</c:v>
                </c:pt>
                <c:pt idx="2416">
                  <c:v>-2.5865284989191282</c:v>
                </c:pt>
                <c:pt idx="2417">
                  <c:v>-2.5987905148451089</c:v>
                </c:pt>
                <c:pt idx="2418">
                  <c:v>-2.4675220910308986</c:v>
                </c:pt>
                <c:pt idx="2419">
                  <c:v>-2.472046524631982</c:v>
                </c:pt>
                <c:pt idx="2420">
                  <c:v>-2.457527135590881</c:v>
                </c:pt>
                <c:pt idx="2421">
                  <c:v>-2.4428552041393234</c:v>
                </c:pt>
                <c:pt idx="2422">
                  <c:v>-2.4388508247312051</c:v>
                </c:pt>
                <c:pt idx="2423">
                  <c:v>-2.4380525771117179</c:v>
                </c:pt>
                <c:pt idx="2424">
                  <c:v>-2.3819216180419667</c:v>
                </c:pt>
                <c:pt idx="2425">
                  <c:v>-2.4011578066430226</c:v>
                </c:pt>
                <c:pt idx="2426">
                  <c:v>-2.2510211626252032</c:v>
                </c:pt>
                <c:pt idx="2427">
                  <c:v>-2.3769512859345014</c:v>
                </c:pt>
                <c:pt idx="2428">
                  <c:v>-2.3273688770911085</c:v>
                </c:pt>
                <c:pt idx="2429">
                  <c:v>-2.2717790190694447</c:v>
                </c:pt>
                <c:pt idx="2430">
                  <c:v>-2.3538818854343329</c:v>
                </c:pt>
                <c:pt idx="2431">
                  <c:v>-2.2103744394182208</c:v>
                </c:pt>
                <c:pt idx="2432">
                  <c:v>-2.0628433002689932</c:v>
                </c:pt>
                <c:pt idx="2433">
                  <c:v>-2.2129108529595443</c:v>
                </c:pt>
                <c:pt idx="2434">
                  <c:v>-2.2682949191870958</c:v>
                </c:pt>
                <c:pt idx="2435">
                  <c:v>-2.3297333511649909</c:v>
                </c:pt>
                <c:pt idx="2436">
                  <c:v>-2.0473825743289922</c:v>
                </c:pt>
                <c:pt idx="2437">
                  <c:v>-2.1596638683644773</c:v>
                </c:pt>
                <c:pt idx="2438">
                  <c:v>-2.269086306061002</c:v>
                </c:pt>
                <c:pt idx="2439">
                  <c:v>-2.0336772270788148</c:v>
                </c:pt>
                <c:pt idx="2440">
                  <c:v>-2.170970617094357</c:v>
                </c:pt>
                <c:pt idx="2441">
                  <c:v>-2.1733399558426982</c:v>
                </c:pt>
                <c:pt idx="2442">
                  <c:v>-1.9849336434317193</c:v>
                </c:pt>
                <c:pt idx="2443">
                  <c:v>-2.2076470252241287</c:v>
                </c:pt>
                <c:pt idx="2444">
                  <c:v>-2.0320491471403055</c:v>
                </c:pt>
                <c:pt idx="2445">
                  <c:v>-1.8459780967935626</c:v>
                </c:pt>
                <c:pt idx="2446">
                  <c:v>-1.4782687662363325</c:v>
                </c:pt>
                <c:pt idx="2447">
                  <c:v>-1.5683555672179557</c:v>
                </c:pt>
                <c:pt idx="2448">
                  <c:v>-1.9529462350534827</c:v>
                </c:pt>
                <c:pt idx="2449">
                  <c:v>-1.9492129126855624</c:v>
                </c:pt>
                <c:pt idx="2450">
                  <c:v>1.3683733341446156</c:v>
                </c:pt>
                <c:pt idx="2451">
                  <c:v>0.63348183765845767</c:v>
                </c:pt>
              </c:numCache>
            </c:numRef>
          </c:val>
          <c:smooth val="0"/>
          <c:extLst>
            <c:ext xmlns:c16="http://schemas.microsoft.com/office/drawing/2014/chart" uri="{C3380CC4-5D6E-409C-BE32-E72D297353CC}">
              <c16:uniqueId val="{00000002-944E-4C8A-9D81-AF2782E9D8E2}"/>
            </c:ext>
          </c:extLst>
        </c:ser>
        <c:dLbls>
          <c:showLegendKey val="0"/>
          <c:showVal val="0"/>
          <c:showCatName val="0"/>
          <c:showSerName val="0"/>
          <c:showPercent val="0"/>
          <c:showBubbleSize val="0"/>
        </c:dLbls>
        <c:marker val="1"/>
        <c:smooth val="0"/>
        <c:axId val="1911482927"/>
        <c:axId val="1911480847"/>
      </c:lineChart>
      <c:lineChart>
        <c:grouping val="standard"/>
        <c:varyColors val="0"/>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3</c:f>
              <c:numCache>
                <c:formatCode>#,##0.00</c:formatCode>
                <c:ptCount val="2452"/>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3-944E-4C8A-9D81-AF2782E9D8E2}"/>
            </c:ext>
          </c:extLst>
        </c:ser>
        <c:dLbls>
          <c:showLegendKey val="0"/>
          <c:showVal val="0"/>
          <c:showCatName val="0"/>
          <c:showSerName val="0"/>
          <c:showPercent val="0"/>
          <c:showBubbleSize val="0"/>
        </c:dLbls>
        <c:marker val="1"/>
        <c:smooth val="0"/>
        <c:axId val="1905214863"/>
        <c:axId val="1905219023"/>
      </c:lineChart>
      <c:catAx>
        <c:axId val="1911482927"/>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1480847"/>
        <c:crosses val="autoZero"/>
        <c:auto val="1"/>
        <c:lblAlgn val="ctr"/>
        <c:lblOffset val="100"/>
        <c:noMultiLvlLbl val="0"/>
      </c:catAx>
      <c:valAx>
        <c:axId val="191148084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1482927"/>
        <c:crosses val="autoZero"/>
        <c:crossBetween val="between"/>
      </c:valAx>
      <c:valAx>
        <c:axId val="1905219023"/>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5214863"/>
        <c:crosses val="max"/>
        <c:crossBetween val="between"/>
      </c:valAx>
      <c:catAx>
        <c:axId val="1905214863"/>
        <c:scaling>
          <c:orientation val="minMax"/>
        </c:scaling>
        <c:delete val="1"/>
        <c:axPos val="b"/>
        <c:majorTickMark val="out"/>
        <c:minorTickMark val="none"/>
        <c:tickLblPos val="nextTo"/>
        <c:crossAx val="190521902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B$27</c:f>
              <c:strCache>
                <c:ptCount val="1"/>
                <c:pt idx="0">
                  <c:v>Regression Coefficient</c:v>
                </c:pt>
              </c:strCache>
            </c:strRef>
          </c:tx>
          <c:spPr>
            <a:solidFill>
              <a:schemeClr val="accent1"/>
            </a:solidFill>
            <a:ln>
              <a:noFill/>
            </a:ln>
            <a:effectLst/>
          </c:spPr>
          <c:invertIfNegative val="0"/>
          <c:cat>
            <c:strRef>
              <c:f>Sheet2!$A$28:$A$34</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Sheet2!$B$28:$B$34</c:f>
              <c:numCache>
                <c:formatCode>General</c:formatCode>
                <c:ptCount val="7"/>
                <c:pt idx="0">
                  <c:v>0.76484538773206401</c:v>
                </c:pt>
                <c:pt idx="1">
                  <c:v>0.34236588972424131</c:v>
                </c:pt>
                <c:pt idx="2">
                  <c:v>5.0933943927024217E-2</c:v>
                </c:pt>
                <c:pt idx="3">
                  <c:v>1.8206887296729E-2</c:v>
                </c:pt>
                <c:pt idx="4">
                  <c:v>-1.7867336051636543E-2</c:v>
                </c:pt>
                <c:pt idx="5">
                  <c:v>-1.8901994708885334E-2</c:v>
                </c:pt>
                <c:pt idx="6">
                  <c:v>-0.61136432959094578</c:v>
                </c:pt>
              </c:numCache>
            </c:numRef>
          </c:val>
          <c:extLst>
            <c:ext xmlns:c16="http://schemas.microsoft.com/office/drawing/2014/chart" uri="{C3380CC4-5D6E-409C-BE32-E72D297353CC}">
              <c16:uniqueId val="{00000000-7738-47C0-9337-256FC526C52D}"/>
            </c:ext>
          </c:extLst>
        </c:ser>
        <c:dLbls>
          <c:showLegendKey val="0"/>
          <c:showVal val="0"/>
          <c:showCatName val="0"/>
          <c:showSerName val="0"/>
          <c:showPercent val="0"/>
          <c:showBubbleSize val="0"/>
        </c:dLbls>
        <c:gapWidth val="219"/>
        <c:overlap val="-27"/>
        <c:axId val="1685362479"/>
        <c:axId val="1685362063"/>
      </c:barChart>
      <c:catAx>
        <c:axId val="16853624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5362063"/>
        <c:crosses val="autoZero"/>
        <c:auto val="1"/>
        <c:lblAlgn val="ctr"/>
        <c:lblOffset val="100"/>
        <c:noMultiLvlLbl val="0"/>
      </c:catAx>
      <c:valAx>
        <c:axId val="16853620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536247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Variables</a:t>
            </a:r>
            <a:r>
              <a:rPr lang="en-US" baseline="0"/>
              <a:t> Across Time (Rolling Mean)</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Mean'!$C$1</c:f>
              <c:strCache>
                <c:ptCount val="1"/>
                <c:pt idx="0">
                  <c:v>Volumetric Flow Meter 1</c:v>
                </c:pt>
              </c:strCache>
            </c:strRef>
          </c:tx>
          <c:spPr>
            <a:ln w="28575" cap="rnd">
              <a:solidFill>
                <a:schemeClr val="accent1"/>
              </a:solidFill>
              <a:round/>
            </a:ln>
            <a:effectLst/>
          </c:spPr>
          <c:marker>
            <c:symbol val="none"/>
          </c:marker>
          <c:cat>
            <c:numRef>
              <c:f>'DRT Rolling Mean'!$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C$2:$C$2453</c:f>
              <c:numCache>
                <c:formatCode>#,##0.00</c:formatCode>
                <c:ptCount val="2452"/>
                <c:pt idx="0">
                  <c:v>41.781612903225806</c:v>
                </c:pt>
                <c:pt idx="1">
                  <c:v>41.786451612903221</c:v>
                </c:pt>
                <c:pt idx="2">
                  <c:v>41.785161290322577</c:v>
                </c:pt>
                <c:pt idx="3">
                  <c:v>41.828064516129025</c:v>
                </c:pt>
                <c:pt idx="4">
                  <c:v>41.821612903225805</c:v>
                </c:pt>
                <c:pt idx="5">
                  <c:v>41.806774193548385</c:v>
                </c:pt>
                <c:pt idx="6">
                  <c:v>41.823870967741925</c:v>
                </c:pt>
                <c:pt idx="7">
                  <c:v>41.806129032258056</c:v>
                </c:pt>
                <c:pt idx="8">
                  <c:v>41.84774193548386</c:v>
                </c:pt>
                <c:pt idx="9">
                  <c:v>41.904193548387092</c:v>
                </c:pt>
                <c:pt idx="10">
                  <c:v>41.99903225806451</c:v>
                </c:pt>
                <c:pt idx="11">
                  <c:v>42.123225806451607</c:v>
                </c:pt>
                <c:pt idx="12">
                  <c:v>42.057419354838693</c:v>
                </c:pt>
                <c:pt idx="13">
                  <c:v>42.107419354838697</c:v>
                </c:pt>
                <c:pt idx="14">
                  <c:v>42.071290322580637</c:v>
                </c:pt>
                <c:pt idx="15">
                  <c:v>41.996451612903222</c:v>
                </c:pt>
                <c:pt idx="16">
                  <c:v>42.008064516129025</c:v>
                </c:pt>
                <c:pt idx="17">
                  <c:v>42.048709677419346</c:v>
                </c:pt>
                <c:pt idx="18">
                  <c:v>42.07322580645161</c:v>
                </c:pt>
                <c:pt idx="19">
                  <c:v>42.083548387096776</c:v>
                </c:pt>
                <c:pt idx="20">
                  <c:v>42.024193548387096</c:v>
                </c:pt>
                <c:pt idx="21">
                  <c:v>42.02774193548386</c:v>
                </c:pt>
                <c:pt idx="22">
                  <c:v>42.057096774193532</c:v>
                </c:pt>
                <c:pt idx="23">
                  <c:v>41.960322580645155</c:v>
                </c:pt>
                <c:pt idx="24">
                  <c:v>41.97677419354838</c:v>
                </c:pt>
                <c:pt idx="25">
                  <c:v>41.927419354838705</c:v>
                </c:pt>
                <c:pt idx="26">
                  <c:v>41.969999999999992</c:v>
                </c:pt>
                <c:pt idx="27">
                  <c:v>41.962258064516114</c:v>
                </c:pt>
                <c:pt idx="28">
                  <c:v>41.977419354838709</c:v>
                </c:pt>
                <c:pt idx="29">
                  <c:v>41.922258064516129</c:v>
                </c:pt>
                <c:pt idx="30">
                  <c:v>42.004516129032261</c:v>
                </c:pt>
                <c:pt idx="31">
                  <c:v>42.115483870967736</c:v>
                </c:pt>
                <c:pt idx="32">
                  <c:v>42.142903225806457</c:v>
                </c:pt>
                <c:pt idx="33">
                  <c:v>42.112580645161295</c:v>
                </c:pt>
                <c:pt idx="34">
                  <c:v>42.032258064516135</c:v>
                </c:pt>
                <c:pt idx="35">
                  <c:v>42.085161290322581</c:v>
                </c:pt>
                <c:pt idx="36">
                  <c:v>42.127419354838715</c:v>
                </c:pt>
                <c:pt idx="37">
                  <c:v>42.04548387096775</c:v>
                </c:pt>
                <c:pt idx="38">
                  <c:v>42.057419354838714</c:v>
                </c:pt>
                <c:pt idx="39">
                  <c:v>42.050645161290326</c:v>
                </c:pt>
                <c:pt idx="40">
                  <c:v>42.002580645161295</c:v>
                </c:pt>
                <c:pt idx="41">
                  <c:v>41.985483870967741</c:v>
                </c:pt>
                <c:pt idx="42">
                  <c:v>41.911612903225816</c:v>
                </c:pt>
                <c:pt idx="43">
                  <c:v>41.908064516129038</c:v>
                </c:pt>
                <c:pt idx="44">
                  <c:v>41.8241935483871</c:v>
                </c:pt>
                <c:pt idx="45">
                  <c:v>41.824838709677422</c:v>
                </c:pt>
                <c:pt idx="46">
                  <c:v>41.851290322580645</c:v>
                </c:pt>
                <c:pt idx="47">
                  <c:v>41.865483870967743</c:v>
                </c:pt>
                <c:pt idx="48">
                  <c:v>41.86</c:v>
                </c:pt>
                <c:pt idx="49">
                  <c:v>41.848064516129028</c:v>
                </c:pt>
                <c:pt idx="50">
                  <c:v>41.883870967741935</c:v>
                </c:pt>
                <c:pt idx="51">
                  <c:v>41.94580645161291</c:v>
                </c:pt>
                <c:pt idx="52">
                  <c:v>41.903548387096784</c:v>
                </c:pt>
                <c:pt idx="53">
                  <c:v>41.872903225806461</c:v>
                </c:pt>
                <c:pt idx="54">
                  <c:v>41.984516129032265</c:v>
                </c:pt>
                <c:pt idx="55">
                  <c:v>41.967419354838711</c:v>
                </c:pt>
                <c:pt idx="56">
                  <c:v>42.060322580645156</c:v>
                </c:pt>
                <c:pt idx="57">
                  <c:v>42.026129032258062</c:v>
                </c:pt>
                <c:pt idx="58">
                  <c:v>42.038387096774194</c:v>
                </c:pt>
                <c:pt idx="59">
                  <c:v>42.077741935483871</c:v>
                </c:pt>
                <c:pt idx="60">
                  <c:v>42.069354838709671</c:v>
                </c:pt>
                <c:pt idx="61">
                  <c:v>42.013870967741923</c:v>
                </c:pt>
                <c:pt idx="62">
                  <c:v>41.998709677419349</c:v>
                </c:pt>
                <c:pt idx="63">
                  <c:v>41.951935483870969</c:v>
                </c:pt>
                <c:pt idx="64">
                  <c:v>41.962580645161296</c:v>
                </c:pt>
                <c:pt idx="65">
                  <c:v>42.04774193548387</c:v>
                </c:pt>
                <c:pt idx="66">
                  <c:v>42.029032258064518</c:v>
                </c:pt>
                <c:pt idx="67">
                  <c:v>41.999677419354839</c:v>
                </c:pt>
                <c:pt idx="68">
                  <c:v>42.031935483870974</c:v>
                </c:pt>
                <c:pt idx="69">
                  <c:v>42.058387096774197</c:v>
                </c:pt>
                <c:pt idx="70">
                  <c:v>42.005806451612912</c:v>
                </c:pt>
                <c:pt idx="71">
                  <c:v>42.07096774193549</c:v>
                </c:pt>
                <c:pt idx="72">
                  <c:v>42.030322580645169</c:v>
                </c:pt>
                <c:pt idx="73">
                  <c:v>42.036774193548396</c:v>
                </c:pt>
                <c:pt idx="74">
                  <c:v>42.123225806451629</c:v>
                </c:pt>
                <c:pt idx="75">
                  <c:v>42.180322580645168</c:v>
                </c:pt>
                <c:pt idx="76">
                  <c:v>42.182580645161295</c:v>
                </c:pt>
                <c:pt idx="77">
                  <c:v>42.233548387096775</c:v>
                </c:pt>
                <c:pt idx="78">
                  <c:v>42.267419354838715</c:v>
                </c:pt>
                <c:pt idx="79">
                  <c:v>42.238064516129036</c:v>
                </c:pt>
                <c:pt idx="80">
                  <c:v>42.167096774193546</c:v>
                </c:pt>
                <c:pt idx="81">
                  <c:v>42.192903225806454</c:v>
                </c:pt>
                <c:pt idx="82">
                  <c:v>42.252580645161288</c:v>
                </c:pt>
                <c:pt idx="83">
                  <c:v>42.198709677419366</c:v>
                </c:pt>
                <c:pt idx="84">
                  <c:v>42.27</c:v>
                </c:pt>
                <c:pt idx="85">
                  <c:v>42.174838709677424</c:v>
                </c:pt>
                <c:pt idx="86">
                  <c:v>42.119677419354836</c:v>
                </c:pt>
                <c:pt idx="87">
                  <c:v>42.10709677419355</c:v>
                </c:pt>
                <c:pt idx="88">
                  <c:v>42.089354838709674</c:v>
                </c:pt>
                <c:pt idx="89">
                  <c:v>42.00322580645161</c:v>
                </c:pt>
                <c:pt idx="90">
                  <c:v>41.92258064516129</c:v>
                </c:pt>
                <c:pt idx="91">
                  <c:v>42.017741935483862</c:v>
                </c:pt>
                <c:pt idx="92">
                  <c:v>42.062903225806451</c:v>
                </c:pt>
                <c:pt idx="93">
                  <c:v>42.053870967741922</c:v>
                </c:pt>
                <c:pt idx="94">
                  <c:v>42.113225806451602</c:v>
                </c:pt>
                <c:pt idx="95">
                  <c:v>42.176451612903222</c:v>
                </c:pt>
                <c:pt idx="96">
                  <c:v>42.130967741935486</c:v>
                </c:pt>
                <c:pt idx="97">
                  <c:v>42.084193548387091</c:v>
                </c:pt>
                <c:pt idx="98">
                  <c:v>42.19483870967742</c:v>
                </c:pt>
                <c:pt idx="99">
                  <c:v>42.170645161290331</c:v>
                </c:pt>
                <c:pt idx="100">
                  <c:v>42.055483870967741</c:v>
                </c:pt>
                <c:pt idx="101">
                  <c:v>42.172258064516136</c:v>
                </c:pt>
                <c:pt idx="102">
                  <c:v>42.09129032258064</c:v>
                </c:pt>
                <c:pt idx="103">
                  <c:v>42.049677419354836</c:v>
                </c:pt>
                <c:pt idx="104">
                  <c:v>42.060322580645156</c:v>
                </c:pt>
                <c:pt idx="105">
                  <c:v>42.01</c:v>
                </c:pt>
                <c:pt idx="106">
                  <c:v>41.989999999999995</c:v>
                </c:pt>
                <c:pt idx="107">
                  <c:v>41.955161290322579</c:v>
                </c:pt>
                <c:pt idx="108">
                  <c:v>41.927096774193544</c:v>
                </c:pt>
                <c:pt idx="109">
                  <c:v>41.906451612903226</c:v>
                </c:pt>
                <c:pt idx="110">
                  <c:v>41.941935483870964</c:v>
                </c:pt>
                <c:pt idx="111">
                  <c:v>42.058709677419351</c:v>
                </c:pt>
                <c:pt idx="112">
                  <c:v>41.996451612903229</c:v>
                </c:pt>
                <c:pt idx="113">
                  <c:v>41.912580645161299</c:v>
                </c:pt>
                <c:pt idx="114">
                  <c:v>41.939677419354844</c:v>
                </c:pt>
                <c:pt idx="115">
                  <c:v>41.873225806451607</c:v>
                </c:pt>
                <c:pt idx="116">
                  <c:v>41.886129032258076</c:v>
                </c:pt>
                <c:pt idx="117">
                  <c:v>41.945161290322588</c:v>
                </c:pt>
                <c:pt idx="118">
                  <c:v>41.951612903225815</c:v>
                </c:pt>
                <c:pt idx="119">
                  <c:v>41.99774193548388</c:v>
                </c:pt>
                <c:pt idx="120">
                  <c:v>42.048064516129031</c:v>
                </c:pt>
                <c:pt idx="121">
                  <c:v>42.064838709677424</c:v>
                </c:pt>
                <c:pt idx="122">
                  <c:v>42</c:v>
                </c:pt>
                <c:pt idx="123">
                  <c:v>41.900645161290321</c:v>
                </c:pt>
                <c:pt idx="124">
                  <c:v>41.849677419354833</c:v>
                </c:pt>
                <c:pt idx="125">
                  <c:v>41.77870967741935</c:v>
                </c:pt>
                <c:pt idx="126">
                  <c:v>41.727096774193541</c:v>
                </c:pt>
                <c:pt idx="127">
                  <c:v>41.715806451612906</c:v>
                </c:pt>
                <c:pt idx="128">
                  <c:v>41.792580645161287</c:v>
                </c:pt>
                <c:pt idx="129">
                  <c:v>41.74258064516129</c:v>
                </c:pt>
                <c:pt idx="130">
                  <c:v>41.734516129032258</c:v>
                </c:pt>
                <c:pt idx="131">
                  <c:v>41.741935483870968</c:v>
                </c:pt>
                <c:pt idx="132">
                  <c:v>41.708387096774189</c:v>
                </c:pt>
                <c:pt idx="133">
                  <c:v>41.810645161290317</c:v>
                </c:pt>
                <c:pt idx="134">
                  <c:v>41.888064516129035</c:v>
                </c:pt>
                <c:pt idx="135">
                  <c:v>41.816451612903222</c:v>
                </c:pt>
                <c:pt idx="136">
                  <c:v>41.767096774193547</c:v>
                </c:pt>
                <c:pt idx="137">
                  <c:v>41.766129032258057</c:v>
                </c:pt>
                <c:pt idx="138">
                  <c:v>41.749677419354832</c:v>
                </c:pt>
                <c:pt idx="139">
                  <c:v>41.763870967741937</c:v>
                </c:pt>
                <c:pt idx="140">
                  <c:v>41.810645161290317</c:v>
                </c:pt>
                <c:pt idx="141">
                  <c:v>41.814838709677417</c:v>
                </c:pt>
                <c:pt idx="142">
                  <c:v>41.702903225806452</c:v>
                </c:pt>
                <c:pt idx="143">
                  <c:v>41.733548387096775</c:v>
                </c:pt>
                <c:pt idx="144">
                  <c:v>41.713870967741933</c:v>
                </c:pt>
                <c:pt idx="145">
                  <c:v>41.802903225806446</c:v>
                </c:pt>
                <c:pt idx="146">
                  <c:v>41.818709677419349</c:v>
                </c:pt>
                <c:pt idx="147">
                  <c:v>41.899677419354845</c:v>
                </c:pt>
                <c:pt idx="148">
                  <c:v>41.861935483870965</c:v>
                </c:pt>
                <c:pt idx="149">
                  <c:v>41.770645161290318</c:v>
                </c:pt>
                <c:pt idx="150">
                  <c:v>41.765806451612896</c:v>
                </c:pt>
                <c:pt idx="151">
                  <c:v>41.734516129032251</c:v>
                </c:pt>
                <c:pt idx="152">
                  <c:v>41.720645161290321</c:v>
                </c:pt>
                <c:pt idx="153">
                  <c:v>41.773548387096774</c:v>
                </c:pt>
                <c:pt idx="154">
                  <c:v>41.856774193548375</c:v>
                </c:pt>
                <c:pt idx="155">
                  <c:v>41.830322580645159</c:v>
                </c:pt>
                <c:pt idx="156">
                  <c:v>41.849032258064511</c:v>
                </c:pt>
                <c:pt idx="157">
                  <c:v>41.864193548387092</c:v>
                </c:pt>
                <c:pt idx="158">
                  <c:v>41.835806451612903</c:v>
                </c:pt>
                <c:pt idx="159">
                  <c:v>41.81483870967741</c:v>
                </c:pt>
                <c:pt idx="160">
                  <c:v>41.863870967741924</c:v>
                </c:pt>
                <c:pt idx="161">
                  <c:v>41.988709677419337</c:v>
                </c:pt>
                <c:pt idx="162">
                  <c:v>42.032903225806443</c:v>
                </c:pt>
                <c:pt idx="163">
                  <c:v>42.056774193548371</c:v>
                </c:pt>
                <c:pt idx="164">
                  <c:v>42.004516129032261</c:v>
                </c:pt>
                <c:pt idx="165">
                  <c:v>42.017741935483876</c:v>
                </c:pt>
                <c:pt idx="166">
                  <c:v>42.049354838709682</c:v>
                </c:pt>
                <c:pt idx="167">
                  <c:v>42.055806451612916</c:v>
                </c:pt>
                <c:pt idx="168">
                  <c:v>42.01483870967742</c:v>
                </c:pt>
                <c:pt idx="169">
                  <c:v>42.117096774193563</c:v>
                </c:pt>
                <c:pt idx="170">
                  <c:v>42.159032258064535</c:v>
                </c:pt>
                <c:pt idx="171">
                  <c:v>42.097419354838721</c:v>
                </c:pt>
                <c:pt idx="172">
                  <c:v>42.06</c:v>
                </c:pt>
                <c:pt idx="173">
                  <c:v>42.103548387096779</c:v>
                </c:pt>
                <c:pt idx="174">
                  <c:v>42.123548387096783</c:v>
                </c:pt>
                <c:pt idx="175">
                  <c:v>42.140322580645162</c:v>
                </c:pt>
                <c:pt idx="176">
                  <c:v>42.146451612903228</c:v>
                </c:pt>
                <c:pt idx="177">
                  <c:v>42.118709677419353</c:v>
                </c:pt>
                <c:pt idx="178">
                  <c:v>42.054193548387097</c:v>
                </c:pt>
                <c:pt idx="179">
                  <c:v>42.085806451612903</c:v>
                </c:pt>
                <c:pt idx="180">
                  <c:v>42.077096774193549</c:v>
                </c:pt>
                <c:pt idx="181">
                  <c:v>42.054516129032258</c:v>
                </c:pt>
                <c:pt idx="182">
                  <c:v>42.006774193548395</c:v>
                </c:pt>
                <c:pt idx="183">
                  <c:v>42.111612903225812</c:v>
                </c:pt>
                <c:pt idx="184">
                  <c:v>42.063548387096773</c:v>
                </c:pt>
                <c:pt idx="185">
                  <c:v>42.082580645161286</c:v>
                </c:pt>
                <c:pt idx="186">
                  <c:v>42.115806451612904</c:v>
                </c:pt>
                <c:pt idx="187">
                  <c:v>42.140322580645162</c:v>
                </c:pt>
                <c:pt idx="188">
                  <c:v>42.081290322580635</c:v>
                </c:pt>
                <c:pt idx="189">
                  <c:v>42.147741935483864</c:v>
                </c:pt>
                <c:pt idx="190">
                  <c:v>42.118709677419346</c:v>
                </c:pt>
                <c:pt idx="191">
                  <c:v>42.072903225806449</c:v>
                </c:pt>
                <c:pt idx="192">
                  <c:v>42.043225806451609</c:v>
                </c:pt>
                <c:pt idx="193">
                  <c:v>41.999677419354832</c:v>
                </c:pt>
                <c:pt idx="194">
                  <c:v>41.985161290322587</c:v>
                </c:pt>
                <c:pt idx="195">
                  <c:v>41.954516129032264</c:v>
                </c:pt>
                <c:pt idx="196">
                  <c:v>41.941935483870978</c:v>
                </c:pt>
                <c:pt idx="197">
                  <c:v>42.010967741935488</c:v>
                </c:pt>
                <c:pt idx="198">
                  <c:v>42.071935483870973</c:v>
                </c:pt>
                <c:pt idx="199">
                  <c:v>42.196129032258071</c:v>
                </c:pt>
                <c:pt idx="200">
                  <c:v>42.127096774193554</c:v>
                </c:pt>
                <c:pt idx="201">
                  <c:v>42.085161290322588</c:v>
                </c:pt>
                <c:pt idx="202">
                  <c:v>42.180645161290336</c:v>
                </c:pt>
                <c:pt idx="203">
                  <c:v>42.172258064516143</c:v>
                </c:pt>
                <c:pt idx="204">
                  <c:v>42.219354838709691</c:v>
                </c:pt>
                <c:pt idx="205">
                  <c:v>42.22129032258065</c:v>
                </c:pt>
                <c:pt idx="206">
                  <c:v>42.267741935483876</c:v>
                </c:pt>
                <c:pt idx="207">
                  <c:v>42.203870967741942</c:v>
                </c:pt>
                <c:pt idx="208">
                  <c:v>42.3</c:v>
                </c:pt>
                <c:pt idx="209">
                  <c:v>42.285483870967738</c:v>
                </c:pt>
                <c:pt idx="210">
                  <c:v>42.248709677419356</c:v>
                </c:pt>
                <c:pt idx="211">
                  <c:v>42.281612903225806</c:v>
                </c:pt>
                <c:pt idx="212">
                  <c:v>42.345806451612894</c:v>
                </c:pt>
                <c:pt idx="213">
                  <c:v>42.42677419354839</c:v>
                </c:pt>
                <c:pt idx="214">
                  <c:v>42.423225806451612</c:v>
                </c:pt>
                <c:pt idx="215">
                  <c:v>42.434193548387086</c:v>
                </c:pt>
                <c:pt idx="216">
                  <c:v>42.395161290322577</c:v>
                </c:pt>
                <c:pt idx="217">
                  <c:v>42.464193548387094</c:v>
                </c:pt>
                <c:pt idx="218">
                  <c:v>42.553870967741929</c:v>
                </c:pt>
                <c:pt idx="219">
                  <c:v>42.630967741935486</c:v>
                </c:pt>
                <c:pt idx="220">
                  <c:v>42.621612903225802</c:v>
                </c:pt>
                <c:pt idx="221">
                  <c:v>42.634516129032264</c:v>
                </c:pt>
                <c:pt idx="222">
                  <c:v>42.668709677419365</c:v>
                </c:pt>
                <c:pt idx="223">
                  <c:v>42.715806451612906</c:v>
                </c:pt>
                <c:pt idx="224">
                  <c:v>42.815483870967746</c:v>
                </c:pt>
                <c:pt idx="225">
                  <c:v>42.808064516129036</c:v>
                </c:pt>
                <c:pt idx="226">
                  <c:v>42.854516129032262</c:v>
                </c:pt>
                <c:pt idx="227">
                  <c:v>42.924193548387109</c:v>
                </c:pt>
                <c:pt idx="228">
                  <c:v>42.895161290322598</c:v>
                </c:pt>
                <c:pt idx="229">
                  <c:v>42.922580645161297</c:v>
                </c:pt>
                <c:pt idx="230">
                  <c:v>42.925161290322592</c:v>
                </c:pt>
                <c:pt idx="231">
                  <c:v>42.940000000000012</c:v>
                </c:pt>
                <c:pt idx="232">
                  <c:v>42.981290322580655</c:v>
                </c:pt>
                <c:pt idx="233">
                  <c:v>42.921290322580653</c:v>
                </c:pt>
                <c:pt idx="234">
                  <c:v>42.982580645161292</c:v>
                </c:pt>
                <c:pt idx="235">
                  <c:v>42.965483870967745</c:v>
                </c:pt>
                <c:pt idx="236">
                  <c:v>42.934193548387107</c:v>
                </c:pt>
                <c:pt idx="237">
                  <c:v>42.950322580645171</c:v>
                </c:pt>
                <c:pt idx="238">
                  <c:v>43.037741935483879</c:v>
                </c:pt>
                <c:pt idx="239">
                  <c:v>42.998387096774209</c:v>
                </c:pt>
                <c:pt idx="240">
                  <c:v>43.04645161290324</c:v>
                </c:pt>
                <c:pt idx="241">
                  <c:v>43.104516129032262</c:v>
                </c:pt>
                <c:pt idx="242">
                  <c:v>43.178387096774202</c:v>
                </c:pt>
                <c:pt idx="243">
                  <c:v>43.20129032258064</c:v>
                </c:pt>
                <c:pt idx="244">
                  <c:v>43.273225806451613</c:v>
                </c:pt>
                <c:pt idx="245">
                  <c:v>43.289032258064509</c:v>
                </c:pt>
                <c:pt idx="246">
                  <c:v>43.379354838709659</c:v>
                </c:pt>
                <c:pt idx="247">
                  <c:v>43.415483870967734</c:v>
                </c:pt>
                <c:pt idx="248">
                  <c:v>43.402580645161279</c:v>
                </c:pt>
                <c:pt idx="249">
                  <c:v>43.405161290322575</c:v>
                </c:pt>
                <c:pt idx="250">
                  <c:v>43.427741935483866</c:v>
                </c:pt>
                <c:pt idx="251">
                  <c:v>43.449354838709667</c:v>
                </c:pt>
                <c:pt idx="252">
                  <c:v>43.474193548387092</c:v>
                </c:pt>
                <c:pt idx="253">
                  <c:v>43.444516129032259</c:v>
                </c:pt>
                <c:pt idx="254">
                  <c:v>43.369032258064507</c:v>
                </c:pt>
                <c:pt idx="255">
                  <c:v>43.362258064516119</c:v>
                </c:pt>
                <c:pt idx="256">
                  <c:v>43.335806451612889</c:v>
                </c:pt>
                <c:pt idx="257">
                  <c:v>43.370322580645144</c:v>
                </c:pt>
                <c:pt idx="258">
                  <c:v>43.258387096774186</c:v>
                </c:pt>
                <c:pt idx="259">
                  <c:v>43.250967741935483</c:v>
                </c:pt>
                <c:pt idx="260">
                  <c:v>43.240322580645163</c:v>
                </c:pt>
                <c:pt idx="261">
                  <c:v>43.140967741935491</c:v>
                </c:pt>
                <c:pt idx="262">
                  <c:v>43.156451612903233</c:v>
                </c:pt>
                <c:pt idx="263">
                  <c:v>43.038064516129047</c:v>
                </c:pt>
                <c:pt idx="264">
                  <c:v>43.027741935483888</c:v>
                </c:pt>
                <c:pt idx="265">
                  <c:v>43.038387096774208</c:v>
                </c:pt>
                <c:pt idx="266">
                  <c:v>43.003548387096785</c:v>
                </c:pt>
                <c:pt idx="267">
                  <c:v>43.055483870967755</c:v>
                </c:pt>
                <c:pt idx="268">
                  <c:v>43.041612903225811</c:v>
                </c:pt>
                <c:pt idx="269">
                  <c:v>42.949354838709681</c:v>
                </c:pt>
                <c:pt idx="270">
                  <c:v>42.94161290322581</c:v>
                </c:pt>
                <c:pt idx="271">
                  <c:v>42.975806451612897</c:v>
                </c:pt>
                <c:pt idx="272">
                  <c:v>42.873548387096783</c:v>
                </c:pt>
                <c:pt idx="273">
                  <c:v>42.872903225806446</c:v>
                </c:pt>
                <c:pt idx="274">
                  <c:v>42.778064516129028</c:v>
                </c:pt>
                <c:pt idx="275">
                  <c:v>42.70548387096774</c:v>
                </c:pt>
                <c:pt idx="276">
                  <c:v>42.667741935483882</c:v>
                </c:pt>
                <c:pt idx="277">
                  <c:v>42.597741935483874</c:v>
                </c:pt>
                <c:pt idx="278">
                  <c:v>42.584193548387098</c:v>
                </c:pt>
                <c:pt idx="279">
                  <c:v>42.533548387096779</c:v>
                </c:pt>
                <c:pt idx="280">
                  <c:v>42.398064516129047</c:v>
                </c:pt>
                <c:pt idx="281">
                  <c:v>42.305161290322602</c:v>
                </c:pt>
                <c:pt idx="282">
                  <c:v>42.279354838709686</c:v>
                </c:pt>
                <c:pt idx="283">
                  <c:v>42.25516129032259</c:v>
                </c:pt>
                <c:pt idx="284">
                  <c:v>42.189032258064522</c:v>
                </c:pt>
                <c:pt idx="285">
                  <c:v>42.179677419354846</c:v>
                </c:pt>
                <c:pt idx="286">
                  <c:v>42.197419354838708</c:v>
                </c:pt>
                <c:pt idx="287">
                  <c:v>42.150967741935489</c:v>
                </c:pt>
                <c:pt idx="288">
                  <c:v>42.141935483870974</c:v>
                </c:pt>
                <c:pt idx="289">
                  <c:v>42.152903225806455</c:v>
                </c:pt>
                <c:pt idx="290">
                  <c:v>42.190967741935495</c:v>
                </c:pt>
                <c:pt idx="291">
                  <c:v>42.149032258064523</c:v>
                </c:pt>
                <c:pt idx="292">
                  <c:v>42.141290322580652</c:v>
                </c:pt>
                <c:pt idx="293">
                  <c:v>42.079032258064515</c:v>
                </c:pt>
                <c:pt idx="294">
                  <c:v>42.188064516129032</c:v>
                </c:pt>
                <c:pt idx="295">
                  <c:v>42.134193548387096</c:v>
                </c:pt>
                <c:pt idx="296">
                  <c:v>42.025806451612901</c:v>
                </c:pt>
                <c:pt idx="297">
                  <c:v>42.097419354838706</c:v>
                </c:pt>
                <c:pt idx="298">
                  <c:v>41.986774193548385</c:v>
                </c:pt>
                <c:pt idx="299">
                  <c:v>41.961612903225799</c:v>
                </c:pt>
                <c:pt idx="300">
                  <c:v>42.008064516129025</c:v>
                </c:pt>
                <c:pt idx="301">
                  <c:v>41.994193548387095</c:v>
                </c:pt>
                <c:pt idx="302">
                  <c:v>41.8732258064516</c:v>
                </c:pt>
                <c:pt idx="303">
                  <c:v>41.892580645161281</c:v>
                </c:pt>
                <c:pt idx="304">
                  <c:v>41.856129032258046</c:v>
                </c:pt>
                <c:pt idx="305">
                  <c:v>41.881935483870969</c:v>
                </c:pt>
                <c:pt idx="306">
                  <c:v>41.850967741935477</c:v>
                </c:pt>
                <c:pt idx="307">
                  <c:v>41.821290322580644</c:v>
                </c:pt>
                <c:pt idx="308">
                  <c:v>41.765483870967742</c:v>
                </c:pt>
                <c:pt idx="309">
                  <c:v>41.764838709677427</c:v>
                </c:pt>
                <c:pt idx="310">
                  <c:v>41.813870967741941</c:v>
                </c:pt>
                <c:pt idx="311">
                  <c:v>41.881935483870976</c:v>
                </c:pt>
                <c:pt idx="312">
                  <c:v>41.865161290322575</c:v>
                </c:pt>
                <c:pt idx="313">
                  <c:v>41.915806451612902</c:v>
                </c:pt>
                <c:pt idx="314">
                  <c:v>41.862580645161287</c:v>
                </c:pt>
                <c:pt idx="315">
                  <c:v>41.94903225806452</c:v>
                </c:pt>
                <c:pt idx="316">
                  <c:v>41.994193548387095</c:v>
                </c:pt>
                <c:pt idx="317">
                  <c:v>41.962258064516128</c:v>
                </c:pt>
                <c:pt idx="318">
                  <c:v>41.954838709677425</c:v>
                </c:pt>
                <c:pt idx="319">
                  <c:v>41.893225806451618</c:v>
                </c:pt>
                <c:pt idx="320">
                  <c:v>41.925161290322585</c:v>
                </c:pt>
                <c:pt idx="321">
                  <c:v>41.937096774193549</c:v>
                </c:pt>
                <c:pt idx="322">
                  <c:v>41.992258064516122</c:v>
                </c:pt>
                <c:pt idx="323">
                  <c:v>41.986451612903224</c:v>
                </c:pt>
                <c:pt idx="324">
                  <c:v>42.046451612903226</c:v>
                </c:pt>
                <c:pt idx="325">
                  <c:v>42.0616129032258</c:v>
                </c:pt>
                <c:pt idx="326">
                  <c:v>42.124838709677412</c:v>
                </c:pt>
                <c:pt idx="327">
                  <c:v>42.16096774193548</c:v>
                </c:pt>
                <c:pt idx="328">
                  <c:v>42.073225806451603</c:v>
                </c:pt>
                <c:pt idx="329">
                  <c:v>42.143870967741933</c:v>
                </c:pt>
                <c:pt idx="330">
                  <c:v>42.19483870967742</c:v>
                </c:pt>
                <c:pt idx="331">
                  <c:v>42.097096774193545</c:v>
                </c:pt>
                <c:pt idx="332">
                  <c:v>42.089677419354835</c:v>
                </c:pt>
                <c:pt idx="333">
                  <c:v>42.11</c:v>
                </c:pt>
                <c:pt idx="334">
                  <c:v>42.094838709677418</c:v>
                </c:pt>
                <c:pt idx="335">
                  <c:v>42.031612903225806</c:v>
                </c:pt>
                <c:pt idx="336">
                  <c:v>42.066129032258068</c:v>
                </c:pt>
                <c:pt idx="337">
                  <c:v>42.076774193548381</c:v>
                </c:pt>
                <c:pt idx="338">
                  <c:v>42.115483870967743</c:v>
                </c:pt>
                <c:pt idx="339">
                  <c:v>42.194193548387105</c:v>
                </c:pt>
                <c:pt idx="340">
                  <c:v>42.120000000000012</c:v>
                </c:pt>
                <c:pt idx="341">
                  <c:v>42.13741935483872</c:v>
                </c:pt>
                <c:pt idx="342">
                  <c:v>42.062258064516129</c:v>
                </c:pt>
                <c:pt idx="343">
                  <c:v>42.163548387096782</c:v>
                </c:pt>
                <c:pt idx="344">
                  <c:v>42.164516129032265</c:v>
                </c:pt>
                <c:pt idx="345">
                  <c:v>42.163548387096775</c:v>
                </c:pt>
                <c:pt idx="346">
                  <c:v>42.069354838709678</c:v>
                </c:pt>
                <c:pt idx="347">
                  <c:v>42.091290322580633</c:v>
                </c:pt>
                <c:pt idx="348">
                  <c:v>42.11354838709677</c:v>
                </c:pt>
                <c:pt idx="349">
                  <c:v>42.168709677419358</c:v>
                </c:pt>
                <c:pt idx="350">
                  <c:v>42.231290322580648</c:v>
                </c:pt>
                <c:pt idx="351">
                  <c:v>42.226774193548394</c:v>
                </c:pt>
                <c:pt idx="352">
                  <c:v>42.216129032258067</c:v>
                </c:pt>
                <c:pt idx="353">
                  <c:v>42.143548387096779</c:v>
                </c:pt>
                <c:pt idx="354">
                  <c:v>42.147741935483872</c:v>
                </c:pt>
                <c:pt idx="355">
                  <c:v>42.119032258064507</c:v>
                </c:pt>
                <c:pt idx="356">
                  <c:v>42.063225806451605</c:v>
                </c:pt>
                <c:pt idx="357">
                  <c:v>42.12096774193548</c:v>
                </c:pt>
                <c:pt idx="358">
                  <c:v>42.111612903225797</c:v>
                </c:pt>
                <c:pt idx="359">
                  <c:v>42.115483870967736</c:v>
                </c:pt>
                <c:pt idx="360">
                  <c:v>42.138387096774203</c:v>
                </c:pt>
                <c:pt idx="361">
                  <c:v>42.130645161290339</c:v>
                </c:pt>
                <c:pt idx="362">
                  <c:v>42.231935483870977</c:v>
                </c:pt>
                <c:pt idx="363">
                  <c:v>42.186774193548395</c:v>
                </c:pt>
                <c:pt idx="364">
                  <c:v>42.206129032258069</c:v>
                </c:pt>
                <c:pt idx="365">
                  <c:v>42.200322580645164</c:v>
                </c:pt>
                <c:pt idx="366">
                  <c:v>42.277096774193552</c:v>
                </c:pt>
                <c:pt idx="367">
                  <c:v>42.217741935483879</c:v>
                </c:pt>
                <c:pt idx="368">
                  <c:v>42.180000000000007</c:v>
                </c:pt>
                <c:pt idx="369">
                  <c:v>42.165806451612909</c:v>
                </c:pt>
                <c:pt idx="370">
                  <c:v>42.104193548387094</c:v>
                </c:pt>
                <c:pt idx="371">
                  <c:v>42.193225806451615</c:v>
                </c:pt>
                <c:pt idx="372">
                  <c:v>42.150322580645167</c:v>
                </c:pt>
                <c:pt idx="373">
                  <c:v>42.214193548387101</c:v>
                </c:pt>
                <c:pt idx="374">
                  <c:v>42.217096774193557</c:v>
                </c:pt>
                <c:pt idx="375">
                  <c:v>42.187419354838717</c:v>
                </c:pt>
                <c:pt idx="376">
                  <c:v>42.181290322580658</c:v>
                </c:pt>
                <c:pt idx="377">
                  <c:v>42.215161290322584</c:v>
                </c:pt>
                <c:pt idx="378">
                  <c:v>42.119354838709675</c:v>
                </c:pt>
                <c:pt idx="379">
                  <c:v>42.101290322580645</c:v>
                </c:pt>
                <c:pt idx="380">
                  <c:v>42.090645161290318</c:v>
                </c:pt>
                <c:pt idx="381">
                  <c:v>41.993870967741934</c:v>
                </c:pt>
                <c:pt idx="382">
                  <c:v>41.957419354838706</c:v>
                </c:pt>
                <c:pt idx="383">
                  <c:v>41.87580645161291</c:v>
                </c:pt>
                <c:pt idx="384">
                  <c:v>41.89806451612904</c:v>
                </c:pt>
                <c:pt idx="385">
                  <c:v>41.961935483870967</c:v>
                </c:pt>
                <c:pt idx="386">
                  <c:v>41.950645161290325</c:v>
                </c:pt>
                <c:pt idx="387">
                  <c:v>42.01</c:v>
                </c:pt>
                <c:pt idx="388">
                  <c:v>41.992258064516129</c:v>
                </c:pt>
                <c:pt idx="389">
                  <c:v>42.012580645161286</c:v>
                </c:pt>
                <c:pt idx="390">
                  <c:v>41.999677419354839</c:v>
                </c:pt>
                <c:pt idx="391">
                  <c:v>41.972580645161287</c:v>
                </c:pt>
                <c:pt idx="392">
                  <c:v>41.955483870967733</c:v>
                </c:pt>
                <c:pt idx="393">
                  <c:v>41.895483870967738</c:v>
                </c:pt>
                <c:pt idx="394">
                  <c:v>41.915161290322573</c:v>
                </c:pt>
                <c:pt idx="395">
                  <c:v>41.966774193548375</c:v>
                </c:pt>
                <c:pt idx="396">
                  <c:v>42.030322580645155</c:v>
                </c:pt>
                <c:pt idx="397">
                  <c:v>42.002580645161281</c:v>
                </c:pt>
                <c:pt idx="398">
                  <c:v>41.985161290322566</c:v>
                </c:pt>
                <c:pt idx="399">
                  <c:v>41.969354838709663</c:v>
                </c:pt>
                <c:pt idx="400">
                  <c:v>41.903225806451609</c:v>
                </c:pt>
                <c:pt idx="401">
                  <c:v>41.893548387096772</c:v>
                </c:pt>
                <c:pt idx="402">
                  <c:v>41.789677419354838</c:v>
                </c:pt>
                <c:pt idx="403">
                  <c:v>41.8</c:v>
                </c:pt>
                <c:pt idx="404">
                  <c:v>41.729032258064514</c:v>
                </c:pt>
                <c:pt idx="405">
                  <c:v>41.611935483870965</c:v>
                </c:pt>
                <c:pt idx="406">
                  <c:v>41.628387096774198</c:v>
                </c:pt>
                <c:pt idx="407">
                  <c:v>41.719677419354838</c:v>
                </c:pt>
                <c:pt idx="408">
                  <c:v>41.722903225806455</c:v>
                </c:pt>
                <c:pt idx="409">
                  <c:v>41.811612903225807</c:v>
                </c:pt>
                <c:pt idx="410">
                  <c:v>41.791290322580643</c:v>
                </c:pt>
                <c:pt idx="411">
                  <c:v>41.746451612903229</c:v>
                </c:pt>
                <c:pt idx="412">
                  <c:v>41.812903225806451</c:v>
                </c:pt>
                <c:pt idx="413">
                  <c:v>41.882580645161305</c:v>
                </c:pt>
                <c:pt idx="414">
                  <c:v>41.877096774193561</c:v>
                </c:pt>
                <c:pt idx="415">
                  <c:v>41.914838709677433</c:v>
                </c:pt>
                <c:pt idx="416">
                  <c:v>41.920967741935492</c:v>
                </c:pt>
                <c:pt idx="417">
                  <c:v>41.887419354838727</c:v>
                </c:pt>
                <c:pt idx="418">
                  <c:v>41.77419354838711</c:v>
                </c:pt>
                <c:pt idx="419">
                  <c:v>41.778387096774196</c:v>
                </c:pt>
                <c:pt idx="420">
                  <c:v>41.775806451612901</c:v>
                </c:pt>
                <c:pt idx="421">
                  <c:v>41.753870967741925</c:v>
                </c:pt>
                <c:pt idx="422">
                  <c:v>41.805483870967734</c:v>
                </c:pt>
                <c:pt idx="423">
                  <c:v>41.801935483870963</c:v>
                </c:pt>
                <c:pt idx="424">
                  <c:v>41.760967741935474</c:v>
                </c:pt>
                <c:pt idx="425">
                  <c:v>41.779999999999994</c:v>
                </c:pt>
                <c:pt idx="426">
                  <c:v>41.782580645161282</c:v>
                </c:pt>
                <c:pt idx="427">
                  <c:v>41.723225806451609</c:v>
                </c:pt>
                <c:pt idx="428">
                  <c:v>41.78290322580645</c:v>
                </c:pt>
                <c:pt idx="429">
                  <c:v>41.858387096774202</c:v>
                </c:pt>
                <c:pt idx="430">
                  <c:v>41.882258064516137</c:v>
                </c:pt>
                <c:pt idx="431">
                  <c:v>41.869677419354851</c:v>
                </c:pt>
                <c:pt idx="432">
                  <c:v>41.871290322580656</c:v>
                </c:pt>
                <c:pt idx="433">
                  <c:v>41.89290322580645</c:v>
                </c:pt>
                <c:pt idx="434">
                  <c:v>41.821290322580637</c:v>
                </c:pt>
                <c:pt idx="435">
                  <c:v>41.866451612903219</c:v>
                </c:pt>
                <c:pt idx="436">
                  <c:v>41.915806451612902</c:v>
                </c:pt>
                <c:pt idx="437">
                  <c:v>41.938064516129032</c:v>
                </c:pt>
                <c:pt idx="438">
                  <c:v>41.883870967741935</c:v>
                </c:pt>
                <c:pt idx="439">
                  <c:v>41.889032258064518</c:v>
                </c:pt>
                <c:pt idx="440">
                  <c:v>41.851612903225799</c:v>
                </c:pt>
                <c:pt idx="441">
                  <c:v>41.807419354838707</c:v>
                </c:pt>
                <c:pt idx="442">
                  <c:v>41.811290322580646</c:v>
                </c:pt>
                <c:pt idx="443">
                  <c:v>41.817741935483873</c:v>
                </c:pt>
                <c:pt idx="444">
                  <c:v>41.714193548387101</c:v>
                </c:pt>
                <c:pt idx="445">
                  <c:v>41.819999999999993</c:v>
                </c:pt>
                <c:pt idx="446">
                  <c:v>41.776774193548384</c:v>
                </c:pt>
                <c:pt idx="447">
                  <c:v>41.72774193548387</c:v>
                </c:pt>
                <c:pt idx="448">
                  <c:v>41.732903225806446</c:v>
                </c:pt>
                <c:pt idx="449">
                  <c:v>41.824838709677408</c:v>
                </c:pt>
                <c:pt idx="450">
                  <c:v>41.769999999999996</c:v>
                </c:pt>
                <c:pt idx="451">
                  <c:v>41.755483870967737</c:v>
                </c:pt>
                <c:pt idx="452">
                  <c:v>41.793225806451609</c:v>
                </c:pt>
                <c:pt idx="453">
                  <c:v>41.777741935483867</c:v>
                </c:pt>
                <c:pt idx="454">
                  <c:v>41.719354838709677</c:v>
                </c:pt>
                <c:pt idx="455">
                  <c:v>41.807096774193553</c:v>
                </c:pt>
                <c:pt idx="456">
                  <c:v>41.798709677419353</c:v>
                </c:pt>
                <c:pt idx="457">
                  <c:v>41.71387096774194</c:v>
                </c:pt>
                <c:pt idx="458">
                  <c:v>41.714838709677423</c:v>
                </c:pt>
                <c:pt idx="459">
                  <c:v>41.725161290322582</c:v>
                </c:pt>
                <c:pt idx="460">
                  <c:v>41.720645161290321</c:v>
                </c:pt>
                <c:pt idx="461">
                  <c:v>41.765161290322581</c:v>
                </c:pt>
                <c:pt idx="462">
                  <c:v>41.878387096774198</c:v>
                </c:pt>
                <c:pt idx="463">
                  <c:v>41.899354838709691</c:v>
                </c:pt>
                <c:pt idx="464">
                  <c:v>41.993225806451612</c:v>
                </c:pt>
                <c:pt idx="465">
                  <c:v>42.038064516129033</c:v>
                </c:pt>
                <c:pt idx="466">
                  <c:v>42.051290322580655</c:v>
                </c:pt>
                <c:pt idx="467">
                  <c:v>42.084516129032252</c:v>
                </c:pt>
                <c:pt idx="468">
                  <c:v>42.027419354838713</c:v>
                </c:pt>
                <c:pt idx="469">
                  <c:v>41.969677419354845</c:v>
                </c:pt>
                <c:pt idx="470">
                  <c:v>42.04032258064516</c:v>
                </c:pt>
                <c:pt idx="471">
                  <c:v>41.977419354838702</c:v>
                </c:pt>
                <c:pt idx="472">
                  <c:v>42.049677419354836</c:v>
                </c:pt>
                <c:pt idx="473">
                  <c:v>42.150322580645167</c:v>
                </c:pt>
                <c:pt idx="474">
                  <c:v>42.111935483870965</c:v>
                </c:pt>
                <c:pt idx="475">
                  <c:v>42.118387096774192</c:v>
                </c:pt>
                <c:pt idx="476">
                  <c:v>42.055806451612909</c:v>
                </c:pt>
                <c:pt idx="477">
                  <c:v>42.08483870967742</c:v>
                </c:pt>
                <c:pt idx="478">
                  <c:v>42.150645161290328</c:v>
                </c:pt>
                <c:pt idx="479">
                  <c:v>42.257419354838703</c:v>
                </c:pt>
                <c:pt idx="480">
                  <c:v>42.21838709677418</c:v>
                </c:pt>
                <c:pt idx="481">
                  <c:v>42.197741935483855</c:v>
                </c:pt>
                <c:pt idx="482">
                  <c:v>42.154516129032245</c:v>
                </c:pt>
                <c:pt idx="483">
                  <c:v>42.159032258064506</c:v>
                </c:pt>
                <c:pt idx="484">
                  <c:v>42.121290322580627</c:v>
                </c:pt>
                <c:pt idx="485">
                  <c:v>42.216774193548382</c:v>
                </c:pt>
                <c:pt idx="486">
                  <c:v>42.128709677419344</c:v>
                </c:pt>
                <c:pt idx="487">
                  <c:v>42.102258064516128</c:v>
                </c:pt>
                <c:pt idx="488">
                  <c:v>42.122258064516124</c:v>
                </c:pt>
                <c:pt idx="489">
                  <c:v>42.166774193548392</c:v>
                </c:pt>
                <c:pt idx="490">
                  <c:v>42.126774193548393</c:v>
                </c:pt>
                <c:pt idx="491">
                  <c:v>42.108064516129041</c:v>
                </c:pt>
                <c:pt idx="492">
                  <c:v>42.125161290322588</c:v>
                </c:pt>
                <c:pt idx="493">
                  <c:v>42.120645161290341</c:v>
                </c:pt>
                <c:pt idx="494">
                  <c:v>42.126451612903232</c:v>
                </c:pt>
                <c:pt idx="495">
                  <c:v>42.005161290322583</c:v>
                </c:pt>
                <c:pt idx="496">
                  <c:v>41.991290322580646</c:v>
                </c:pt>
                <c:pt idx="497">
                  <c:v>41.943548387096783</c:v>
                </c:pt>
                <c:pt idx="498">
                  <c:v>41.865806451612904</c:v>
                </c:pt>
                <c:pt idx="499">
                  <c:v>41.921290322580653</c:v>
                </c:pt>
                <c:pt idx="500">
                  <c:v>42.017419354838715</c:v>
                </c:pt>
                <c:pt idx="501">
                  <c:v>41.974193548387106</c:v>
                </c:pt>
                <c:pt idx="502">
                  <c:v>42.060967741935485</c:v>
                </c:pt>
                <c:pt idx="503">
                  <c:v>41.997096774193551</c:v>
                </c:pt>
                <c:pt idx="504">
                  <c:v>41.960645161290323</c:v>
                </c:pt>
                <c:pt idx="505">
                  <c:v>41.96387096774194</c:v>
                </c:pt>
                <c:pt idx="506">
                  <c:v>42.077741935483871</c:v>
                </c:pt>
                <c:pt idx="507">
                  <c:v>42.132903225806459</c:v>
                </c:pt>
                <c:pt idx="508">
                  <c:v>42.123548387096768</c:v>
                </c:pt>
                <c:pt idx="509">
                  <c:v>42.124838709677412</c:v>
                </c:pt>
                <c:pt idx="510">
                  <c:v>42.111935483870965</c:v>
                </c:pt>
                <c:pt idx="511">
                  <c:v>42.123548387096768</c:v>
                </c:pt>
                <c:pt idx="512">
                  <c:v>42.102580645161282</c:v>
                </c:pt>
                <c:pt idx="513">
                  <c:v>42.200967741935479</c:v>
                </c:pt>
                <c:pt idx="514">
                  <c:v>42.199677419354835</c:v>
                </c:pt>
                <c:pt idx="515">
                  <c:v>42.220645161290314</c:v>
                </c:pt>
                <c:pt idx="516">
                  <c:v>42.188709677419354</c:v>
                </c:pt>
                <c:pt idx="517">
                  <c:v>42.25645161290322</c:v>
                </c:pt>
                <c:pt idx="518">
                  <c:v>42.350967741935484</c:v>
                </c:pt>
                <c:pt idx="519">
                  <c:v>42.369032258064514</c:v>
                </c:pt>
                <c:pt idx="520">
                  <c:v>42.349032258064518</c:v>
                </c:pt>
                <c:pt idx="521">
                  <c:v>42.328709677419354</c:v>
                </c:pt>
                <c:pt idx="522">
                  <c:v>42.293870967741938</c:v>
                </c:pt>
                <c:pt idx="523">
                  <c:v>42.250000000000007</c:v>
                </c:pt>
                <c:pt idx="524">
                  <c:v>42.255806451612912</c:v>
                </c:pt>
                <c:pt idx="525">
                  <c:v>42.193225806451622</c:v>
                </c:pt>
                <c:pt idx="526">
                  <c:v>42.29129032258065</c:v>
                </c:pt>
                <c:pt idx="527">
                  <c:v>42.331290322580649</c:v>
                </c:pt>
                <c:pt idx="528">
                  <c:v>42.396129032258074</c:v>
                </c:pt>
                <c:pt idx="529">
                  <c:v>42.402580645161301</c:v>
                </c:pt>
                <c:pt idx="530">
                  <c:v>42.310000000000009</c:v>
                </c:pt>
                <c:pt idx="531">
                  <c:v>42.277096774193552</c:v>
                </c:pt>
                <c:pt idx="532">
                  <c:v>42.263870967741944</c:v>
                </c:pt>
                <c:pt idx="533">
                  <c:v>42.234516129032265</c:v>
                </c:pt>
                <c:pt idx="534">
                  <c:v>42.258709677419368</c:v>
                </c:pt>
                <c:pt idx="535">
                  <c:v>42.293225806451609</c:v>
                </c:pt>
                <c:pt idx="536">
                  <c:v>42.307741935483868</c:v>
                </c:pt>
                <c:pt idx="537">
                  <c:v>42.267741935483876</c:v>
                </c:pt>
                <c:pt idx="538">
                  <c:v>42.257741935483871</c:v>
                </c:pt>
                <c:pt idx="539">
                  <c:v>42.179354838709678</c:v>
                </c:pt>
                <c:pt idx="540">
                  <c:v>42.172903225806458</c:v>
                </c:pt>
                <c:pt idx="541">
                  <c:v>42.061612903225807</c:v>
                </c:pt>
                <c:pt idx="542">
                  <c:v>41.985806451612909</c:v>
                </c:pt>
                <c:pt idx="543">
                  <c:v>42.018387096774205</c:v>
                </c:pt>
                <c:pt idx="544">
                  <c:v>41.998387096774202</c:v>
                </c:pt>
                <c:pt idx="545">
                  <c:v>41.990645161290338</c:v>
                </c:pt>
                <c:pt idx="546">
                  <c:v>41.911290322580662</c:v>
                </c:pt>
                <c:pt idx="547">
                  <c:v>41.940645161290334</c:v>
                </c:pt>
                <c:pt idx="548">
                  <c:v>41.892258064516142</c:v>
                </c:pt>
                <c:pt idx="549">
                  <c:v>41.899354838709691</c:v>
                </c:pt>
                <c:pt idx="550">
                  <c:v>41.970645161290328</c:v>
                </c:pt>
                <c:pt idx="551">
                  <c:v>41.983870967741943</c:v>
                </c:pt>
                <c:pt idx="552">
                  <c:v>42.010645161290327</c:v>
                </c:pt>
                <c:pt idx="553">
                  <c:v>42.062258064516136</c:v>
                </c:pt>
                <c:pt idx="554">
                  <c:v>42.083548387096783</c:v>
                </c:pt>
                <c:pt idx="555">
                  <c:v>41.992580645161297</c:v>
                </c:pt>
                <c:pt idx="556">
                  <c:v>41.989677419354841</c:v>
                </c:pt>
                <c:pt idx="557">
                  <c:v>41.892258064516128</c:v>
                </c:pt>
                <c:pt idx="558">
                  <c:v>41.819677419354832</c:v>
                </c:pt>
                <c:pt idx="559">
                  <c:v>41.798064516129024</c:v>
                </c:pt>
                <c:pt idx="560">
                  <c:v>41.824193548387086</c:v>
                </c:pt>
                <c:pt idx="561">
                  <c:v>41.80419354838709</c:v>
                </c:pt>
                <c:pt idx="562">
                  <c:v>41.757096774193542</c:v>
                </c:pt>
                <c:pt idx="563">
                  <c:v>41.727419354838702</c:v>
                </c:pt>
                <c:pt idx="564">
                  <c:v>41.697419354838701</c:v>
                </c:pt>
                <c:pt idx="565">
                  <c:v>41.697741935483862</c:v>
                </c:pt>
                <c:pt idx="566">
                  <c:v>41.609999999999985</c:v>
                </c:pt>
                <c:pt idx="567">
                  <c:v>41.668709677419344</c:v>
                </c:pt>
                <c:pt idx="568">
                  <c:v>41.632580645161269</c:v>
                </c:pt>
                <c:pt idx="569">
                  <c:v>41.551612903225802</c:v>
                </c:pt>
                <c:pt idx="570">
                  <c:v>41.601290322580638</c:v>
                </c:pt>
                <c:pt idx="571">
                  <c:v>41.563225806451605</c:v>
                </c:pt>
                <c:pt idx="572">
                  <c:v>41.636129032258061</c:v>
                </c:pt>
                <c:pt idx="573">
                  <c:v>41.701290322580647</c:v>
                </c:pt>
                <c:pt idx="574">
                  <c:v>41.674193548387102</c:v>
                </c:pt>
                <c:pt idx="575">
                  <c:v>41.715483870967752</c:v>
                </c:pt>
                <c:pt idx="576">
                  <c:v>41.769032258064527</c:v>
                </c:pt>
                <c:pt idx="577">
                  <c:v>41.806451612903238</c:v>
                </c:pt>
                <c:pt idx="578">
                  <c:v>41.729032258064528</c:v>
                </c:pt>
                <c:pt idx="579">
                  <c:v>41.757419354838724</c:v>
                </c:pt>
                <c:pt idx="580">
                  <c:v>41.712903225806457</c:v>
                </c:pt>
                <c:pt idx="581">
                  <c:v>41.586774193548386</c:v>
                </c:pt>
                <c:pt idx="582">
                  <c:v>41.566451612903236</c:v>
                </c:pt>
                <c:pt idx="583">
                  <c:v>41.556774193548385</c:v>
                </c:pt>
                <c:pt idx="584">
                  <c:v>41.465161290322577</c:v>
                </c:pt>
                <c:pt idx="585">
                  <c:v>41.479354838709675</c:v>
                </c:pt>
                <c:pt idx="586">
                  <c:v>41.476129032258065</c:v>
                </c:pt>
                <c:pt idx="587">
                  <c:v>41.603548387096772</c:v>
                </c:pt>
                <c:pt idx="588">
                  <c:v>41.677096774193551</c:v>
                </c:pt>
                <c:pt idx="589">
                  <c:v>41.758064516129025</c:v>
                </c:pt>
                <c:pt idx="590">
                  <c:v>41.765161290322574</c:v>
                </c:pt>
                <c:pt idx="591">
                  <c:v>41.809677419354834</c:v>
                </c:pt>
                <c:pt idx="592">
                  <c:v>41.927419354838712</c:v>
                </c:pt>
                <c:pt idx="593">
                  <c:v>42.021612903225801</c:v>
                </c:pt>
                <c:pt idx="594">
                  <c:v>42.027419354838706</c:v>
                </c:pt>
                <c:pt idx="595">
                  <c:v>42.085806451612896</c:v>
                </c:pt>
                <c:pt idx="596">
                  <c:v>42.132580645161291</c:v>
                </c:pt>
                <c:pt idx="597">
                  <c:v>42.123548387096768</c:v>
                </c:pt>
                <c:pt idx="598">
                  <c:v>42.100322580645155</c:v>
                </c:pt>
                <c:pt idx="599">
                  <c:v>42.078064516129032</c:v>
                </c:pt>
                <c:pt idx="600">
                  <c:v>42.105483870967738</c:v>
                </c:pt>
                <c:pt idx="601">
                  <c:v>42.16935483870968</c:v>
                </c:pt>
                <c:pt idx="602">
                  <c:v>42.254838709677415</c:v>
                </c:pt>
                <c:pt idx="603">
                  <c:v>42.291290322580643</c:v>
                </c:pt>
                <c:pt idx="604">
                  <c:v>42.356774193548389</c:v>
                </c:pt>
                <c:pt idx="605">
                  <c:v>42.478064516129038</c:v>
                </c:pt>
                <c:pt idx="606">
                  <c:v>42.483870967741943</c:v>
                </c:pt>
                <c:pt idx="607">
                  <c:v>42.490322580645163</c:v>
                </c:pt>
                <c:pt idx="608">
                  <c:v>42.548064516129031</c:v>
                </c:pt>
                <c:pt idx="609">
                  <c:v>42.621612903225817</c:v>
                </c:pt>
                <c:pt idx="610">
                  <c:v>42.715806451612906</c:v>
                </c:pt>
                <c:pt idx="611">
                  <c:v>42.722903225806455</c:v>
                </c:pt>
                <c:pt idx="612">
                  <c:v>42.829354838709669</c:v>
                </c:pt>
                <c:pt idx="613">
                  <c:v>42.886774193548383</c:v>
                </c:pt>
                <c:pt idx="614">
                  <c:v>42.923548387096766</c:v>
                </c:pt>
                <c:pt idx="615">
                  <c:v>42.999999999999993</c:v>
                </c:pt>
                <c:pt idx="616">
                  <c:v>42.977419354838702</c:v>
                </c:pt>
                <c:pt idx="617">
                  <c:v>43.026774193548377</c:v>
                </c:pt>
                <c:pt idx="618">
                  <c:v>43.041612903225804</c:v>
                </c:pt>
                <c:pt idx="619">
                  <c:v>43.111935483870965</c:v>
                </c:pt>
                <c:pt idx="620">
                  <c:v>43.084193548387091</c:v>
                </c:pt>
                <c:pt idx="621">
                  <c:v>43.180967741935483</c:v>
                </c:pt>
                <c:pt idx="622">
                  <c:v>43.229354838709682</c:v>
                </c:pt>
                <c:pt idx="623">
                  <c:v>43.193548387096783</c:v>
                </c:pt>
                <c:pt idx="624">
                  <c:v>43.222580645161287</c:v>
                </c:pt>
                <c:pt idx="625">
                  <c:v>43.274516129032264</c:v>
                </c:pt>
                <c:pt idx="626">
                  <c:v>43.286129032258067</c:v>
                </c:pt>
                <c:pt idx="627">
                  <c:v>43.312903225806458</c:v>
                </c:pt>
                <c:pt idx="628">
                  <c:v>43.402903225806469</c:v>
                </c:pt>
                <c:pt idx="629">
                  <c:v>43.442580645161307</c:v>
                </c:pt>
                <c:pt idx="630">
                  <c:v>43.51451612903228</c:v>
                </c:pt>
                <c:pt idx="631">
                  <c:v>43.546129032258079</c:v>
                </c:pt>
                <c:pt idx="632">
                  <c:v>43.520967741935493</c:v>
                </c:pt>
                <c:pt idx="633">
                  <c:v>43.514193548387105</c:v>
                </c:pt>
                <c:pt idx="634">
                  <c:v>43.534838709677423</c:v>
                </c:pt>
                <c:pt idx="635">
                  <c:v>43.474193548387106</c:v>
                </c:pt>
                <c:pt idx="636">
                  <c:v>43.469677419354845</c:v>
                </c:pt>
                <c:pt idx="637">
                  <c:v>43.496451612903222</c:v>
                </c:pt>
                <c:pt idx="638">
                  <c:v>43.509677419354844</c:v>
                </c:pt>
                <c:pt idx="639">
                  <c:v>43.469677419354845</c:v>
                </c:pt>
                <c:pt idx="640">
                  <c:v>43.495161290322585</c:v>
                </c:pt>
                <c:pt idx="641">
                  <c:v>43.497419354838712</c:v>
                </c:pt>
                <c:pt idx="642">
                  <c:v>43.54774193548387</c:v>
                </c:pt>
                <c:pt idx="643">
                  <c:v>43.531290322580645</c:v>
                </c:pt>
                <c:pt idx="644">
                  <c:v>43.557419354838707</c:v>
                </c:pt>
                <c:pt idx="645">
                  <c:v>43.503870967741932</c:v>
                </c:pt>
                <c:pt idx="646">
                  <c:v>43.429354838709678</c:v>
                </c:pt>
                <c:pt idx="647">
                  <c:v>43.400322580645167</c:v>
                </c:pt>
                <c:pt idx="648">
                  <c:v>43.342580645161291</c:v>
                </c:pt>
                <c:pt idx="649">
                  <c:v>43.270967741935486</c:v>
                </c:pt>
                <c:pt idx="650">
                  <c:v>43.202580645161298</c:v>
                </c:pt>
                <c:pt idx="651">
                  <c:v>43.249032258064524</c:v>
                </c:pt>
                <c:pt idx="652">
                  <c:v>43.130322580645171</c:v>
                </c:pt>
                <c:pt idx="653">
                  <c:v>43.054838709677426</c:v>
                </c:pt>
                <c:pt idx="654">
                  <c:v>43.063225806451619</c:v>
                </c:pt>
                <c:pt idx="655">
                  <c:v>42.94483870967742</c:v>
                </c:pt>
                <c:pt idx="656">
                  <c:v>42.872258064516124</c:v>
                </c:pt>
                <c:pt idx="657">
                  <c:v>42.756774193548388</c:v>
                </c:pt>
                <c:pt idx="658">
                  <c:v>42.654838709677421</c:v>
                </c:pt>
                <c:pt idx="659">
                  <c:v>42.610645161290314</c:v>
                </c:pt>
                <c:pt idx="660">
                  <c:v>42.511935483870957</c:v>
                </c:pt>
                <c:pt idx="661">
                  <c:v>42.416451612903224</c:v>
                </c:pt>
                <c:pt idx="662">
                  <c:v>42.351612903225799</c:v>
                </c:pt>
                <c:pt idx="663">
                  <c:v>42.353548387096765</c:v>
                </c:pt>
                <c:pt idx="664">
                  <c:v>42.29999999999999</c:v>
                </c:pt>
                <c:pt idx="665">
                  <c:v>42.224838709677414</c:v>
                </c:pt>
                <c:pt idx="666">
                  <c:v>42.264516129032252</c:v>
                </c:pt>
                <c:pt idx="667">
                  <c:v>42.206451612903223</c:v>
                </c:pt>
                <c:pt idx="668">
                  <c:v>42.114838709677414</c:v>
                </c:pt>
                <c:pt idx="669">
                  <c:v>42.113548387096763</c:v>
                </c:pt>
                <c:pt idx="670">
                  <c:v>42.056129032258056</c:v>
                </c:pt>
                <c:pt idx="671">
                  <c:v>41.972580645161294</c:v>
                </c:pt>
                <c:pt idx="672">
                  <c:v>41.911935483870977</c:v>
                </c:pt>
                <c:pt idx="673">
                  <c:v>41.863225806451617</c:v>
                </c:pt>
                <c:pt idx="674">
                  <c:v>41.790967741935489</c:v>
                </c:pt>
                <c:pt idx="675">
                  <c:v>41.78</c:v>
                </c:pt>
                <c:pt idx="676">
                  <c:v>41.790645161290328</c:v>
                </c:pt>
                <c:pt idx="677">
                  <c:v>41.804838709677426</c:v>
                </c:pt>
                <c:pt idx="678">
                  <c:v>41.818387096774195</c:v>
                </c:pt>
                <c:pt idx="679">
                  <c:v>41.875483870967749</c:v>
                </c:pt>
                <c:pt idx="680">
                  <c:v>41.874516129032266</c:v>
                </c:pt>
                <c:pt idx="681">
                  <c:v>41.882903225806466</c:v>
                </c:pt>
                <c:pt idx="682">
                  <c:v>41.83483870967742</c:v>
                </c:pt>
                <c:pt idx="683">
                  <c:v>41.838064516129023</c:v>
                </c:pt>
                <c:pt idx="684">
                  <c:v>41.88064516129031</c:v>
                </c:pt>
                <c:pt idx="685">
                  <c:v>41.787741935483865</c:v>
                </c:pt>
                <c:pt idx="686">
                  <c:v>41.814193548387088</c:v>
                </c:pt>
                <c:pt idx="687">
                  <c:v>41.834516129032252</c:v>
                </c:pt>
                <c:pt idx="688">
                  <c:v>41.875483870967727</c:v>
                </c:pt>
                <c:pt idx="689">
                  <c:v>41.959032258064511</c:v>
                </c:pt>
                <c:pt idx="690">
                  <c:v>41.944516129032252</c:v>
                </c:pt>
                <c:pt idx="691">
                  <c:v>41.939677419354837</c:v>
                </c:pt>
                <c:pt idx="692">
                  <c:v>42.03612903225806</c:v>
                </c:pt>
                <c:pt idx="693">
                  <c:v>42.057741935483868</c:v>
                </c:pt>
                <c:pt idx="694">
                  <c:v>41.990645161290317</c:v>
                </c:pt>
                <c:pt idx="695">
                  <c:v>41.93096774193549</c:v>
                </c:pt>
                <c:pt idx="696">
                  <c:v>41.948064516129037</c:v>
                </c:pt>
                <c:pt idx="697">
                  <c:v>41.938709677419361</c:v>
                </c:pt>
                <c:pt idx="698">
                  <c:v>41.868064516129046</c:v>
                </c:pt>
                <c:pt idx="699">
                  <c:v>41.904193548387099</c:v>
                </c:pt>
                <c:pt idx="700">
                  <c:v>41.865806451612897</c:v>
                </c:pt>
                <c:pt idx="701">
                  <c:v>41.92677419354839</c:v>
                </c:pt>
                <c:pt idx="702">
                  <c:v>41.923870967741934</c:v>
                </c:pt>
                <c:pt idx="703">
                  <c:v>41.893870967741933</c:v>
                </c:pt>
                <c:pt idx="704">
                  <c:v>41.921290322580646</c:v>
                </c:pt>
                <c:pt idx="705">
                  <c:v>42.006774193548381</c:v>
                </c:pt>
                <c:pt idx="706">
                  <c:v>41.989354838709673</c:v>
                </c:pt>
                <c:pt idx="707">
                  <c:v>42.009032258064508</c:v>
                </c:pt>
                <c:pt idx="708">
                  <c:v>42.054516129032251</c:v>
                </c:pt>
                <c:pt idx="709">
                  <c:v>42.101290322580645</c:v>
                </c:pt>
                <c:pt idx="710">
                  <c:v>42.091290322580647</c:v>
                </c:pt>
                <c:pt idx="711">
                  <c:v>42.080645161290327</c:v>
                </c:pt>
                <c:pt idx="712">
                  <c:v>42.007096774193549</c:v>
                </c:pt>
                <c:pt idx="713">
                  <c:v>41.977419354838716</c:v>
                </c:pt>
                <c:pt idx="714">
                  <c:v>42.009677419354837</c:v>
                </c:pt>
                <c:pt idx="715">
                  <c:v>41.93645161290322</c:v>
                </c:pt>
                <c:pt idx="716">
                  <c:v>41.969999999999992</c:v>
                </c:pt>
                <c:pt idx="717">
                  <c:v>42.016774193548379</c:v>
                </c:pt>
                <c:pt idx="718">
                  <c:v>42.095161290322572</c:v>
                </c:pt>
                <c:pt idx="719">
                  <c:v>42.09451612903225</c:v>
                </c:pt>
                <c:pt idx="720">
                  <c:v>42.071935483870959</c:v>
                </c:pt>
                <c:pt idx="721">
                  <c:v>42.094838709677411</c:v>
                </c:pt>
                <c:pt idx="722">
                  <c:v>42.132258064516115</c:v>
                </c:pt>
                <c:pt idx="723">
                  <c:v>42.031290322580638</c:v>
                </c:pt>
                <c:pt idx="724">
                  <c:v>42.091935483870948</c:v>
                </c:pt>
                <c:pt idx="725">
                  <c:v>42.132258064516115</c:v>
                </c:pt>
                <c:pt idx="726">
                  <c:v>42.152258064516118</c:v>
                </c:pt>
                <c:pt idx="727">
                  <c:v>42.090967741935472</c:v>
                </c:pt>
                <c:pt idx="728">
                  <c:v>42.072903225806449</c:v>
                </c:pt>
                <c:pt idx="729">
                  <c:v>42.163548387096782</c:v>
                </c:pt>
                <c:pt idx="730">
                  <c:v>42.100645161290316</c:v>
                </c:pt>
                <c:pt idx="731">
                  <c:v>42.112903225806448</c:v>
                </c:pt>
                <c:pt idx="732">
                  <c:v>42.072580645161281</c:v>
                </c:pt>
                <c:pt idx="733">
                  <c:v>42.029032258064518</c:v>
                </c:pt>
                <c:pt idx="734">
                  <c:v>42.052903225806446</c:v>
                </c:pt>
                <c:pt idx="735">
                  <c:v>42.046129032258058</c:v>
                </c:pt>
                <c:pt idx="736">
                  <c:v>42.042580645161287</c:v>
                </c:pt>
                <c:pt idx="737">
                  <c:v>41.977096774193541</c:v>
                </c:pt>
                <c:pt idx="738">
                  <c:v>41.965483870967738</c:v>
                </c:pt>
                <c:pt idx="739">
                  <c:v>41.963870967741933</c:v>
                </c:pt>
                <c:pt idx="740">
                  <c:v>41.891612903225806</c:v>
                </c:pt>
                <c:pt idx="741">
                  <c:v>41.925806451612907</c:v>
                </c:pt>
                <c:pt idx="742">
                  <c:v>41.981290322580641</c:v>
                </c:pt>
                <c:pt idx="743">
                  <c:v>42.034838709677416</c:v>
                </c:pt>
                <c:pt idx="744">
                  <c:v>42.095161290322579</c:v>
                </c:pt>
                <c:pt idx="745">
                  <c:v>42.137741935483874</c:v>
                </c:pt>
                <c:pt idx="746">
                  <c:v>42.121290322580641</c:v>
                </c:pt>
                <c:pt idx="747">
                  <c:v>42.186774193548388</c:v>
                </c:pt>
                <c:pt idx="748">
                  <c:v>42.163225806451614</c:v>
                </c:pt>
                <c:pt idx="749">
                  <c:v>42.133225806451627</c:v>
                </c:pt>
                <c:pt idx="750">
                  <c:v>42.163548387096775</c:v>
                </c:pt>
                <c:pt idx="751">
                  <c:v>42.117741935483863</c:v>
                </c:pt>
                <c:pt idx="752">
                  <c:v>42.047096774193541</c:v>
                </c:pt>
                <c:pt idx="753">
                  <c:v>42.061290322580632</c:v>
                </c:pt>
                <c:pt idx="754">
                  <c:v>42.073870967741925</c:v>
                </c:pt>
                <c:pt idx="755">
                  <c:v>42.017419354838694</c:v>
                </c:pt>
                <c:pt idx="756">
                  <c:v>41.999677419354825</c:v>
                </c:pt>
                <c:pt idx="757">
                  <c:v>41.959354838709672</c:v>
                </c:pt>
                <c:pt idx="758">
                  <c:v>42.056129032258049</c:v>
                </c:pt>
                <c:pt idx="759">
                  <c:v>42.092258064516116</c:v>
                </c:pt>
                <c:pt idx="760">
                  <c:v>42.109032258064502</c:v>
                </c:pt>
                <c:pt idx="761">
                  <c:v>42.109677419354824</c:v>
                </c:pt>
                <c:pt idx="762">
                  <c:v>42.029999999999987</c:v>
                </c:pt>
                <c:pt idx="763">
                  <c:v>42.031290322580631</c:v>
                </c:pt>
                <c:pt idx="764">
                  <c:v>42.038064516129019</c:v>
                </c:pt>
                <c:pt idx="765">
                  <c:v>41.992903225806451</c:v>
                </c:pt>
                <c:pt idx="766">
                  <c:v>41.999677419354832</c:v>
                </c:pt>
                <c:pt idx="767">
                  <c:v>41.998709677419356</c:v>
                </c:pt>
                <c:pt idx="768">
                  <c:v>42.04451612903226</c:v>
                </c:pt>
                <c:pt idx="769">
                  <c:v>42.043870967741952</c:v>
                </c:pt>
                <c:pt idx="770">
                  <c:v>42.035483870967759</c:v>
                </c:pt>
                <c:pt idx="771">
                  <c:v>42.05290322580646</c:v>
                </c:pt>
                <c:pt idx="772">
                  <c:v>42.015483870967749</c:v>
                </c:pt>
                <c:pt idx="773">
                  <c:v>42.012903225806454</c:v>
                </c:pt>
                <c:pt idx="774">
                  <c:v>41.948387096774198</c:v>
                </c:pt>
                <c:pt idx="775">
                  <c:v>41.94903225806452</c:v>
                </c:pt>
                <c:pt idx="776">
                  <c:v>41.945483870967735</c:v>
                </c:pt>
                <c:pt idx="777">
                  <c:v>41.984193548387097</c:v>
                </c:pt>
                <c:pt idx="778">
                  <c:v>41.899032258064516</c:v>
                </c:pt>
                <c:pt idx="779">
                  <c:v>41.913870967741936</c:v>
                </c:pt>
                <c:pt idx="780">
                  <c:v>41.871612903225795</c:v>
                </c:pt>
                <c:pt idx="781">
                  <c:v>41.828387096774186</c:v>
                </c:pt>
                <c:pt idx="782">
                  <c:v>41.822580645161281</c:v>
                </c:pt>
                <c:pt idx="783">
                  <c:v>41.866451612903219</c:v>
                </c:pt>
                <c:pt idx="784">
                  <c:v>41.849032258064511</c:v>
                </c:pt>
                <c:pt idx="785">
                  <c:v>41.912580645161292</c:v>
                </c:pt>
                <c:pt idx="786">
                  <c:v>41.895806451612906</c:v>
                </c:pt>
                <c:pt idx="787">
                  <c:v>41.864516129032253</c:v>
                </c:pt>
                <c:pt idx="788">
                  <c:v>41.930322580645161</c:v>
                </c:pt>
                <c:pt idx="789">
                  <c:v>41.924193548387102</c:v>
                </c:pt>
                <c:pt idx="790">
                  <c:v>41.859032258064516</c:v>
                </c:pt>
                <c:pt idx="791">
                  <c:v>41.746129032258068</c:v>
                </c:pt>
                <c:pt idx="792">
                  <c:v>41.747419354838712</c:v>
                </c:pt>
                <c:pt idx="793">
                  <c:v>41.770645161290325</c:v>
                </c:pt>
                <c:pt idx="794">
                  <c:v>41.84870967741935</c:v>
                </c:pt>
                <c:pt idx="795">
                  <c:v>41.867741935483863</c:v>
                </c:pt>
                <c:pt idx="796">
                  <c:v>41.886129032258061</c:v>
                </c:pt>
                <c:pt idx="797">
                  <c:v>41.895161290322584</c:v>
                </c:pt>
                <c:pt idx="798">
                  <c:v>41.815483870967732</c:v>
                </c:pt>
                <c:pt idx="799">
                  <c:v>41.79677419354838</c:v>
                </c:pt>
                <c:pt idx="800">
                  <c:v>41.723870967741931</c:v>
                </c:pt>
                <c:pt idx="801">
                  <c:v>41.729354838709675</c:v>
                </c:pt>
                <c:pt idx="802">
                  <c:v>41.749677419354839</c:v>
                </c:pt>
                <c:pt idx="803">
                  <c:v>41.748387096774188</c:v>
                </c:pt>
                <c:pt idx="804">
                  <c:v>41.671290322580646</c:v>
                </c:pt>
                <c:pt idx="805">
                  <c:v>41.783548387096779</c:v>
                </c:pt>
                <c:pt idx="806">
                  <c:v>41.719677419354845</c:v>
                </c:pt>
                <c:pt idx="807">
                  <c:v>41.664516129032258</c:v>
                </c:pt>
                <c:pt idx="808">
                  <c:v>41.66096774193548</c:v>
                </c:pt>
                <c:pt idx="809">
                  <c:v>41.647741935483864</c:v>
                </c:pt>
                <c:pt idx="810">
                  <c:v>41.629999999999988</c:v>
                </c:pt>
                <c:pt idx="811">
                  <c:v>41.625806451612888</c:v>
                </c:pt>
                <c:pt idx="812">
                  <c:v>41.608064516129019</c:v>
                </c:pt>
                <c:pt idx="813">
                  <c:v>41.624838709677412</c:v>
                </c:pt>
                <c:pt idx="814">
                  <c:v>41.661290322580648</c:v>
                </c:pt>
                <c:pt idx="815">
                  <c:v>41.714193548387101</c:v>
                </c:pt>
                <c:pt idx="816">
                  <c:v>41.675483870967746</c:v>
                </c:pt>
                <c:pt idx="817">
                  <c:v>41.683548387096778</c:v>
                </c:pt>
                <c:pt idx="818">
                  <c:v>41.680645161290329</c:v>
                </c:pt>
                <c:pt idx="819">
                  <c:v>41.690645161290327</c:v>
                </c:pt>
                <c:pt idx="820">
                  <c:v>41.625161290322588</c:v>
                </c:pt>
                <c:pt idx="821">
                  <c:v>41.585483870967742</c:v>
                </c:pt>
                <c:pt idx="822">
                  <c:v>41.632258064516137</c:v>
                </c:pt>
                <c:pt idx="823">
                  <c:v>41.603225806451618</c:v>
                </c:pt>
                <c:pt idx="824">
                  <c:v>41.641290322580659</c:v>
                </c:pt>
                <c:pt idx="825">
                  <c:v>41.585161290322588</c:v>
                </c:pt>
                <c:pt idx="826">
                  <c:v>41.669032258064526</c:v>
                </c:pt>
                <c:pt idx="827">
                  <c:v>41.634516129032271</c:v>
                </c:pt>
                <c:pt idx="828">
                  <c:v>41.542903225806448</c:v>
                </c:pt>
                <c:pt idx="829">
                  <c:v>41.589354838709667</c:v>
                </c:pt>
                <c:pt idx="830">
                  <c:v>41.576774193548381</c:v>
                </c:pt>
                <c:pt idx="831">
                  <c:v>41.635483870967747</c:v>
                </c:pt>
                <c:pt idx="832">
                  <c:v>41.573870967741932</c:v>
                </c:pt>
                <c:pt idx="833">
                  <c:v>41.58161290322581</c:v>
                </c:pt>
                <c:pt idx="834">
                  <c:v>41.626451612903239</c:v>
                </c:pt>
                <c:pt idx="835">
                  <c:v>41.718709677419369</c:v>
                </c:pt>
                <c:pt idx="836">
                  <c:v>41.631612903225815</c:v>
                </c:pt>
                <c:pt idx="837">
                  <c:v>41.611290322580651</c:v>
                </c:pt>
                <c:pt idx="838">
                  <c:v>41.608387096774194</c:v>
                </c:pt>
                <c:pt idx="839">
                  <c:v>41.671290322580653</c:v>
                </c:pt>
                <c:pt idx="840">
                  <c:v>41.696774193548393</c:v>
                </c:pt>
                <c:pt idx="841">
                  <c:v>41.656774193548387</c:v>
                </c:pt>
                <c:pt idx="842">
                  <c:v>41.68741935483871</c:v>
                </c:pt>
                <c:pt idx="843">
                  <c:v>41.803548387096768</c:v>
                </c:pt>
                <c:pt idx="844">
                  <c:v>41.819354838709671</c:v>
                </c:pt>
                <c:pt idx="845">
                  <c:v>41.850645161290316</c:v>
                </c:pt>
                <c:pt idx="846">
                  <c:v>41.829999999999991</c:v>
                </c:pt>
                <c:pt idx="847">
                  <c:v>41.892903225806457</c:v>
                </c:pt>
                <c:pt idx="848">
                  <c:v>41.939354838709683</c:v>
                </c:pt>
                <c:pt idx="849">
                  <c:v>41.996774193548397</c:v>
                </c:pt>
                <c:pt idx="850">
                  <c:v>41.935483870967751</c:v>
                </c:pt>
                <c:pt idx="851">
                  <c:v>42.000000000000007</c:v>
                </c:pt>
                <c:pt idx="852">
                  <c:v>42.104838709677423</c:v>
                </c:pt>
                <c:pt idx="853">
                  <c:v>42.104516129032262</c:v>
                </c:pt>
                <c:pt idx="854">
                  <c:v>42.15225806451614</c:v>
                </c:pt>
                <c:pt idx="855">
                  <c:v>42.169354838709687</c:v>
                </c:pt>
                <c:pt idx="856">
                  <c:v>42.233870967741936</c:v>
                </c:pt>
                <c:pt idx="857">
                  <c:v>42.129677419354842</c:v>
                </c:pt>
                <c:pt idx="858">
                  <c:v>42.110322580645153</c:v>
                </c:pt>
                <c:pt idx="859">
                  <c:v>42.160322580645165</c:v>
                </c:pt>
                <c:pt idx="860">
                  <c:v>42.21290322580645</c:v>
                </c:pt>
                <c:pt idx="861">
                  <c:v>42.235806451612909</c:v>
                </c:pt>
                <c:pt idx="862">
                  <c:v>42.291935483870979</c:v>
                </c:pt>
                <c:pt idx="863">
                  <c:v>42.306774193548399</c:v>
                </c:pt>
                <c:pt idx="864">
                  <c:v>42.300000000000011</c:v>
                </c:pt>
                <c:pt idx="865">
                  <c:v>42.24774193548388</c:v>
                </c:pt>
                <c:pt idx="866">
                  <c:v>42.19903225806452</c:v>
                </c:pt>
                <c:pt idx="867">
                  <c:v>42.214838709677423</c:v>
                </c:pt>
                <c:pt idx="868">
                  <c:v>42.264193548387091</c:v>
                </c:pt>
                <c:pt idx="869">
                  <c:v>42.328387096774186</c:v>
                </c:pt>
                <c:pt idx="870">
                  <c:v>42.237741935483868</c:v>
                </c:pt>
                <c:pt idx="871">
                  <c:v>42.314516129032256</c:v>
                </c:pt>
                <c:pt idx="872">
                  <c:v>42.323548387096764</c:v>
                </c:pt>
                <c:pt idx="873">
                  <c:v>42.266129032258064</c:v>
                </c:pt>
                <c:pt idx="874">
                  <c:v>42.229354838709668</c:v>
                </c:pt>
                <c:pt idx="875">
                  <c:v>42.20129032258064</c:v>
                </c:pt>
                <c:pt idx="876">
                  <c:v>42.212580645161289</c:v>
                </c:pt>
                <c:pt idx="877">
                  <c:v>42.161612903225809</c:v>
                </c:pt>
                <c:pt idx="878">
                  <c:v>42.174516129032263</c:v>
                </c:pt>
                <c:pt idx="879">
                  <c:v>42.151612903225811</c:v>
                </c:pt>
                <c:pt idx="880">
                  <c:v>42.161612903225809</c:v>
                </c:pt>
                <c:pt idx="881">
                  <c:v>42.182258064516127</c:v>
                </c:pt>
                <c:pt idx="882">
                  <c:v>42.170967741935478</c:v>
                </c:pt>
                <c:pt idx="883">
                  <c:v>42.146774193548382</c:v>
                </c:pt>
                <c:pt idx="884">
                  <c:v>42.113548387096763</c:v>
                </c:pt>
                <c:pt idx="885">
                  <c:v>42.084193548387084</c:v>
                </c:pt>
                <c:pt idx="886">
                  <c:v>42.102903225806436</c:v>
                </c:pt>
                <c:pt idx="887">
                  <c:v>42.063225806451605</c:v>
                </c:pt>
                <c:pt idx="888">
                  <c:v>42.059354838709673</c:v>
                </c:pt>
                <c:pt idx="889">
                  <c:v>42.17903225806451</c:v>
                </c:pt>
                <c:pt idx="890">
                  <c:v>42.224838709677414</c:v>
                </c:pt>
                <c:pt idx="891">
                  <c:v>42.189032258064508</c:v>
                </c:pt>
                <c:pt idx="892">
                  <c:v>42.20354838709676</c:v>
                </c:pt>
                <c:pt idx="893">
                  <c:v>42.14225806451612</c:v>
                </c:pt>
                <c:pt idx="894">
                  <c:v>42.173225806451612</c:v>
                </c:pt>
                <c:pt idx="895">
                  <c:v>42.202580645161284</c:v>
                </c:pt>
                <c:pt idx="896">
                  <c:v>42.241290322580639</c:v>
                </c:pt>
                <c:pt idx="897">
                  <c:v>42.242258064516122</c:v>
                </c:pt>
                <c:pt idx="898">
                  <c:v>42.269354838709674</c:v>
                </c:pt>
                <c:pt idx="899">
                  <c:v>42.291935483870972</c:v>
                </c:pt>
                <c:pt idx="900">
                  <c:v>42.199677419354842</c:v>
                </c:pt>
                <c:pt idx="901">
                  <c:v>42.197419354838715</c:v>
                </c:pt>
                <c:pt idx="902">
                  <c:v>42.186774193548395</c:v>
                </c:pt>
                <c:pt idx="903">
                  <c:v>42.143870967741954</c:v>
                </c:pt>
                <c:pt idx="904">
                  <c:v>42.165483870967755</c:v>
                </c:pt>
                <c:pt idx="905">
                  <c:v>42.170000000000009</c:v>
                </c:pt>
                <c:pt idx="906">
                  <c:v>42.173225806451612</c:v>
                </c:pt>
                <c:pt idx="907">
                  <c:v>42.089354838709674</c:v>
                </c:pt>
                <c:pt idx="908">
                  <c:v>42.15032258064516</c:v>
                </c:pt>
                <c:pt idx="909">
                  <c:v>42.114193548387092</c:v>
                </c:pt>
                <c:pt idx="910">
                  <c:v>42.059677419354827</c:v>
                </c:pt>
                <c:pt idx="911">
                  <c:v>42.031290322580631</c:v>
                </c:pt>
                <c:pt idx="912">
                  <c:v>42.01290322580644</c:v>
                </c:pt>
                <c:pt idx="913">
                  <c:v>42.027096774193545</c:v>
                </c:pt>
                <c:pt idx="914">
                  <c:v>42.020645161290318</c:v>
                </c:pt>
                <c:pt idx="915">
                  <c:v>42.124516129032251</c:v>
                </c:pt>
                <c:pt idx="916">
                  <c:v>42.116451612903212</c:v>
                </c:pt>
                <c:pt idx="917">
                  <c:v>42.144193548387094</c:v>
                </c:pt>
                <c:pt idx="918">
                  <c:v>42.110645161290321</c:v>
                </c:pt>
                <c:pt idx="919">
                  <c:v>42.119354838709668</c:v>
                </c:pt>
                <c:pt idx="920">
                  <c:v>42.010967741935481</c:v>
                </c:pt>
                <c:pt idx="921">
                  <c:v>41.995161290322578</c:v>
                </c:pt>
                <c:pt idx="922">
                  <c:v>41.914838709677419</c:v>
                </c:pt>
                <c:pt idx="923">
                  <c:v>41.88903225806451</c:v>
                </c:pt>
                <c:pt idx="924">
                  <c:v>41.940967741935488</c:v>
                </c:pt>
                <c:pt idx="925">
                  <c:v>41.98516129032258</c:v>
                </c:pt>
                <c:pt idx="926">
                  <c:v>41.994516129032256</c:v>
                </c:pt>
                <c:pt idx="927">
                  <c:v>41.963548387096779</c:v>
                </c:pt>
                <c:pt idx="928">
                  <c:v>42.004516129032268</c:v>
                </c:pt>
                <c:pt idx="929">
                  <c:v>42.038709677419362</c:v>
                </c:pt>
                <c:pt idx="930">
                  <c:v>41.992903225806465</c:v>
                </c:pt>
                <c:pt idx="931">
                  <c:v>42.036774193548396</c:v>
                </c:pt>
                <c:pt idx="932">
                  <c:v>42.02967741935484</c:v>
                </c:pt>
                <c:pt idx="933">
                  <c:v>41.973225806451616</c:v>
                </c:pt>
                <c:pt idx="934">
                  <c:v>42.036451612903235</c:v>
                </c:pt>
                <c:pt idx="935">
                  <c:v>42.007741935483871</c:v>
                </c:pt>
                <c:pt idx="936">
                  <c:v>41.940645161290327</c:v>
                </c:pt>
                <c:pt idx="937">
                  <c:v>41.946774193548393</c:v>
                </c:pt>
                <c:pt idx="938">
                  <c:v>41.958064516129042</c:v>
                </c:pt>
                <c:pt idx="939">
                  <c:v>41.963225806451618</c:v>
                </c:pt>
                <c:pt idx="940">
                  <c:v>41.910322580645165</c:v>
                </c:pt>
                <c:pt idx="941">
                  <c:v>42.011290322580649</c:v>
                </c:pt>
                <c:pt idx="942">
                  <c:v>41.99903225806451</c:v>
                </c:pt>
                <c:pt idx="943">
                  <c:v>42.023870967741928</c:v>
                </c:pt>
                <c:pt idx="944">
                  <c:v>42.048387096774192</c:v>
                </c:pt>
                <c:pt idx="945">
                  <c:v>42.083548387096769</c:v>
                </c:pt>
                <c:pt idx="946">
                  <c:v>42.004838709677422</c:v>
                </c:pt>
                <c:pt idx="947">
                  <c:v>42.06</c:v>
                </c:pt>
                <c:pt idx="948">
                  <c:v>42.038387096774187</c:v>
                </c:pt>
                <c:pt idx="949">
                  <c:v>42.05838709677419</c:v>
                </c:pt>
                <c:pt idx="950">
                  <c:v>42.16935483870968</c:v>
                </c:pt>
                <c:pt idx="951">
                  <c:v>42.27870967741935</c:v>
                </c:pt>
                <c:pt idx="952">
                  <c:v>42.271612903225794</c:v>
                </c:pt>
                <c:pt idx="953">
                  <c:v>42.317741935483859</c:v>
                </c:pt>
                <c:pt idx="954">
                  <c:v>42.366451612903212</c:v>
                </c:pt>
                <c:pt idx="955">
                  <c:v>42.312903225806444</c:v>
                </c:pt>
                <c:pt idx="956">
                  <c:v>42.22999999999999</c:v>
                </c:pt>
                <c:pt idx="957">
                  <c:v>42.149032258064516</c:v>
                </c:pt>
                <c:pt idx="958">
                  <c:v>42.089999999999996</c:v>
                </c:pt>
                <c:pt idx="959">
                  <c:v>42.060967741935485</c:v>
                </c:pt>
                <c:pt idx="960">
                  <c:v>42.048064516129038</c:v>
                </c:pt>
                <c:pt idx="961">
                  <c:v>42.108709677419348</c:v>
                </c:pt>
                <c:pt idx="962">
                  <c:v>42.105161290322577</c:v>
                </c:pt>
                <c:pt idx="963">
                  <c:v>42.108709677419355</c:v>
                </c:pt>
                <c:pt idx="964">
                  <c:v>42.192258064516132</c:v>
                </c:pt>
                <c:pt idx="965">
                  <c:v>42.215483870967731</c:v>
                </c:pt>
                <c:pt idx="966">
                  <c:v>42.328387096774186</c:v>
                </c:pt>
                <c:pt idx="967">
                  <c:v>42.364193548387085</c:v>
                </c:pt>
                <c:pt idx="968">
                  <c:v>42.306129032258049</c:v>
                </c:pt>
                <c:pt idx="969">
                  <c:v>42.289677419354831</c:v>
                </c:pt>
                <c:pt idx="970">
                  <c:v>42.182903225806449</c:v>
                </c:pt>
                <c:pt idx="971">
                  <c:v>42.16612903225807</c:v>
                </c:pt>
                <c:pt idx="972">
                  <c:v>42.12</c:v>
                </c:pt>
                <c:pt idx="973">
                  <c:v>42.177096774193551</c:v>
                </c:pt>
                <c:pt idx="974">
                  <c:v>42.17354838709678</c:v>
                </c:pt>
                <c:pt idx="975">
                  <c:v>42.119032258064514</c:v>
                </c:pt>
                <c:pt idx="976">
                  <c:v>42.02548387096774</c:v>
                </c:pt>
                <c:pt idx="977">
                  <c:v>42.056451612903224</c:v>
                </c:pt>
                <c:pt idx="978">
                  <c:v>42.107419354838704</c:v>
                </c:pt>
                <c:pt idx="979">
                  <c:v>42.048709677419353</c:v>
                </c:pt>
                <c:pt idx="980">
                  <c:v>42.025161290322586</c:v>
                </c:pt>
                <c:pt idx="981">
                  <c:v>41.989032258064512</c:v>
                </c:pt>
                <c:pt idx="982">
                  <c:v>41.869032258064514</c:v>
                </c:pt>
                <c:pt idx="983">
                  <c:v>41.84129032258064</c:v>
                </c:pt>
                <c:pt idx="984">
                  <c:v>41.832258064516125</c:v>
                </c:pt>
                <c:pt idx="985">
                  <c:v>41.844193548387096</c:v>
                </c:pt>
                <c:pt idx="986">
                  <c:v>41.803870967741936</c:v>
                </c:pt>
                <c:pt idx="987">
                  <c:v>41.903870967741938</c:v>
                </c:pt>
                <c:pt idx="988">
                  <c:v>41.98935483870968</c:v>
                </c:pt>
                <c:pt idx="989">
                  <c:v>41.987741935483868</c:v>
                </c:pt>
                <c:pt idx="990">
                  <c:v>41.913225806451607</c:v>
                </c:pt>
                <c:pt idx="991">
                  <c:v>41.828709677419347</c:v>
                </c:pt>
                <c:pt idx="992">
                  <c:v>41.816129032258054</c:v>
                </c:pt>
                <c:pt idx="993">
                  <c:v>41.780322580645155</c:v>
                </c:pt>
                <c:pt idx="994">
                  <c:v>41.833225806451608</c:v>
                </c:pt>
                <c:pt idx="995">
                  <c:v>41.715161290322584</c:v>
                </c:pt>
                <c:pt idx="996">
                  <c:v>41.71387096774194</c:v>
                </c:pt>
                <c:pt idx="997">
                  <c:v>41.6925806451613</c:v>
                </c:pt>
                <c:pt idx="998">
                  <c:v>41.701612903225808</c:v>
                </c:pt>
                <c:pt idx="999">
                  <c:v>41.716129032258074</c:v>
                </c:pt>
                <c:pt idx="1000">
                  <c:v>41.727419354838716</c:v>
                </c:pt>
                <c:pt idx="1001">
                  <c:v>41.752258064516134</c:v>
                </c:pt>
                <c:pt idx="1002">
                  <c:v>41.829032258064522</c:v>
                </c:pt>
                <c:pt idx="1003">
                  <c:v>41.851290322580653</c:v>
                </c:pt>
                <c:pt idx="1004">
                  <c:v>41.80290322580646</c:v>
                </c:pt>
                <c:pt idx="1005">
                  <c:v>41.813225806451619</c:v>
                </c:pt>
                <c:pt idx="1006">
                  <c:v>41.742903225806458</c:v>
                </c:pt>
                <c:pt idx="1007">
                  <c:v>41.836774193548393</c:v>
                </c:pt>
                <c:pt idx="1008">
                  <c:v>41.815806451612907</c:v>
                </c:pt>
                <c:pt idx="1009">
                  <c:v>41.790645161290328</c:v>
                </c:pt>
                <c:pt idx="1010">
                  <c:v>41.769354838709674</c:v>
                </c:pt>
                <c:pt idx="1011">
                  <c:v>41.762903225806454</c:v>
                </c:pt>
                <c:pt idx="1012">
                  <c:v>41.674516129032263</c:v>
                </c:pt>
                <c:pt idx="1013">
                  <c:v>41.698709677419366</c:v>
                </c:pt>
                <c:pt idx="1014">
                  <c:v>41.64387096774194</c:v>
                </c:pt>
                <c:pt idx="1015">
                  <c:v>41.61354838709677</c:v>
                </c:pt>
                <c:pt idx="1016">
                  <c:v>41.515161290322574</c:v>
                </c:pt>
                <c:pt idx="1017">
                  <c:v>41.591290322580633</c:v>
                </c:pt>
                <c:pt idx="1018">
                  <c:v>41.551935483870949</c:v>
                </c:pt>
                <c:pt idx="1019">
                  <c:v>41.521290322580626</c:v>
                </c:pt>
                <c:pt idx="1020">
                  <c:v>41.566774193548369</c:v>
                </c:pt>
                <c:pt idx="1021">
                  <c:v>41.662903225806438</c:v>
                </c:pt>
                <c:pt idx="1022">
                  <c:v>41.739354838709659</c:v>
                </c:pt>
                <c:pt idx="1023">
                  <c:v>41.646129032258052</c:v>
                </c:pt>
                <c:pt idx="1024">
                  <c:v>41.660645161290311</c:v>
                </c:pt>
                <c:pt idx="1025">
                  <c:v>41.641612903225806</c:v>
                </c:pt>
                <c:pt idx="1026">
                  <c:v>41.759354838709669</c:v>
                </c:pt>
                <c:pt idx="1027">
                  <c:v>41.695806451612903</c:v>
                </c:pt>
                <c:pt idx="1028">
                  <c:v>41.660645161290319</c:v>
                </c:pt>
                <c:pt idx="1029">
                  <c:v>41.634193548387096</c:v>
                </c:pt>
                <c:pt idx="1030">
                  <c:v>41.702580645161284</c:v>
                </c:pt>
                <c:pt idx="1031">
                  <c:v>41.750645161290315</c:v>
                </c:pt>
                <c:pt idx="1032">
                  <c:v>41.773548387096767</c:v>
                </c:pt>
                <c:pt idx="1033">
                  <c:v>41.713225806451611</c:v>
                </c:pt>
                <c:pt idx="1034">
                  <c:v>41.640322580645169</c:v>
                </c:pt>
                <c:pt idx="1035">
                  <c:v>41.683548387096771</c:v>
                </c:pt>
                <c:pt idx="1036">
                  <c:v>41.74</c:v>
                </c:pt>
                <c:pt idx="1037">
                  <c:v>41.770322580645164</c:v>
                </c:pt>
                <c:pt idx="1038">
                  <c:v>41.683548387096778</c:v>
                </c:pt>
                <c:pt idx="1039">
                  <c:v>41.680645161290329</c:v>
                </c:pt>
                <c:pt idx="1040">
                  <c:v>41.649354838709684</c:v>
                </c:pt>
                <c:pt idx="1041">
                  <c:v>41.721935483870972</c:v>
                </c:pt>
                <c:pt idx="1042">
                  <c:v>41.799032258064514</c:v>
                </c:pt>
                <c:pt idx="1043">
                  <c:v>41.917741935483875</c:v>
                </c:pt>
                <c:pt idx="1044">
                  <c:v>41.965806451612892</c:v>
                </c:pt>
                <c:pt idx="1045">
                  <c:v>42.043870967741924</c:v>
                </c:pt>
                <c:pt idx="1046">
                  <c:v>42.169032258064512</c:v>
                </c:pt>
                <c:pt idx="1047">
                  <c:v>42.256129032258059</c:v>
                </c:pt>
                <c:pt idx="1048">
                  <c:v>42.282580645161289</c:v>
                </c:pt>
                <c:pt idx="1049">
                  <c:v>42.308709677419358</c:v>
                </c:pt>
                <c:pt idx="1050">
                  <c:v>42.314516129032256</c:v>
                </c:pt>
                <c:pt idx="1051">
                  <c:v>42.377096774193554</c:v>
                </c:pt>
                <c:pt idx="1052">
                  <c:v>42.402580645161294</c:v>
                </c:pt>
                <c:pt idx="1053">
                  <c:v>42.392903225806457</c:v>
                </c:pt>
                <c:pt idx="1054">
                  <c:v>42.523870967741928</c:v>
                </c:pt>
                <c:pt idx="1055">
                  <c:v>42.609999999999985</c:v>
                </c:pt>
                <c:pt idx="1056">
                  <c:v>42.680645161290315</c:v>
                </c:pt>
                <c:pt idx="1057">
                  <c:v>42.66</c:v>
                </c:pt>
                <c:pt idx="1058">
                  <c:v>42.708709677419343</c:v>
                </c:pt>
                <c:pt idx="1059">
                  <c:v>42.773225806451599</c:v>
                </c:pt>
                <c:pt idx="1060">
                  <c:v>42.883225806451613</c:v>
                </c:pt>
                <c:pt idx="1061">
                  <c:v>42.951935483870969</c:v>
                </c:pt>
                <c:pt idx="1062">
                  <c:v>42.932258064516127</c:v>
                </c:pt>
                <c:pt idx="1063">
                  <c:v>42.938064516129032</c:v>
                </c:pt>
                <c:pt idx="1064">
                  <c:v>43.023548387096774</c:v>
                </c:pt>
                <c:pt idx="1065">
                  <c:v>43.08387096774193</c:v>
                </c:pt>
                <c:pt idx="1066">
                  <c:v>43.078064516129039</c:v>
                </c:pt>
                <c:pt idx="1067">
                  <c:v>43.086451612903232</c:v>
                </c:pt>
                <c:pt idx="1068">
                  <c:v>43.186451612903234</c:v>
                </c:pt>
                <c:pt idx="1069">
                  <c:v>43.286129032258067</c:v>
                </c:pt>
                <c:pt idx="1070">
                  <c:v>43.323870967741939</c:v>
                </c:pt>
                <c:pt idx="1071">
                  <c:v>43.346774193548391</c:v>
                </c:pt>
                <c:pt idx="1072">
                  <c:v>43.371935483870978</c:v>
                </c:pt>
                <c:pt idx="1073">
                  <c:v>43.412580645161285</c:v>
                </c:pt>
                <c:pt idx="1074">
                  <c:v>43.35935483870967</c:v>
                </c:pt>
                <c:pt idx="1075">
                  <c:v>43.404838709677414</c:v>
                </c:pt>
                <c:pt idx="1076">
                  <c:v>43.399032258064508</c:v>
                </c:pt>
                <c:pt idx="1077">
                  <c:v>43.379354838709666</c:v>
                </c:pt>
                <c:pt idx="1078">
                  <c:v>43.445806451612896</c:v>
                </c:pt>
                <c:pt idx="1079">
                  <c:v>43.415806451612902</c:v>
                </c:pt>
                <c:pt idx="1080">
                  <c:v>43.447419354838708</c:v>
                </c:pt>
                <c:pt idx="1081">
                  <c:v>43.487419354838707</c:v>
                </c:pt>
                <c:pt idx="1082">
                  <c:v>43.49258064516129</c:v>
                </c:pt>
                <c:pt idx="1083">
                  <c:v>43.42</c:v>
                </c:pt>
                <c:pt idx="1084">
                  <c:v>43.370322580645158</c:v>
                </c:pt>
                <c:pt idx="1085">
                  <c:v>43.301612903225809</c:v>
                </c:pt>
                <c:pt idx="1086">
                  <c:v>43.270645161290325</c:v>
                </c:pt>
                <c:pt idx="1087">
                  <c:v>43.19903225806452</c:v>
                </c:pt>
                <c:pt idx="1088">
                  <c:v>43.112258064516126</c:v>
                </c:pt>
                <c:pt idx="1089">
                  <c:v>43.116451612903212</c:v>
                </c:pt>
                <c:pt idx="1090">
                  <c:v>42.997741935483859</c:v>
                </c:pt>
                <c:pt idx="1091">
                  <c:v>42.895483870967738</c:v>
                </c:pt>
                <c:pt idx="1092">
                  <c:v>42.761290322580635</c:v>
                </c:pt>
                <c:pt idx="1093">
                  <c:v>42.748709677419349</c:v>
                </c:pt>
                <c:pt idx="1094">
                  <c:v>42.715483870967738</c:v>
                </c:pt>
                <c:pt idx="1095">
                  <c:v>42.61774193548387</c:v>
                </c:pt>
                <c:pt idx="1096">
                  <c:v>42.59870967741935</c:v>
                </c:pt>
                <c:pt idx="1097">
                  <c:v>42.568709677419356</c:v>
                </c:pt>
                <c:pt idx="1098">
                  <c:v>42.486451612903231</c:v>
                </c:pt>
                <c:pt idx="1099">
                  <c:v>42.408064516129045</c:v>
                </c:pt>
                <c:pt idx="1100">
                  <c:v>42.325483870967751</c:v>
                </c:pt>
                <c:pt idx="1101">
                  <c:v>42.264838709677427</c:v>
                </c:pt>
                <c:pt idx="1102">
                  <c:v>42.269354838709688</c:v>
                </c:pt>
                <c:pt idx="1103">
                  <c:v>42.176451612903236</c:v>
                </c:pt>
                <c:pt idx="1104">
                  <c:v>42.105806451612906</c:v>
                </c:pt>
                <c:pt idx="1105">
                  <c:v>42.153870967741945</c:v>
                </c:pt>
                <c:pt idx="1106">
                  <c:v>42.039354838709691</c:v>
                </c:pt>
                <c:pt idx="1107">
                  <c:v>41.999032258064524</c:v>
                </c:pt>
                <c:pt idx="1108">
                  <c:v>41.89161290322582</c:v>
                </c:pt>
                <c:pt idx="1109">
                  <c:v>41.851290322580645</c:v>
                </c:pt>
                <c:pt idx="1110">
                  <c:v>41.758064516129032</c:v>
                </c:pt>
                <c:pt idx="1111">
                  <c:v>41.721612903225804</c:v>
                </c:pt>
                <c:pt idx="1112">
                  <c:v>41.630322580645164</c:v>
                </c:pt>
                <c:pt idx="1113">
                  <c:v>41.550322580645165</c:v>
                </c:pt>
                <c:pt idx="1114">
                  <c:v>41.599677419354833</c:v>
                </c:pt>
                <c:pt idx="1115">
                  <c:v>41.67</c:v>
                </c:pt>
                <c:pt idx="1116">
                  <c:v>41.63419354838711</c:v>
                </c:pt>
                <c:pt idx="1117">
                  <c:v>41.620000000000012</c:v>
                </c:pt>
                <c:pt idx="1118">
                  <c:v>41.643548387096779</c:v>
                </c:pt>
                <c:pt idx="1119">
                  <c:v>41.730967741935487</c:v>
                </c:pt>
                <c:pt idx="1120">
                  <c:v>41.707741935483874</c:v>
                </c:pt>
                <c:pt idx="1121">
                  <c:v>41.730000000000004</c:v>
                </c:pt>
                <c:pt idx="1122">
                  <c:v>41.713548387096772</c:v>
                </c:pt>
                <c:pt idx="1123">
                  <c:v>41.77129032258064</c:v>
                </c:pt>
                <c:pt idx="1124">
                  <c:v>41.737419354838707</c:v>
                </c:pt>
                <c:pt idx="1125">
                  <c:v>41.829354838709676</c:v>
                </c:pt>
                <c:pt idx="1126">
                  <c:v>41.856774193548389</c:v>
                </c:pt>
                <c:pt idx="1127">
                  <c:v>41.871612903225817</c:v>
                </c:pt>
                <c:pt idx="1128">
                  <c:v>41.892258064516128</c:v>
                </c:pt>
                <c:pt idx="1129">
                  <c:v>41.923225806451619</c:v>
                </c:pt>
                <c:pt idx="1130">
                  <c:v>41.880000000000017</c:v>
                </c:pt>
                <c:pt idx="1131">
                  <c:v>41.914193548387104</c:v>
                </c:pt>
                <c:pt idx="1132">
                  <c:v>41.95870967741935</c:v>
                </c:pt>
                <c:pt idx="1133">
                  <c:v>41.990645161290324</c:v>
                </c:pt>
                <c:pt idx="1134">
                  <c:v>42.00322580645161</c:v>
                </c:pt>
                <c:pt idx="1135">
                  <c:v>41.94580645161291</c:v>
                </c:pt>
                <c:pt idx="1136">
                  <c:v>41.908709677419353</c:v>
                </c:pt>
                <c:pt idx="1137">
                  <c:v>41.91</c:v>
                </c:pt>
                <c:pt idx="1138">
                  <c:v>41.89806451612904</c:v>
                </c:pt>
                <c:pt idx="1139">
                  <c:v>41.924838709677424</c:v>
                </c:pt>
                <c:pt idx="1140">
                  <c:v>41.874193548387105</c:v>
                </c:pt>
                <c:pt idx="1141">
                  <c:v>41.939354838709683</c:v>
                </c:pt>
                <c:pt idx="1142">
                  <c:v>41.882580645161298</c:v>
                </c:pt>
                <c:pt idx="1143">
                  <c:v>41.891290322580652</c:v>
                </c:pt>
                <c:pt idx="1144">
                  <c:v>41.909677419354843</c:v>
                </c:pt>
                <c:pt idx="1145">
                  <c:v>41.79451612903226</c:v>
                </c:pt>
                <c:pt idx="1146">
                  <c:v>41.77225806451613</c:v>
                </c:pt>
                <c:pt idx="1147">
                  <c:v>41.758387096774193</c:v>
                </c:pt>
                <c:pt idx="1148">
                  <c:v>41.782580645161296</c:v>
                </c:pt>
                <c:pt idx="1149">
                  <c:v>41.758387096774186</c:v>
                </c:pt>
                <c:pt idx="1150">
                  <c:v>41.716774193548389</c:v>
                </c:pt>
                <c:pt idx="1151">
                  <c:v>41.77548387096774</c:v>
                </c:pt>
                <c:pt idx="1152">
                  <c:v>41.778387096774189</c:v>
                </c:pt>
                <c:pt idx="1153">
                  <c:v>41.813225806451605</c:v>
                </c:pt>
                <c:pt idx="1154">
                  <c:v>41.829354838709669</c:v>
                </c:pt>
                <c:pt idx="1155">
                  <c:v>41.885161290322579</c:v>
                </c:pt>
                <c:pt idx="1156">
                  <c:v>41.795806451612904</c:v>
                </c:pt>
                <c:pt idx="1157">
                  <c:v>41.771612903225815</c:v>
                </c:pt>
                <c:pt idx="1158">
                  <c:v>41.767096774193554</c:v>
                </c:pt>
                <c:pt idx="1159">
                  <c:v>41.805483870967748</c:v>
                </c:pt>
                <c:pt idx="1160">
                  <c:v>41.769677419354842</c:v>
                </c:pt>
                <c:pt idx="1161">
                  <c:v>41.813225806451619</c:v>
                </c:pt>
                <c:pt idx="1162">
                  <c:v>41.77129032258064</c:v>
                </c:pt>
                <c:pt idx="1163">
                  <c:v>41.713548387096772</c:v>
                </c:pt>
                <c:pt idx="1164">
                  <c:v>41.648387096774201</c:v>
                </c:pt>
                <c:pt idx="1165">
                  <c:v>41.615483870967743</c:v>
                </c:pt>
                <c:pt idx="1166">
                  <c:v>41.686774193548388</c:v>
                </c:pt>
                <c:pt idx="1167">
                  <c:v>41.608709677419348</c:v>
                </c:pt>
                <c:pt idx="1168">
                  <c:v>41.617419354838695</c:v>
                </c:pt>
                <c:pt idx="1169">
                  <c:v>41.622580645161271</c:v>
                </c:pt>
                <c:pt idx="1170">
                  <c:v>41.676774193548376</c:v>
                </c:pt>
                <c:pt idx="1171">
                  <c:v>41.705483870967733</c:v>
                </c:pt>
                <c:pt idx="1172">
                  <c:v>41.706774193548384</c:v>
                </c:pt>
                <c:pt idx="1173">
                  <c:v>41.725161290322582</c:v>
                </c:pt>
                <c:pt idx="1174">
                  <c:v>41.770967741935486</c:v>
                </c:pt>
                <c:pt idx="1175">
                  <c:v>41.723870967741938</c:v>
                </c:pt>
                <c:pt idx="1176">
                  <c:v>41.829032258064515</c:v>
                </c:pt>
                <c:pt idx="1177">
                  <c:v>41.818709677419349</c:v>
                </c:pt>
                <c:pt idx="1178">
                  <c:v>41.846451612903223</c:v>
                </c:pt>
                <c:pt idx="1179">
                  <c:v>41.857096774193543</c:v>
                </c:pt>
                <c:pt idx="1180">
                  <c:v>41.824516129032254</c:v>
                </c:pt>
                <c:pt idx="1181">
                  <c:v>41.832903225806447</c:v>
                </c:pt>
                <c:pt idx="1182">
                  <c:v>41.734193548387097</c:v>
                </c:pt>
                <c:pt idx="1183">
                  <c:v>41.802258064516124</c:v>
                </c:pt>
                <c:pt idx="1184">
                  <c:v>41.745161290322585</c:v>
                </c:pt>
                <c:pt idx="1185">
                  <c:v>41.777096774193545</c:v>
                </c:pt>
                <c:pt idx="1186">
                  <c:v>41.70000000000001</c:v>
                </c:pt>
                <c:pt idx="1187">
                  <c:v>41.775483870967747</c:v>
                </c:pt>
                <c:pt idx="1188">
                  <c:v>41.820000000000007</c:v>
                </c:pt>
                <c:pt idx="1189">
                  <c:v>41.822258064516134</c:v>
                </c:pt>
                <c:pt idx="1190">
                  <c:v>41.792580645161301</c:v>
                </c:pt>
                <c:pt idx="1191">
                  <c:v>41.840000000000011</c:v>
                </c:pt>
                <c:pt idx="1192">
                  <c:v>41.820000000000014</c:v>
                </c:pt>
                <c:pt idx="1193">
                  <c:v>41.786774193548396</c:v>
                </c:pt>
                <c:pt idx="1194">
                  <c:v>41.834516129032259</c:v>
                </c:pt>
                <c:pt idx="1195">
                  <c:v>41.890967741935491</c:v>
                </c:pt>
                <c:pt idx="1196">
                  <c:v>41.909354838709682</c:v>
                </c:pt>
                <c:pt idx="1197">
                  <c:v>41.929032258064524</c:v>
                </c:pt>
                <c:pt idx="1198">
                  <c:v>42.026129032258069</c:v>
                </c:pt>
                <c:pt idx="1199">
                  <c:v>42.05612903225807</c:v>
                </c:pt>
                <c:pt idx="1200">
                  <c:v>42.090967741935486</c:v>
                </c:pt>
                <c:pt idx="1201">
                  <c:v>42.097741935483874</c:v>
                </c:pt>
                <c:pt idx="1202">
                  <c:v>42.023548387096781</c:v>
                </c:pt>
                <c:pt idx="1203">
                  <c:v>42.012258064516132</c:v>
                </c:pt>
                <c:pt idx="1204">
                  <c:v>41.982258064516138</c:v>
                </c:pt>
                <c:pt idx="1205">
                  <c:v>42.000322580645168</c:v>
                </c:pt>
                <c:pt idx="1206">
                  <c:v>42.002580645161295</c:v>
                </c:pt>
                <c:pt idx="1207">
                  <c:v>41.921935483870975</c:v>
                </c:pt>
                <c:pt idx="1208">
                  <c:v>41.925483870967746</c:v>
                </c:pt>
                <c:pt idx="1209">
                  <c:v>41.961935483870974</c:v>
                </c:pt>
                <c:pt idx="1210">
                  <c:v>41.848709677419357</c:v>
                </c:pt>
                <c:pt idx="1211">
                  <c:v>41.957419354838706</c:v>
                </c:pt>
                <c:pt idx="1212">
                  <c:v>42.004838709677422</c:v>
                </c:pt>
                <c:pt idx="1213">
                  <c:v>42.107419354838711</c:v>
                </c:pt>
                <c:pt idx="1214">
                  <c:v>42.108387096774194</c:v>
                </c:pt>
                <c:pt idx="1215">
                  <c:v>42.194838709677427</c:v>
                </c:pt>
                <c:pt idx="1216">
                  <c:v>42.157096774193562</c:v>
                </c:pt>
                <c:pt idx="1217">
                  <c:v>42.171612903225814</c:v>
                </c:pt>
                <c:pt idx="1218">
                  <c:v>42.062258064516129</c:v>
                </c:pt>
                <c:pt idx="1219">
                  <c:v>42.076129032258059</c:v>
                </c:pt>
                <c:pt idx="1220">
                  <c:v>42.068064516129041</c:v>
                </c:pt>
                <c:pt idx="1221">
                  <c:v>42.028064516129035</c:v>
                </c:pt>
                <c:pt idx="1222">
                  <c:v>41.955483870967747</c:v>
                </c:pt>
                <c:pt idx="1223">
                  <c:v>41.976129032258072</c:v>
                </c:pt>
                <c:pt idx="1224">
                  <c:v>42.07</c:v>
                </c:pt>
                <c:pt idx="1225">
                  <c:v>42.054838709677426</c:v>
                </c:pt>
                <c:pt idx="1226">
                  <c:v>42.005806451612905</c:v>
                </c:pt>
                <c:pt idx="1227">
                  <c:v>42.070322580645161</c:v>
                </c:pt>
                <c:pt idx="1228">
                  <c:v>41.962258064516128</c:v>
                </c:pt>
                <c:pt idx="1229">
                  <c:v>41.961290322580638</c:v>
                </c:pt>
                <c:pt idx="1230">
                  <c:v>41.962258064516128</c:v>
                </c:pt>
                <c:pt idx="1231">
                  <c:v>41.974516129032253</c:v>
                </c:pt>
                <c:pt idx="1232">
                  <c:v>41.945161290322574</c:v>
                </c:pt>
                <c:pt idx="1233">
                  <c:v>42.052580645161285</c:v>
                </c:pt>
                <c:pt idx="1234">
                  <c:v>42.123548387096761</c:v>
                </c:pt>
                <c:pt idx="1235">
                  <c:v>42.251935483870952</c:v>
                </c:pt>
                <c:pt idx="1236">
                  <c:v>42.261290322580635</c:v>
                </c:pt>
                <c:pt idx="1237">
                  <c:v>42.399677419354823</c:v>
                </c:pt>
                <c:pt idx="1238">
                  <c:v>42.519677419354828</c:v>
                </c:pt>
                <c:pt idx="1239">
                  <c:v>42.57032258064514</c:v>
                </c:pt>
                <c:pt idx="1240">
                  <c:v>42.558709677419337</c:v>
                </c:pt>
                <c:pt idx="1241">
                  <c:v>42.619999999999983</c:v>
                </c:pt>
                <c:pt idx="1242">
                  <c:v>42.583870967741916</c:v>
                </c:pt>
                <c:pt idx="1243">
                  <c:v>42.619677419354822</c:v>
                </c:pt>
                <c:pt idx="1244">
                  <c:v>42.604516129032248</c:v>
                </c:pt>
                <c:pt idx="1245">
                  <c:v>42.584516129032252</c:v>
                </c:pt>
                <c:pt idx="1246">
                  <c:v>42.61258064516128</c:v>
                </c:pt>
                <c:pt idx="1247">
                  <c:v>42.595483870967733</c:v>
                </c:pt>
                <c:pt idx="1248">
                  <c:v>42.650645161290328</c:v>
                </c:pt>
                <c:pt idx="1249">
                  <c:v>42.789354838709684</c:v>
                </c:pt>
                <c:pt idx="1250">
                  <c:v>42.799677419354843</c:v>
                </c:pt>
                <c:pt idx="1251">
                  <c:v>42.861612903225804</c:v>
                </c:pt>
                <c:pt idx="1252">
                  <c:v>42.957419354838713</c:v>
                </c:pt>
                <c:pt idx="1253">
                  <c:v>43.01387096774193</c:v>
                </c:pt>
                <c:pt idx="1254">
                  <c:v>43.081612903225803</c:v>
                </c:pt>
                <c:pt idx="1255">
                  <c:v>43.086129032258057</c:v>
                </c:pt>
                <c:pt idx="1256">
                  <c:v>43.12903225806452</c:v>
                </c:pt>
                <c:pt idx="1257">
                  <c:v>43.179677419354839</c:v>
                </c:pt>
                <c:pt idx="1258">
                  <c:v>43.243548387096766</c:v>
                </c:pt>
                <c:pt idx="1259">
                  <c:v>43.372258064516117</c:v>
                </c:pt>
                <c:pt idx="1260">
                  <c:v>43.381612903225808</c:v>
                </c:pt>
                <c:pt idx="1261">
                  <c:v>43.471290322580643</c:v>
                </c:pt>
                <c:pt idx="1262">
                  <c:v>43.51387096774193</c:v>
                </c:pt>
                <c:pt idx="1263">
                  <c:v>43.577741935483857</c:v>
                </c:pt>
                <c:pt idx="1264">
                  <c:v>43.591935483870955</c:v>
                </c:pt>
                <c:pt idx="1265">
                  <c:v>43.543548387096763</c:v>
                </c:pt>
                <c:pt idx="1266">
                  <c:v>43.55419354838709</c:v>
                </c:pt>
                <c:pt idx="1267">
                  <c:v>43.59451612903225</c:v>
                </c:pt>
                <c:pt idx="1268">
                  <c:v>43.563870967741941</c:v>
                </c:pt>
                <c:pt idx="1269">
                  <c:v>43.577096774193556</c:v>
                </c:pt>
                <c:pt idx="1270">
                  <c:v>43.557419354838714</c:v>
                </c:pt>
                <c:pt idx="1271">
                  <c:v>43.597741935483874</c:v>
                </c:pt>
                <c:pt idx="1272">
                  <c:v>43.648709677419362</c:v>
                </c:pt>
                <c:pt idx="1273">
                  <c:v>43.700322580645164</c:v>
                </c:pt>
                <c:pt idx="1274">
                  <c:v>43.696774193548393</c:v>
                </c:pt>
                <c:pt idx="1275">
                  <c:v>43.660000000000004</c:v>
                </c:pt>
                <c:pt idx="1276">
                  <c:v>43.59129032258064</c:v>
                </c:pt>
                <c:pt idx="1277">
                  <c:v>43.510967741935481</c:v>
                </c:pt>
                <c:pt idx="1278">
                  <c:v>43.496129032258061</c:v>
                </c:pt>
                <c:pt idx="1279">
                  <c:v>43.485161290322587</c:v>
                </c:pt>
                <c:pt idx="1280">
                  <c:v>43.417741935483875</c:v>
                </c:pt>
                <c:pt idx="1281">
                  <c:v>43.443225806451608</c:v>
                </c:pt>
                <c:pt idx="1282">
                  <c:v>43.434516129032254</c:v>
                </c:pt>
                <c:pt idx="1283">
                  <c:v>43.341935483870969</c:v>
                </c:pt>
                <c:pt idx="1284">
                  <c:v>43.342580645161284</c:v>
                </c:pt>
                <c:pt idx="1285">
                  <c:v>43.277741935483867</c:v>
                </c:pt>
                <c:pt idx="1286">
                  <c:v>43.233225806451614</c:v>
                </c:pt>
                <c:pt idx="1287">
                  <c:v>43.26161290322581</c:v>
                </c:pt>
                <c:pt idx="1288">
                  <c:v>43.256774193548388</c:v>
                </c:pt>
                <c:pt idx="1289">
                  <c:v>43.196451612903225</c:v>
                </c:pt>
                <c:pt idx="1290">
                  <c:v>43.082580645161279</c:v>
                </c:pt>
                <c:pt idx="1291">
                  <c:v>43.086451612903218</c:v>
                </c:pt>
                <c:pt idx="1292">
                  <c:v>43.040645161290314</c:v>
                </c:pt>
                <c:pt idx="1293">
                  <c:v>42.95548387096774</c:v>
                </c:pt>
                <c:pt idx="1294">
                  <c:v>42.916129032258063</c:v>
                </c:pt>
                <c:pt idx="1295">
                  <c:v>42.803548387096768</c:v>
                </c:pt>
                <c:pt idx="1296">
                  <c:v>42.750322580645154</c:v>
                </c:pt>
                <c:pt idx="1297">
                  <c:v>42.670645161290317</c:v>
                </c:pt>
                <c:pt idx="1298">
                  <c:v>42.591290322580633</c:v>
                </c:pt>
                <c:pt idx="1299">
                  <c:v>42.510967741935481</c:v>
                </c:pt>
                <c:pt idx="1300">
                  <c:v>42.46</c:v>
                </c:pt>
                <c:pt idx="1301">
                  <c:v>42.401935483870972</c:v>
                </c:pt>
                <c:pt idx="1302">
                  <c:v>42.333548387096769</c:v>
                </c:pt>
                <c:pt idx="1303">
                  <c:v>42.284516129032255</c:v>
                </c:pt>
                <c:pt idx="1304">
                  <c:v>42.26483870967742</c:v>
                </c:pt>
                <c:pt idx="1305">
                  <c:v>42.11677419354838</c:v>
                </c:pt>
                <c:pt idx="1306">
                  <c:v>42.09548387096774</c:v>
                </c:pt>
                <c:pt idx="1307">
                  <c:v>42.195483870967749</c:v>
                </c:pt>
                <c:pt idx="1308">
                  <c:v>42.198064516129037</c:v>
                </c:pt>
                <c:pt idx="1309">
                  <c:v>42.269354838709674</c:v>
                </c:pt>
                <c:pt idx="1310">
                  <c:v>42.225806451612904</c:v>
                </c:pt>
                <c:pt idx="1311">
                  <c:v>42.274193548387096</c:v>
                </c:pt>
                <c:pt idx="1312">
                  <c:v>42.280645161290316</c:v>
                </c:pt>
                <c:pt idx="1313">
                  <c:v>42.254193548387093</c:v>
                </c:pt>
                <c:pt idx="1314">
                  <c:v>42.252903225806442</c:v>
                </c:pt>
                <c:pt idx="1315">
                  <c:v>42.224838709677414</c:v>
                </c:pt>
                <c:pt idx="1316">
                  <c:v>42.288709677419348</c:v>
                </c:pt>
                <c:pt idx="1317">
                  <c:v>42.311612903225807</c:v>
                </c:pt>
                <c:pt idx="1318">
                  <c:v>42.300967741935487</c:v>
                </c:pt>
                <c:pt idx="1319">
                  <c:v>42.305806451612909</c:v>
                </c:pt>
                <c:pt idx="1320">
                  <c:v>42.338064516129037</c:v>
                </c:pt>
                <c:pt idx="1321">
                  <c:v>42.341935483870969</c:v>
                </c:pt>
                <c:pt idx="1322">
                  <c:v>42.347741935483874</c:v>
                </c:pt>
                <c:pt idx="1323">
                  <c:v>42.35387096774194</c:v>
                </c:pt>
                <c:pt idx="1324">
                  <c:v>42.40870967741936</c:v>
                </c:pt>
                <c:pt idx="1325">
                  <c:v>42.442580645161293</c:v>
                </c:pt>
                <c:pt idx="1326">
                  <c:v>42.441935483870978</c:v>
                </c:pt>
                <c:pt idx="1327">
                  <c:v>42.534193548387101</c:v>
                </c:pt>
                <c:pt idx="1328">
                  <c:v>42.505806451612905</c:v>
                </c:pt>
                <c:pt idx="1329">
                  <c:v>42.452580645161291</c:v>
                </c:pt>
                <c:pt idx="1330">
                  <c:v>42.481612903225795</c:v>
                </c:pt>
                <c:pt idx="1331">
                  <c:v>42.405806451612897</c:v>
                </c:pt>
                <c:pt idx="1332">
                  <c:v>42.485806451612888</c:v>
                </c:pt>
                <c:pt idx="1333">
                  <c:v>42.548064516129024</c:v>
                </c:pt>
                <c:pt idx="1334">
                  <c:v>42.547096774193534</c:v>
                </c:pt>
                <c:pt idx="1335">
                  <c:v>42.43322580645161</c:v>
                </c:pt>
                <c:pt idx="1336">
                  <c:v>42.506129032258059</c:v>
                </c:pt>
                <c:pt idx="1337">
                  <c:v>42.493548387096773</c:v>
                </c:pt>
                <c:pt idx="1338">
                  <c:v>42.39290322580645</c:v>
                </c:pt>
                <c:pt idx="1339">
                  <c:v>42.350645161290316</c:v>
                </c:pt>
                <c:pt idx="1340">
                  <c:v>42.32548387096773</c:v>
                </c:pt>
                <c:pt idx="1341">
                  <c:v>42.366451612903212</c:v>
                </c:pt>
                <c:pt idx="1342">
                  <c:v>42.259354838709669</c:v>
                </c:pt>
                <c:pt idx="1343">
                  <c:v>42.218709677419348</c:v>
                </c:pt>
                <c:pt idx="1344">
                  <c:v>42.239677419354834</c:v>
                </c:pt>
                <c:pt idx="1345">
                  <c:v>42.199999999999996</c:v>
                </c:pt>
                <c:pt idx="1346">
                  <c:v>42.240645161290324</c:v>
                </c:pt>
                <c:pt idx="1347">
                  <c:v>42.120645161290319</c:v>
                </c:pt>
                <c:pt idx="1348">
                  <c:v>42.11677419354838</c:v>
                </c:pt>
                <c:pt idx="1349">
                  <c:v>42.016129032258064</c:v>
                </c:pt>
                <c:pt idx="1350">
                  <c:v>41.98516129032258</c:v>
                </c:pt>
                <c:pt idx="1351">
                  <c:v>41.878387096774198</c:v>
                </c:pt>
                <c:pt idx="1352">
                  <c:v>41.948387096774191</c:v>
                </c:pt>
                <c:pt idx="1353">
                  <c:v>41.850645161290309</c:v>
                </c:pt>
                <c:pt idx="1354">
                  <c:v>41.77548387096774</c:v>
                </c:pt>
                <c:pt idx="1355">
                  <c:v>41.771935483870962</c:v>
                </c:pt>
                <c:pt idx="1356">
                  <c:v>41.747741935483873</c:v>
                </c:pt>
                <c:pt idx="1357">
                  <c:v>41.721935483870958</c:v>
                </c:pt>
                <c:pt idx="1358">
                  <c:v>41.658064516129031</c:v>
                </c:pt>
                <c:pt idx="1359">
                  <c:v>41.640322580645162</c:v>
                </c:pt>
                <c:pt idx="1360">
                  <c:v>41.722580645161294</c:v>
                </c:pt>
                <c:pt idx="1361">
                  <c:v>41.729677419354836</c:v>
                </c:pt>
                <c:pt idx="1362">
                  <c:v>41.825483870967737</c:v>
                </c:pt>
                <c:pt idx="1363">
                  <c:v>41.717419354838718</c:v>
                </c:pt>
                <c:pt idx="1364">
                  <c:v>41.74</c:v>
                </c:pt>
                <c:pt idx="1365">
                  <c:v>41.71387096774194</c:v>
                </c:pt>
                <c:pt idx="1366">
                  <c:v>41.71387096774194</c:v>
                </c:pt>
                <c:pt idx="1367">
                  <c:v>41.713225806451611</c:v>
                </c:pt>
                <c:pt idx="1368">
                  <c:v>41.730645161290312</c:v>
                </c:pt>
                <c:pt idx="1369">
                  <c:v>41.746451612903222</c:v>
                </c:pt>
                <c:pt idx="1370">
                  <c:v>41.750645161290315</c:v>
                </c:pt>
                <c:pt idx="1371">
                  <c:v>41.719677419354838</c:v>
                </c:pt>
                <c:pt idx="1372">
                  <c:v>41.678709677419356</c:v>
                </c:pt>
                <c:pt idx="1373">
                  <c:v>41.754193548387093</c:v>
                </c:pt>
                <c:pt idx="1374">
                  <c:v>41.696451612903225</c:v>
                </c:pt>
                <c:pt idx="1375">
                  <c:v>41.645806451612906</c:v>
                </c:pt>
                <c:pt idx="1376">
                  <c:v>41.747741935483873</c:v>
                </c:pt>
                <c:pt idx="1377">
                  <c:v>41.744516129032256</c:v>
                </c:pt>
                <c:pt idx="1378">
                  <c:v>41.862258064516119</c:v>
                </c:pt>
                <c:pt idx="1379">
                  <c:v>41.895806451612906</c:v>
                </c:pt>
                <c:pt idx="1380">
                  <c:v>42.021935483870969</c:v>
                </c:pt>
                <c:pt idx="1381">
                  <c:v>41.944838709677427</c:v>
                </c:pt>
                <c:pt idx="1382">
                  <c:v>41.971935483870972</c:v>
                </c:pt>
                <c:pt idx="1383">
                  <c:v>41.976129032258072</c:v>
                </c:pt>
                <c:pt idx="1384">
                  <c:v>42.016774193548386</c:v>
                </c:pt>
                <c:pt idx="1385">
                  <c:v>42.022580645161298</c:v>
                </c:pt>
                <c:pt idx="1386">
                  <c:v>42.000322580645161</c:v>
                </c:pt>
                <c:pt idx="1387">
                  <c:v>41.930322580645168</c:v>
                </c:pt>
                <c:pt idx="1388">
                  <c:v>41.960967741935491</c:v>
                </c:pt>
                <c:pt idx="1389">
                  <c:v>41.979677419354836</c:v>
                </c:pt>
                <c:pt idx="1390">
                  <c:v>42.011290322580642</c:v>
                </c:pt>
                <c:pt idx="1391">
                  <c:v>41.912258064516131</c:v>
                </c:pt>
                <c:pt idx="1392">
                  <c:v>41.892258064516128</c:v>
                </c:pt>
                <c:pt idx="1393">
                  <c:v>41.873548387096768</c:v>
                </c:pt>
                <c:pt idx="1394">
                  <c:v>41.905806451612904</c:v>
                </c:pt>
                <c:pt idx="1395">
                  <c:v>41.906774193548387</c:v>
                </c:pt>
                <c:pt idx="1396">
                  <c:v>41.921612903225807</c:v>
                </c:pt>
                <c:pt idx="1397">
                  <c:v>42.014516129032259</c:v>
                </c:pt>
                <c:pt idx="1398">
                  <c:v>42.036129032258067</c:v>
                </c:pt>
                <c:pt idx="1399">
                  <c:v>41.99258064516129</c:v>
                </c:pt>
                <c:pt idx="1400">
                  <c:v>42.017741935483869</c:v>
                </c:pt>
                <c:pt idx="1401">
                  <c:v>42.109677419354831</c:v>
                </c:pt>
                <c:pt idx="1402">
                  <c:v>42.097096774193545</c:v>
                </c:pt>
                <c:pt idx="1403">
                  <c:v>42.141935483870959</c:v>
                </c:pt>
                <c:pt idx="1404">
                  <c:v>42.059677419354827</c:v>
                </c:pt>
                <c:pt idx="1405">
                  <c:v>42.105806451612885</c:v>
                </c:pt>
                <c:pt idx="1406">
                  <c:v>42.076774193548381</c:v>
                </c:pt>
                <c:pt idx="1407">
                  <c:v>42.064193548387088</c:v>
                </c:pt>
                <c:pt idx="1408">
                  <c:v>42.00322580645161</c:v>
                </c:pt>
                <c:pt idx="1409">
                  <c:v>41.94</c:v>
                </c:pt>
                <c:pt idx="1410">
                  <c:v>41.857741935483872</c:v>
                </c:pt>
                <c:pt idx="1411">
                  <c:v>41.809677419354841</c:v>
                </c:pt>
                <c:pt idx="1412">
                  <c:v>41.806451612903224</c:v>
                </c:pt>
                <c:pt idx="1413">
                  <c:v>41.80516129032258</c:v>
                </c:pt>
                <c:pt idx="1414">
                  <c:v>41.710322580645162</c:v>
                </c:pt>
                <c:pt idx="1415">
                  <c:v>41.674838709677417</c:v>
                </c:pt>
                <c:pt idx="1416">
                  <c:v>41.677096774193551</c:v>
                </c:pt>
                <c:pt idx="1417">
                  <c:v>41.650967741935482</c:v>
                </c:pt>
                <c:pt idx="1418">
                  <c:v>41.694193548387098</c:v>
                </c:pt>
                <c:pt idx="1419">
                  <c:v>41.77548387096774</c:v>
                </c:pt>
                <c:pt idx="1420">
                  <c:v>41.750322580645154</c:v>
                </c:pt>
                <c:pt idx="1421">
                  <c:v>41.732903225806446</c:v>
                </c:pt>
                <c:pt idx="1422">
                  <c:v>41.779999999999994</c:v>
                </c:pt>
                <c:pt idx="1423">
                  <c:v>41.854516129032248</c:v>
                </c:pt>
                <c:pt idx="1424">
                  <c:v>41.856451612903214</c:v>
                </c:pt>
                <c:pt idx="1425">
                  <c:v>41.870967741935473</c:v>
                </c:pt>
                <c:pt idx="1426">
                  <c:v>41.813548387096773</c:v>
                </c:pt>
                <c:pt idx="1427">
                  <c:v>41.83709677419354</c:v>
                </c:pt>
                <c:pt idx="1428">
                  <c:v>41.768709677419359</c:v>
                </c:pt>
                <c:pt idx="1429">
                  <c:v>41.679032258064524</c:v>
                </c:pt>
                <c:pt idx="1430">
                  <c:v>41.754516129032261</c:v>
                </c:pt>
                <c:pt idx="1431">
                  <c:v>41.75096774193549</c:v>
                </c:pt>
                <c:pt idx="1432">
                  <c:v>41.712258064516135</c:v>
                </c:pt>
                <c:pt idx="1433">
                  <c:v>41.705483870967747</c:v>
                </c:pt>
                <c:pt idx="1434">
                  <c:v>41.657741935483884</c:v>
                </c:pt>
                <c:pt idx="1435">
                  <c:v>41.693548387096783</c:v>
                </c:pt>
                <c:pt idx="1436">
                  <c:v>41.737741935483882</c:v>
                </c:pt>
                <c:pt idx="1437">
                  <c:v>41.772258064516137</c:v>
                </c:pt>
                <c:pt idx="1438">
                  <c:v>41.726129032258072</c:v>
                </c:pt>
                <c:pt idx="1439">
                  <c:v>41.83483870967742</c:v>
                </c:pt>
                <c:pt idx="1440">
                  <c:v>41.84870967741935</c:v>
                </c:pt>
                <c:pt idx="1441">
                  <c:v>41.875483870967734</c:v>
                </c:pt>
                <c:pt idx="1442">
                  <c:v>41.838387096774184</c:v>
                </c:pt>
                <c:pt idx="1443">
                  <c:v>41.95870967741935</c:v>
                </c:pt>
                <c:pt idx="1444">
                  <c:v>41.975483870967736</c:v>
                </c:pt>
                <c:pt idx="1445">
                  <c:v>41.990967741935478</c:v>
                </c:pt>
                <c:pt idx="1446">
                  <c:v>41.975161290322575</c:v>
                </c:pt>
                <c:pt idx="1447">
                  <c:v>41.980645161290326</c:v>
                </c:pt>
                <c:pt idx="1448">
                  <c:v>41.982258064516131</c:v>
                </c:pt>
                <c:pt idx="1449">
                  <c:v>41.98516129032258</c:v>
                </c:pt>
                <c:pt idx="1450">
                  <c:v>41.987096774193553</c:v>
                </c:pt>
                <c:pt idx="1451">
                  <c:v>42.017096774193554</c:v>
                </c:pt>
                <c:pt idx="1452">
                  <c:v>42.033225806451618</c:v>
                </c:pt>
                <c:pt idx="1453">
                  <c:v>42.087419354838708</c:v>
                </c:pt>
                <c:pt idx="1454">
                  <c:v>42.042903225806448</c:v>
                </c:pt>
                <c:pt idx="1455">
                  <c:v>42.000000000000007</c:v>
                </c:pt>
                <c:pt idx="1456">
                  <c:v>41.96387096774194</c:v>
                </c:pt>
                <c:pt idx="1457">
                  <c:v>41.927419354838712</c:v>
                </c:pt>
                <c:pt idx="1458">
                  <c:v>41.960967741935484</c:v>
                </c:pt>
                <c:pt idx="1459">
                  <c:v>42.009354838709676</c:v>
                </c:pt>
                <c:pt idx="1460">
                  <c:v>42.12419354838709</c:v>
                </c:pt>
                <c:pt idx="1461">
                  <c:v>42.125806451612895</c:v>
                </c:pt>
                <c:pt idx="1462">
                  <c:v>42.097419354838699</c:v>
                </c:pt>
                <c:pt idx="1463">
                  <c:v>42.114193548387092</c:v>
                </c:pt>
                <c:pt idx="1464">
                  <c:v>42.143225806451618</c:v>
                </c:pt>
                <c:pt idx="1465">
                  <c:v>42.241290322580653</c:v>
                </c:pt>
                <c:pt idx="1466">
                  <c:v>42.246451612903229</c:v>
                </c:pt>
                <c:pt idx="1467">
                  <c:v>42.232580645161299</c:v>
                </c:pt>
                <c:pt idx="1468">
                  <c:v>42.25516129032259</c:v>
                </c:pt>
                <c:pt idx="1469">
                  <c:v>42.278387096774196</c:v>
                </c:pt>
                <c:pt idx="1470">
                  <c:v>42.19064516129032</c:v>
                </c:pt>
                <c:pt idx="1471">
                  <c:v>42.153870967741931</c:v>
                </c:pt>
                <c:pt idx="1472">
                  <c:v>42.210645161290316</c:v>
                </c:pt>
                <c:pt idx="1473">
                  <c:v>42.219032258064502</c:v>
                </c:pt>
                <c:pt idx="1474">
                  <c:v>42.109032258064495</c:v>
                </c:pt>
                <c:pt idx="1475">
                  <c:v>42.12870967741933</c:v>
                </c:pt>
                <c:pt idx="1476">
                  <c:v>42.149677419354809</c:v>
                </c:pt>
                <c:pt idx="1477">
                  <c:v>42.210645161290316</c:v>
                </c:pt>
                <c:pt idx="1478">
                  <c:v>42.283548387096765</c:v>
                </c:pt>
                <c:pt idx="1479">
                  <c:v>42.312903225806451</c:v>
                </c:pt>
                <c:pt idx="1480">
                  <c:v>42.239032258064512</c:v>
                </c:pt>
                <c:pt idx="1481">
                  <c:v>42.146451612903228</c:v>
                </c:pt>
                <c:pt idx="1482">
                  <c:v>42.186451612903227</c:v>
                </c:pt>
                <c:pt idx="1483">
                  <c:v>42.229677419354843</c:v>
                </c:pt>
                <c:pt idx="1484">
                  <c:v>42.127741935483861</c:v>
                </c:pt>
                <c:pt idx="1485">
                  <c:v>42.148709677419355</c:v>
                </c:pt>
                <c:pt idx="1486">
                  <c:v>42.139677419354832</c:v>
                </c:pt>
                <c:pt idx="1487">
                  <c:v>42.13064516129031</c:v>
                </c:pt>
                <c:pt idx="1488">
                  <c:v>42.203870967741928</c:v>
                </c:pt>
                <c:pt idx="1489">
                  <c:v>42.154838709677414</c:v>
                </c:pt>
                <c:pt idx="1490">
                  <c:v>42.185161290322576</c:v>
                </c:pt>
                <c:pt idx="1491">
                  <c:v>42.121290322580634</c:v>
                </c:pt>
                <c:pt idx="1492">
                  <c:v>42.090967741935479</c:v>
                </c:pt>
                <c:pt idx="1493">
                  <c:v>42.083548387096776</c:v>
                </c:pt>
                <c:pt idx="1494">
                  <c:v>42.094516129032264</c:v>
                </c:pt>
                <c:pt idx="1495">
                  <c:v>42.049032258064521</c:v>
                </c:pt>
                <c:pt idx="1496">
                  <c:v>41.95322580645162</c:v>
                </c:pt>
                <c:pt idx="1497">
                  <c:v>41.99774193548388</c:v>
                </c:pt>
                <c:pt idx="1498">
                  <c:v>41.908709677419367</c:v>
                </c:pt>
                <c:pt idx="1499">
                  <c:v>41.858387096774202</c:v>
                </c:pt>
                <c:pt idx="1500">
                  <c:v>41.900645161290335</c:v>
                </c:pt>
                <c:pt idx="1501">
                  <c:v>41.881290322580654</c:v>
                </c:pt>
                <c:pt idx="1502">
                  <c:v>41.874838709677427</c:v>
                </c:pt>
                <c:pt idx="1503">
                  <c:v>41.799677419354843</c:v>
                </c:pt>
                <c:pt idx="1504">
                  <c:v>41.786129032258067</c:v>
                </c:pt>
                <c:pt idx="1505">
                  <c:v>41.877419354838715</c:v>
                </c:pt>
                <c:pt idx="1506">
                  <c:v>41.88967741935484</c:v>
                </c:pt>
                <c:pt idx="1507">
                  <c:v>41.887741935483881</c:v>
                </c:pt>
                <c:pt idx="1508">
                  <c:v>41.932580645161295</c:v>
                </c:pt>
                <c:pt idx="1509">
                  <c:v>41.916129032258077</c:v>
                </c:pt>
                <c:pt idx="1510">
                  <c:v>41.940645161290327</c:v>
                </c:pt>
                <c:pt idx="1511">
                  <c:v>41.998709677419356</c:v>
                </c:pt>
                <c:pt idx="1512">
                  <c:v>42.087419354838701</c:v>
                </c:pt>
                <c:pt idx="1513">
                  <c:v>42.068387096774188</c:v>
                </c:pt>
                <c:pt idx="1514">
                  <c:v>42.07</c:v>
                </c:pt>
                <c:pt idx="1515">
                  <c:v>42.073548387096771</c:v>
                </c:pt>
                <c:pt idx="1516">
                  <c:v>42.003870967741939</c:v>
                </c:pt>
                <c:pt idx="1517">
                  <c:v>41.94580645161291</c:v>
                </c:pt>
                <c:pt idx="1518">
                  <c:v>41.941290322580649</c:v>
                </c:pt>
                <c:pt idx="1519">
                  <c:v>41.916774193548392</c:v>
                </c:pt>
                <c:pt idx="1520">
                  <c:v>41.868387096774192</c:v>
                </c:pt>
                <c:pt idx="1521">
                  <c:v>41.851290322580645</c:v>
                </c:pt>
                <c:pt idx="1522">
                  <c:v>41.859354838709677</c:v>
                </c:pt>
                <c:pt idx="1523">
                  <c:v>41.902903225806462</c:v>
                </c:pt>
                <c:pt idx="1524">
                  <c:v>41.993225806451612</c:v>
                </c:pt>
                <c:pt idx="1525">
                  <c:v>41.917741935483875</c:v>
                </c:pt>
                <c:pt idx="1526">
                  <c:v>41.909677419354843</c:v>
                </c:pt>
                <c:pt idx="1527">
                  <c:v>41.902580645161287</c:v>
                </c:pt>
                <c:pt idx="1528">
                  <c:v>41.837419354838708</c:v>
                </c:pt>
                <c:pt idx="1529">
                  <c:v>41.927096774193551</c:v>
                </c:pt>
                <c:pt idx="1530">
                  <c:v>41.923870967741941</c:v>
                </c:pt>
                <c:pt idx="1531">
                  <c:v>41.817419354838705</c:v>
                </c:pt>
                <c:pt idx="1532">
                  <c:v>41.839032258064513</c:v>
                </c:pt>
                <c:pt idx="1533">
                  <c:v>41.918064516129029</c:v>
                </c:pt>
                <c:pt idx="1534">
                  <c:v>41.972258064516126</c:v>
                </c:pt>
                <c:pt idx="1535">
                  <c:v>42.009032258064508</c:v>
                </c:pt>
                <c:pt idx="1536">
                  <c:v>41.922903225806451</c:v>
                </c:pt>
                <c:pt idx="1537">
                  <c:v>41.928387096774195</c:v>
                </c:pt>
                <c:pt idx="1538">
                  <c:v>41.910322580645158</c:v>
                </c:pt>
                <c:pt idx="1539">
                  <c:v>41.830322580645152</c:v>
                </c:pt>
                <c:pt idx="1540">
                  <c:v>41.809677419354827</c:v>
                </c:pt>
                <c:pt idx="1541">
                  <c:v>41.797419354838702</c:v>
                </c:pt>
                <c:pt idx="1542">
                  <c:v>41.779999999999994</c:v>
                </c:pt>
                <c:pt idx="1543">
                  <c:v>41.717741935483865</c:v>
                </c:pt>
                <c:pt idx="1544">
                  <c:v>41.629677419354827</c:v>
                </c:pt>
                <c:pt idx="1545">
                  <c:v>41.628064516129022</c:v>
                </c:pt>
                <c:pt idx="1546">
                  <c:v>41.684516129032254</c:v>
                </c:pt>
                <c:pt idx="1547">
                  <c:v>41.758387096774193</c:v>
                </c:pt>
                <c:pt idx="1548">
                  <c:v>41.838709677419352</c:v>
                </c:pt>
                <c:pt idx="1549">
                  <c:v>41.839354838709681</c:v>
                </c:pt>
                <c:pt idx="1550">
                  <c:v>41.8851612903226</c:v>
                </c:pt>
                <c:pt idx="1551">
                  <c:v>41.87354838709679</c:v>
                </c:pt>
                <c:pt idx="1552">
                  <c:v>41.816774193548397</c:v>
                </c:pt>
                <c:pt idx="1553">
                  <c:v>41.84387096774195</c:v>
                </c:pt>
                <c:pt idx="1554">
                  <c:v>41.8151612903226</c:v>
                </c:pt>
                <c:pt idx="1555">
                  <c:v>41.729032258064528</c:v>
                </c:pt>
                <c:pt idx="1556">
                  <c:v>41.747096774193558</c:v>
                </c:pt>
                <c:pt idx="1557">
                  <c:v>41.830967741935488</c:v>
                </c:pt>
                <c:pt idx="1558">
                  <c:v>41.903225806451623</c:v>
                </c:pt>
                <c:pt idx="1559">
                  <c:v>41.918709677419372</c:v>
                </c:pt>
                <c:pt idx="1560">
                  <c:v>41.861612903225812</c:v>
                </c:pt>
                <c:pt idx="1561">
                  <c:v>41.912258064516131</c:v>
                </c:pt>
                <c:pt idx="1562">
                  <c:v>41.93</c:v>
                </c:pt>
                <c:pt idx="1563">
                  <c:v>41.97032258064516</c:v>
                </c:pt>
                <c:pt idx="1564">
                  <c:v>41.900645161290321</c:v>
                </c:pt>
                <c:pt idx="1565">
                  <c:v>41.871935483870963</c:v>
                </c:pt>
                <c:pt idx="1566">
                  <c:v>41.811612903225807</c:v>
                </c:pt>
                <c:pt idx="1567">
                  <c:v>41.885161290322586</c:v>
                </c:pt>
                <c:pt idx="1568">
                  <c:v>41.840967741935486</c:v>
                </c:pt>
                <c:pt idx="1569">
                  <c:v>41.875806451612917</c:v>
                </c:pt>
                <c:pt idx="1570">
                  <c:v>41.882258064516137</c:v>
                </c:pt>
                <c:pt idx="1571">
                  <c:v>41.871290322580656</c:v>
                </c:pt>
                <c:pt idx="1572">
                  <c:v>41.851290322580645</c:v>
                </c:pt>
                <c:pt idx="1573">
                  <c:v>41.810322580645163</c:v>
                </c:pt>
                <c:pt idx="1574">
                  <c:v>41.767419354838708</c:v>
                </c:pt>
                <c:pt idx="1575">
                  <c:v>41.759032258064515</c:v>
                </c:pt>
                <c:pt idx="1576">
                  <c:v>41.724838709677421</c:v>
                </c:pt>
                <c:pt idx="1577">
                  <c:v>41.740967741935478</c:v>
                </c:pt>
                <c:pt idx="1578">
                  <c:v>41.693548387096776</c:v>
                </c:pt>
                <c:pt idx="1579">
                  <c:v>41.643870967741933</c:v>
                </c:pt>
                <c:pt idx="1580">
                  <c:v>41.638064516129027</c:v>
                </c:pt>
                <c:pt idx="1581">
                  <c:v>41.584838709677413</c:v>
                </c:pt>
                <c:pt idx="1582">
                  <c:v>41.654838709677421</c:v>
                </c:pt>
                <c:pt idx="1583">
                  <c:v>41.6274193548387</c:v>
                </c:pt>
                <c:pt idx="1584">
                  <c:v>41.543870967741924</c:v>
                </c:pt>
                <c:pt idx="1585">
                  <c:v>41.581290322580635</c:v>
                </c:pt>
                <c:pt idx="1586">
                  <c:v>41.674516129032249</c:v>
                </c:pt>
                <c:pt idx="1587">
                  <c:v>41.684516129032247</c:v>
                </c:pt>
                <c:pt idx="1588">
                  <c:v>41.638709677419335</c:v>
                </c:pt>
                <c:pt idx="1589">
                  <c:v>41.663225806451607</c:v>
                </c:pt>
                <c:pt idx="1590">
                  <c:v>41.732903225806446</c:v>
                </c:pt>
                <c:pt idx="1591">
                  <c:v>41.798387096774185</c:v>
                </c:pt>
                <c:pt idx="1592">
                  <c:v>41.751935483870959</c:v>
                </c:pt>
                <c:pt idx="1593">
                  <c:v>41.832580645161286</c:v>
                </c:pt>
                <c:pt idx="1594">
                  <c:v>41.809032258064512</c:v>
                </c:pt>
                <c:pt idx="1595">
                  <c:v>41.788709677419348</c:v>
                </c:pt>
                <c:pt idx="1596">
                  <c:v>41.811935483870968</c:v>
                </c:pt>
                <c:pt idx="1597">
                  <c:v>41.873870967741929</c:v>
                </c:pt>
                <c:pt idx="1598">
                  <c:v>41.833225806451608</c:v>
                </c:pt>
                <c:pt idx="1599">
                  <c:v>41.782258064516121</c:v>
                </c:pt>
                <c:pt idx="1600">
                  <c:v>41.812258064516122</c:v>
                </c:pt>
                <c:pt idx="1601">
                  <c:v>41.867096774193541</c:v>
                </c:pt>
                <c:pt idx="1602">
                  <c:v>41.897741935483864</c:v>
                </c:pt>
                <c:pt idx="1603">
                  <c:v>41.891290322580637</c:v>
                </c:pt>
                <c:pt idx="1604">
                  <c:v>41.976129032258058</c:v>
                </c:pt>
                <c:pt idx="1605">
                  <c:v>42.051612903225795</c:v>
                </c:pt>
                <c:pt idx="1606">
                  <c:v>42.057419354838707</c:v>
                </c:pt>
                <c:pt idx="1607">
                  <c:v>42.074838709677408</c:v>
                </c:pt>
                <c:pt idx="1608">
                  <c:v>42.085483870967735</c:v>
                </c:pt>
                <c:pt idx="1609">
                  <c:v>42.053870967741936</c:v>
                </c:pt>
                <c:pt idx="1610">
                  <c:v>42.050322580645165</c:v>
                </c:pt>
                <c:pt idx="1611">
                  <c:v>42.16290322580646</c:v>
                </c:pt>
                <c:pt idx="1612">
                  <c:v>42.143870967741947</c:v>
                </c:pt>
                <c:pt idx="1613">
                  <c:v>42.085483870967757</c:v>
                </c:pt>
                <c:pt idx="1614">
                  <c:v>42.117096774193563</c:v>
                </c:pt>
                <c:pt idx="1615">
                  <c:v>42.201935483870983</c:v>
                </c:pt>
                <c:pt idx="1616">
                  <c:v>42.144193548387115</c:v>
                </c:pt>
                <c:pt idx="1617">
                  <c:v>42.139032258064539</c:v>
                </c:pt>
                <c:pt idx="1618">
                  <c:v>42.164193548387111</c:v>
                </c:pt>
                <c:pt idx="1619">
                  <c:v>42.190967741935488</c:v>
                </c:pt>
                <c:pt idx="1620">
                  <c:v>42.198064516129037</c:v>
                </c:pt>
                <c:pt idx="1621">
                  <c:v>42.150322580645167</c:v>
                </c:pt>
                <c:pt idx="1622">
                  <c:v>42.15870967741936</c:v>
                </c:pt>
                <c:pt idx="1623">
                  <c:v>42.240645161290317</c:v>
                </c:pt>
                <c:pt idx="1624">
                  <c:v>42.127741935483861</c:v>
                </c:pt>
                <c:pt idx="1625">
                  <c:v>42.185483870967737</c:v>
                </c:pt>
                <c:pt idx="1626">
                  <c:v>42.234516129032251</c:v>
                </c:pt>
                <c:pt idx="1627">
                  <c:v>42.264193548387084</c:v>
                </c:pt>
                <c:pt idx="1628">
                  <c:v>42.220967741935482</c:v>
                </c:pt>
                <c:pt idx="1629">
                  <c:v>42.244516129032256</c:v>
                </c:pt>
                <c:pt idx="1630">
                  <c:v>42.363870967741931</c:v>
                </c:pt>
                <c:pt idx="1631">
                  <c:v>42.295806451612897</c:v>
                </c:pt>
                <c:pt idx="1632">
                  <c:v>42.259354838709683</c:v>
                </c:pt>
                <c:pt idx="1633">
                  <c:v>42.241612903225807</c:v>
                </c:pt>
                <c:pt idx="1634">
                  <c:v>42.18096774193549</c:v>
                </c:pt>
                <c:pt idx="1635">
                  <c:v>42.182258064516134</c:v>
                </c:pt>
                <c:pt idx="1636">
                  <c:v>42.20000000000001</c:v>
                </c:pt>
                <c:pt idx="1637">
                  <c:v>42.301612903225809</c:v>
                </c:pt>
                <c:pt idx="1638">
                  <c:v>42.213870967741947</c:v>
                </c:pt>
                <c:pt idx="1639">
                  <c:v>42.220645161290328</c:v>
                </c:pt>
                <c:pt idx="1640">
                  <c:v>42.304193548387104</c:v>
                </c:pt>
                <c:pt idx="1641">
                  <c:v>42.377096774193561</c:v>
                </c:pt>
                <c:pt idx="1642">
                  <c:v>42.328709677419361</c:v>
                </c:pt>
                <c:pt idx="1643">
                  <c:v>42.359677419354831</c:v>
                </c:pt>
                <c:pt idx="1644">
                  <c:v>42.388387096774203</c:v>
                </c:pt>
                <c:pt idx="1645">
                  <c:v>42.418387096774204</c:v>
                </c:pt>
                <c:pt idx="1646">
                  <c:v>42.419677419354848</c:v>
                </c:pt>
                <c:pt idx="1647">
                  <c:v>42.380967741935493</c:v>
                </c:pt>
                <c:pt idx="1648">
                  <c:v>42.307096774193553</c:v>
                </c:pt>
                <c:pt idx="1649">
                  <c:v>42.265483870967742</c:v>
                </c:pt>
                <c:pt idx="1650">
                  <c:v>42.200322580645164</c:v>
                </c:pt>
                <c:pt idx="1651">
                  <c:v>42.107096774193543</c:v>
                </c:pt>
                <c:pt idx="1652">
                  <c:v>42.052580645161285</c:v>
                </c:pt>
                <c:pt idx="1653">
                  <c:v>41.974838709677414</c:v>
                </c:pt>
                <c:pt idx="1654">
                  <c:v>41.872580645161285</c:v>
                </c:pt>
                <c:pt idx="1655">
                  <c:v>41.967096774193543</c:v>
                </c:pt>
                <c:pt idx="1656">
                  <c:v>41.950967741935479</c:v>
                </c:pt>
                <c:pt idx="1657">
                  <c:v>41.965806451612899</c:v>
                </c:pt>
                <c:pt idx="1658">
                  <c:v>41.845161290322572</c:v>
                </c:pt>
                <c:pt idx="1659">
                  <c:v>41.877096774193554</c:v>
                </c:pt>
                <c:pt idx="1660">
                  <c:v>41.858064516129033</c:v>
                </c:pt>
                <c:pt idx="1661">
                  <c:v>41.853225806451611</c:v>
                </c:pt>
                <c:pt idx="1662">
                  <c:v>41.878709677419359</c:v>
                </c:pt>
                <c:pt idx="1663">
                  <c:v>41.846774193548384</c:v>
                </c:pt>
                <c:pt idx="1664">
                  <c:v>41.885161290322586</c:v>
                </c:pt>
                <c:pt idx="1665">
                  <c:v>41.88645161290323</c:v>
                </c:pt>
                <c:pt idx="1666">
                  <c:v>41.886774193548391</c:v>
                </c:pt>
                <c:pt idx="1667">
                  <c:v>41.785483870967745</c:v>
                </c:pt>
                <c:pt idx="1668">
                  <c:v>41.707419354838713</c:v>
                </c:pt>
                <c:pt idx="1669">
                  <c:v>41.782580645161289</c:v>
                </c:pt>
                <c:pt idx="1670">
                  <c:v>41.68741935483871</c:v>
                </c:pt>
                <c:pt idx="1671">
                  <c:v>41.650967741935489</c:v>
                </c:pt>
                <c:pt idx="1672">
                  <c:v>41.566774193548383</c:v>
                </c:pt>
                <c:pt idx="1673">
                  <c:v>41.604516129032255</c:v>
                </c:pt>
                <c:pt idx="1674">
                  <c:v>41.557741935483875</c:v>
                </c:pt>
                <c:pt idx="1675">
                  <c:v>41.591935483870969</c:v>
                </c:pt>
                <c:pt idx="1676">
                  <c:v>41.647741935483879</c:v>
                </c:pt>
                <c:pt idx="1677">
                  <c:v>41.645161290322584</c:v>
                </c:pt>
                <c:pt idx="1678">
                  <c:v>41.720322580645167</c:v>
                </c:pt>
                <c:pt idx="1679">
                  <c:v>41.702903225806452</c:v>
                </c:pt>
                <c:pt idx="1680">
                  <c:v>41.726129032258058</c:v>
                </c:pt>
                <c:pt idx="1681">
                  <c:v>41.749999999999993</c:v>
                </c:pt>
                <c:pt idx="1682">
                  <c:v>41.841935483870962</c:v>
                </c:pt>
                <c:pt idx="1683">
                  <c:v>41.865161290322575</c:v>
                </c:pt>
                <c:pt idx="1684">
                  <c:v>41.859032258064509</c:v>
                </c:pt>
                <c:pt idx="1685">
                  <c:v>41.926451612903229</c:v>
                </c:pt>
                <c:pt idx="1686">
                  <c:v>41.928709677419356</c:v>
                </c:pt>
                <c:pt idx="1687">
                  <c:v>41.843870967741935</c:v>
                </c:pt>
                <c:pt idx="1688">
                  <c:v>41.859677419354831</c:v>
                </c:pt>
                <c:pt idx="1689">
                  <c:v>41.856451612903214</c:v>
                </c:pt>
                <c:pt idx="1690">
                  <c:v>41.822580645161281</c:v>
                </c:pt>
                <c:pt idx="1691">
                  <c:v>41.802903225806446</c:v>
                </c:pt>
                <c:pt idx="1692">
                  <c:v>41.748064516129027</c:v>
                </c:pt>
                <c:pt idx="1693">
                  <c:v>41.797741935483863</c:v>
                </c:pt>
                <c:pt idx="1694">
                  <c:v>41.810967741935478</c:v>
                </c:pt>
                <c:pt idx="1695">
                  <c:v>41.813870967741927</c:v>
                </c:pt>
                <c:pt idx="1696">
                  <c:v>41.890967741935476</c:v>
                </c:pt>
                <c:pt idx="1697">
                  <c:v>41.88</c:v>
                </c:pt>
                <c:pt idx="1698">
                  <c:v>41.966129032258067</c:v>
                </c:pt>
                <c:pt idx="1699">
                  <c:v>42.087419354838708</c:v>
                </c:pt>
                <c:pt idx="1700">
                  <c:v>42.084193548387091</c:v>
                </c:pt>
                <c:pt idx="1701">
                  <c:v>42.164838709677419</c:v>
                </c:pt>
                <c:pt idx="1702">
                  <c:v>42.225483870967743</c:v>
                </c:pt>
                <c:pt idx="1703">
                  <c:v>42.343548387096774</c:v>
                </c:pt>
                <c:pt idx="1704">
                  <c:v>42.363870967741931</c:v>
                </c:pt>
                <c:pt idx="1705">
                  <c:v>42.456451612903223</c:v>
                </c:pt>
                <c:pt idx="1706">
                  <c:v>42.443548387096776</c:v>
                </c:pt>
                <c:pt idx="1707">
                  <c:v>42.47548387096775</c:v>
                </c:pt>
                <c:pt idx="1708">
                  <c:v>42.517096774193554</c:v>
                </c:pt>
                <c:pt idx="1709">
                  <c:v>42.589032258064513</c:v>
                </c:pt>
                <c:pt idx="1710">
                  <c:v>42.642580645161296</c:v>
                </c:pt>
                <c:pt idx="1711">
                  <c:v>42.743225806451612</c:v>
                </c:pt>
                <c:pt idx="1712">
                  <c:v>42.842903225806445</c:v>
                </c:pt>
                <c:pt idx="1713">
                  <c:v>42.868064516129024</c:v>
                </c:pt>
                <c:pt idx="1714">
                  <c:v>42.922258064516129</c:v>
                </c:pt>
                <c:pt idx="1715">
                  <c:v>42.977741935483863</c:v>
                </c:pt>
                <c:pt idx="1716">
                  <c:v>42.98</c:v>
                </c:pt>
                <c:pt idx="1717">
                  <c:v>43.015483870967735</c:v>
                </c:pt>
                <c:pt idx="1718">
                  <c:v>43.122258064516124</c:v>
                </c:pt>
                <c:pt idx="1719">
                  <c:v>43.132258064516137</c:v>
                </c:pt>
                <c:pt idx="1720">
                  <c:v>43.27</c:v>
                </c:pt>
                <c:pt idx="1721">
                  <c:v>43.329354838709676</c:v>
                </c:pt>
                <c:pt idx="1722">
                  <c:v>43.442580645161293</c:v>
                </c:pt>
                <c:pt idx="1723">
                  <c:v>43.465161290322577</c:v>
                </c:pt>
                <c:pt idx="1724">
                  <c:v>43.512580645161286</c:v>
                </c:pt>
                <c:pt idx="1725">
                  <c:v>43.58709677419354</c:v>
                </c:pt>
                <c:pt idx="1726">
                  <c:v>43.621935483870956</c:v>
                </c:pt>
                <c:pt idx="1727">
                  <c:v>43.685161290322576</c:v>
                </c:pt>
                <c:pt idx="1728">
                  <c:v>43.750645161290322</c:v>
                </c:pt>
                <c:pt idx="1729">
                  <c:v>43.763870967741937</c:v>
                </c:pt>
                <c:pt idx="1730">
                  <c:v>43.755806451612898</c:v>
                </c:pt>
                <c:pt idx="1731">
                  <c:v>43.764838709677413</c:v>
                </c:pt>
                <c:pt idx="1732">
                  <c:v>43.791290322580636</c:v>
                </c:pt>
                <c:pt idx="1733">
                  <c:v>43.718709677419348</c:v>
                </c:pt>
                <c:pt idx="1734">
                  <c:v>43.711290322580638</c:v>
                </c:pt>
                <c:pt idx="1735">
                  <c:v>43.689677419354837</c:v>
                </c:pt>
                <c:pt idx="1736">
                  <c:v>43.695806451612903</c:v>
                </c:pt>
                <c:pt idx="1737">
                  <c:v>43.749354838709671</c:v>
                </c:pt>
                <c:pt idx="1738">
                  <c:v>43.685806451612898</c:v>
                </c:pt>
                <c:pt idx="1739">
                  <c:v>43.62903225806452</c:v>
                </c:pt>
                <c:pt idx="1740">
                  <c:v>43.553225806451614</c:v>
                </c:pt>
                <c:pt idx="1741">
                  <c:v>43.623870967741944</c:v>
                </c:pt>
                <c:pt idx="1742">
                  <c:v>43.534516129032262</c:v>
                </c:pt>
                <c:pt idx="1743">
                  <c:v>43.417741935483868</c:v>
                </c:pt>
                <c:pt idx="1744">
                  <c:v>43.310967741935492</c:v>
                </c:pt>
                <c:pt idx="1745">
                  <c:v>43.321935483870966</c:v>
                </c:pt>
                <c:pt idx="1746">
                  <c:v>43.238064516129036</c:v>
                </c:pt>
                <c:pt idx="1747">
                  <c:v>43.260645161290327</c:v>
                </c:pt>
                <c:pt idx="1748">
                  <c:v>43.226451612903226</c:v>
                </c:pt>
                <c:pt idx="1749">
                  <c:v>43.224838709677421</c:v>
                </c:pt>
                <c:pt idx="1750">
                  <c:v>43.243225806451619</c:v>
                </c:pt>
                <c:pt idx="1751">
                  <c:v>43.181612903225812</c:v>
                </c:pt>
                <c:pt idx="1752">
                  <c:v>43.215483870967745</c:v>
                </c:pt>
                <c:pt idx="1753">
                  <c:v>43.175806451612914</c:v>
                </c:pt>
                <c:pt idx="1754">
                  <c:v>43.203225806451613</c:v>
                </c:pt>
                <c:pt idx="1755">
                  <c:v>43.146451612903228</c:v>
                </c:pt>
                <c:pt idx="1756">
                  <c:v>43.111612903225804</c:v>
                </c:pt>
                <c:pt idx="1757">
                  <c:v>42.995483870967739</c:v>
                </c:pt>
                <c:pt idx="1758">
                  <c:v>42.890645161290301</c:v>
                </c:pt>
                <c:pt idx="1759">
                  <c:v>42.839999999999989</c:v>
                </c:pt>
                <c:pt idx="1760">
                  <c:v>42.864516129032246</c:v>
                </c:pt>
                <c:pt idx="1761">
                  <c:v>42.723225806451602</c:v>
                </c:pt>
                <c:pt idx="1762">
                  <c:v>42.702903225806445</c:v>
                </c:pt>
                <c:pt idx="1763">
                  <c:v>42.638709677419349</c:v>
                </c:pt>
                <c:pt idx="1764">
                  <c:v>42.691290322580642</c:v>
                </c:pt>
                <c:pt idx="1765">
                  <c:v>42.654838709677414</c:v>
                </c:pt>
                <c:pt idx="1766">
                  <c:v>42.605483870967738</c:v>
                </c:pt>
                <c:pt idx="1767">
                  <c:v>42.502580645161288</c:v>
                </c:pt>
                <c:pt idx="1768">
                  <c:v>42.419032258064512</c:v>
                </c:pt>
                <c:pt idx="1769">
                  <c:v>42.385483870967747</c:v>
                </c:pt>
                <c:pt idx="1770">
                  <c:v>42.375806451612895</c:v>
                </c:pt>
                <c:pt idx="1771">
                  <c:v>42.312258064516122</c:v>
                </c:pt>
                <c:pt idx="1772">
                  <c:v>42.199677419354842</c:v>
                </c:pt>
                <c:pt idx="1773">
                  <c:v>42.147419354838718</c:v>
                </c:pt>
                <c:pt idx="1774">
                  <c:v>42.149032258064523</c:v>
                </c:pt>
                <c:pt idx="1775">
                  <c:v>42.235483870967741</c:v>
                </c:pt>
                <c:pt idx="1776">
                  <c:v>42.210967741935484</c:v>
                </c:pt>
                <c:pt idx="1777">
                  <c:v>42.249032258064517</c:v>
                </c:pt>
                <c:pt idx="1778">
                  <c:v>42.212258064516128</c:v>
                </c:pt>
                <c:pt idx="1779">
                  <c:v>42.116451612903219</c:v>
                </c:pt>
                <c:pt idx="1780">
                  <c:v>42.008387096774193</c:v>
                </c:pt>
                <c:pt idx="1781">
                  <c:v>41.94903225806452</c:v>
                </c:pt>
                <c:pt idx="1782">
                  <c:v>41.910645161290326</c:v>
                </c:pt>
                <c:pt idx="1783">
                  <c:v>41.892580645161296</c:v>
                </c:pt>
                <c:pt idx="1784">
                  <c:v>41.784838709677423</c:v>
                </c:pt>
                <c:pt idx="1785">
                  <c:v>41.748709677419356</c:v>
                </c:pt>
                <c:pt idx="1786">
                  <c:v>41.788064516129033</c:v>
                </c:pt>
                <c:pt idx="1787">
                  <c:v>41.741290322580646</c:v>
                </c:pt>
                <c:pt idx="1788">
                  <c:v>41.727419354838709</c:v>
                </c:pt>
                <c:pt idx="1789">
                  <c:v>41.721612903225811</c:v>
                </c:pt>
                <c:pt idx="1790">
                  <c:v>41.644838709677423</c:v>
                </c:pt>
                <c:pt idx="1791">
                  <c:v>41.539999999999992</c:v>
                </c:pt>
                <c:pt idx="1792">
                  <c:v>41.545161290322575</c:v>
                </c:pt>
                <c:pt idx="1793">
                  <c:v>41.54032258064516</c:v>
                </c:pt>
                <c:pt idx="1794">
                  <c:v>41.514193548387084</c:v>
                </c:pt>
                <c:pt idx="1795">
                  <c:v>41.411290322580633</c:v>
                </c:pt>
                <c:pt idx="1796">
                  <c:v>41.42903225806451</c:v>
                </c:pt>
                <c:pt idx="1797">
                  <c:v>41.459677419354833</c:v>
                </c:pt>
                <c:pt idx="1798">
                  <c:v>41.50967741935483</c:v>
                </c:pt>
                <c:pt idx="1799">
                  <c:v>41.534838709677416</c:v>
                </c:pt>
                <c:pt idx="1800">
                  <c:v>41.557096774193553</c:v>
                </c:pt>
                <c:pt idx="1801">
                  <c:v>41.490967741935485</c:v>
                </c:pt>
                <c:pt idx="1802">
                  <c:v>41.513870967741937</c:v>
                </c:pt>
                <c:pt idx="1803">
                  <c:v>41.562903225806444</c:v>
                </c:pt>
                <c:pt idx="1804">
                  <c:v>41.55</c:v>
                </c:pt>
                <c:pt idx="1805">
                  <c:v>41.552258064516131</c:v>
                </c:pt>
                <c:pt idx="1806">
                  <c:v>41.468387096774201</c:v>
                </c:pt>
                <c:pt idx="1807">
                  <c:v>41.428709677419356</c:v>
                </c:pt>
                <c:pt idx="1808">
                  <c:v>41.482258064516124</c:v>
                </c:pt>
                <c:pt idx="1809">
                  <c:v>41.459354838709672</c:v>
                </c:pt>
                <c:pt idx="1810">
                  <c:v>41.468709677419355</c:v>
                </c:pt>
                <c:pt idx="1811">
                  <c:v>41.490322580645163</c:v>
                </c:pt>
                <c:pt idx="1812">
                  <c:v>41.468064516129033</c:v>
                </c:pt>
                <c:pt idx="1813">
                  <c:v>41.49</c:v>
                </c:pt>
                <c:pt idx="1814">
                  <c:v>41.470000000000013</c:v>
                </c:pt>
                <c:pt idx="1815">
                  <c:v>41.513870967741944</c:v>
                </c:pt>
                <c:pt idx="1816">
                  <c:v>41.471935483870979</c:v>
                </c:pt>
                <c:pt idx="1817">
                  <c:v>41.378709677419366</c:v>
                </c:pt>
                <c:pt idx="1818">
                  <c:v>41.418064516129043</c:v>
                </c:pt>
                <c:pt idx="1819">
                  <c:v>41.510322580645166</c:v>
                </c:pt>
                <c:pt idx="1820">
                  <c:v>41.586451612903225</c:v>
                </c:pt>
                <c:pt idx="1821">
                  <c:v>41.661290322580648</c:v>
                </c:pt>
                <c:pt idx="1822">
                  <c:v>41.69580645161291</c:v>
                </c:pt>
                <c:pt idx="1823">
                  <c:v>41.793870967741938</c:v>
                </c:pt>
                <c:pt idx="1824">
                  <c:v>41.847741935483882</c:v>
                </c:pt>
                <c:pt idx="1825">
                  <c:v>41.867741935483885</c:v>
                </c:pt>
                <c:pt idx="1826">
                  <c:v>41.923225806451633</c:v>
                </c:pt>
                <c:pt idx="1827">
                  <c:v>41.854193548387109</c:v>
                </c:pt>
                <c:pt idx="1828">
                  <c:v>41.791935483870979</c:v>
                </c:pt>
                <c:pt idx="1829">
                  <c:v>41.776129032258069</c:v>
                </c:pt>
                <c:pt idx="1830">
                  <c:v>41.827096774193549</c:v>
                </c:pt>
                <c:pt idx="1831">
                  <c:v>41.779354838709686</c:v>
                </c:pt>
                <c:pt idx="1832">
                  <c:v>41.881290322580654</c:v>
                </c:pt>
                <c:pt idx="1833">
                  <c:v>41.872258064516139</c:v>
                </c:pt>
                <c:pt idx="1834">
                  <c:v>41.854516129032262</c:v>
                </c:pt>
                <c:pt idx="1835">
                  <c:v>41.93935483870969</c:v>
                </c:pt>
                <c:pt idx="1836">
                  <c:v>41.93516129032259</c:v>
                </c:pt>
                <c:pt idx="1837">
                  <c:v>41.934838709677422</c:v>
                </c:pt>
                <c:pt idx="1838">
                  <c:v>42.021290322580647</c:v>
                </c:pt>
                <c:pt idx="1839">
                  <c:v>41.964516129032255</c:v>
                </c:pt>
                <c:pt idx="1840">
                  <c:v>41.986774193548392</c:v>
                </c:pt>
                <c:pt idx="1841">
                  <c:v>42.002258064516127</c:v>
                </c:pt>
                <c:pt idx="1842">
                  <c:v>42.014838709677413</c:v>
                </c:pt>
                <c:pt idx="1843">
                  <c:v>42.029999999999994</c:v>
                </c:pt>
                <c:pt idx="1844">
                  <c:v>42.011935483870971</c:v>
                </c:pt>
                <c:pt idx="1845">
                  <c:v>42.035483870967745</c:v>
                </c:pt>
                <c:pt idx="1846">
                  <c:v>42.030322580645169</c:v>
                </c:pt>
                <c:pt idx="1847">
                  <c:v>42.018064516129037</c:v>
                </c:pt>
                <c:pt idx="1848">
                  <c:v>42.081290322580649</c:v>
                </c:pt>
                <c:pt idx="1849">
                  <c:v>42.029032258064525</c:v>
                </c:pt>
                <c:pt idx="1850">
                  <c:v>41.991935483870975</c:v>
                </c:pt>
                <c:pt idx="1851">
                  <c:v>41.903225806451616</c:v>
                </c:pt>
                <c:pt idx="1852">
                  <c:v>41.909032258064521</c:v>
                </c:pt>
                <c:pt idx="1853">
                  <c:v>41.927096774193558</c:v>
                </c:pt>
                <c:pt idx="1854">
                  <c:v>41.902903225806462</c:v>
                </c:pt>
                <c:pt idx="1855">
                  <c:v>41.910967741935494</c:v>
                </c:pt>
                <c:pt idx="1856">
                  <c:v>41.887741935483881</c:v>
                </c:pt>
                <c:pt idx="1857">
                  <c:v>41.825161290322583</c:v>
                </c:pt>
                <c:pt idx="1858">
                  <c:v>41.813225806451612</c:v>
                </c:pt>
                <c:pt idx="1859">
                  <c:v>41.795483870967743</c:v>
                </c:pt>
                <c:pt idx="1860">
                  <c:v>41.748709677419363</c:v>
                </c:pt>
                <c:pt idx="1861">
                  <c:v>41.73935483870968</c:v>
                </c:pt>
                <c:pt idx="1862">
                  <c:v>41.812258064516129</c:v>
                </c:pt>
                <c:pt idx="1863">
                  <c:v>41.815806451612907</c:v>
                </c:pt>
                <c:pt idx="1864">
                  <c:v>41.867096774193541</c:v>
                </c:pt>
                <c:pt idx="1865">
                  <c:v>41.871612903225802</c:v>
                </c:pt>
                <c:pt idx="1866">
                  <c:v>41.89387096774194</c:v>
                </c:pt>
                <c:pt idx="1867">
                  <c:v>41.917419354838714</c:v>
                </c:pt>
                <c:pt idx="1868">
                  <c:v>41.881935483870969</c:v>
                </c:pt>
                <c:pt idx="1869">
                  <c:v>41.851612903225799</c:v>
                </c:pt>
                <c:pt idx="1870">
                  <c:v>41.945483870967742</c:v>
                </c:pt>
                <c:pt idx="1871">
                  <c:v>41.98290322580646</c:v>
                </c:pt>
                <c:pt idx="1872">
                  <c:v>42.018064516129037</c:v>
                </c:pt>
                <c:pt idx="1873">
                  <c:v>42.009354838709676</c:v>
                </c:pt>
                <c:pt idx="1874">
                  <c:v>41.959677419354833</c:v>
                </c:pt>
                <c:pt idx="1875">
                  <c:v>41.966129032258067</c:v>
                </c:pt>
                <c:pt idx="1876">
                  <c:v>41.946774193548386</c:v>
                </c:pt>
                <c:pt idx="1877">
                  <c:v>42.018064516129023</c:v>
                </c:pt>
                <c:pt idx="1878">
                  <c:v>42.06903225806451</c:v>
                </c:pt>
                <c:pt idx="1879">
                  <c:v>42.043870967741924</c:v>
                </c:pt>
                <c:pt idx="1880">
                  <c:v>42.145483870967738</c:v>
                </c:pt>
                <c:pt idx="1881">
                  <c:v>42.123548387096768</c:v>
                </c:pt>
                <c:pt idx="1882">
                  <c:v>42.221612903225804</c:v>
                </c:pt>
                <c:pt idx="1883">
                  <c:v>42.166451612903224</c:v>
                </c:pt>
                <c:pt idx="1884">
                  <c:v>42.167419354838707</c:v>
                </c:pt>
                <c:pt idx="1885">
                  <c:v>42.097096774193538</c:v>
                </c:pt>
                <c:pt idx="1886">
                  <c:v>41.98419354838709</c:v>
                </c:pt>
                <c:pt idx="1887">
                  <c:v>42.065161290322571</c:v>
                </c:pt>
                <c:pt idx="1888">
                  <c:v>42.168709677419351</c:v>
                </c:pt>
                <c:pt idx="1889">
                  <c:v>42.241612903225807</c:v>
                </c:pt>
                <c:pt idx="1890">
                  <c:v>42.308709677419358</c:v>
                </c:pt>
                <c:pt idx="1891">
                  <c:v>42.389677419354847</c:v>
                </c:pt>
                <c:pt idx="1892">
                  <c:v>42.385161290322593</c:v>
                </c:pt>
                <c:pt idx="1893">
                  <c:v>42.375483870967756</c:v>
                </c:pt>
                <c:pt idx="1894">
                  <c:v>42.380000000000017</c:v>
                </c:pt>
                <c:pt idx="1895">
                  <c:v>42.456451612903237</c:v>
                </c:pt>
                <c:pt idx="1896">
                  <c:v>42.470645161290335</c:v>
                </c:pt>
                <c:pt idx="1897">
                  <c:v>42.444516129032266</c:v>
                </c:pt>
                <c:pt idx="1898">
                  <c:v>42.510645161290327</c:v>
                </c:pt>
                <c:pt idx="1899">
                  <c:v>42.663225806451614</c:v>
                </c:pt>
                <c:pt idx="1900">
                  <c:v>42.690322580645166</c:v>
                </c:pt>
                <c:pt idx="1901">
                  <c:v>42.685806451612905</c:v>
                </c:pt>
                <c:pt idx="1902">
                  <c:v>42.69064516129032</c:v>
                </c:pt>
                <c:pt idx="1903">
                  <c:v>42.728387096774192</c:v>
                </c:pt>
                <c:pt idx="1904">
                  <c:v>42.773870967741928</c:v>
                </c:pt>
                <c:pt idx="1905">
                  <c:v>42.923870967741934</c:v>
                </c:pt>
                <c:pt idx="1906">
                  <c:v>42.971935483870972</c:v>
                </c:pt>
                <c:pt idx="1907">
                  <c:v>42.990645161290324</c:v>
                </c:pt>
                <c:pt idx="1908">
                  <c:v>43.030967741935484</c:v>
                </c:pt>
                <c:pt idx="1909">
                  <c:v>43.075806451612905</c:v>
                </c:pt>
                <c:pt idx="1910">
                  <c:v>43.152580645161301</c:v>
                </c:pt>
                <c:pt idx="1911">
                  <c:v>43.184838709677429</c:v>
                </c:pt>
                <c:pt idx="1912">
                  <c:v>43.282258064516135</c:v>
                </c:pt>
                <c:pt idx="1913">
                  <c:v>43.25516129032259</c:v>
                </c:pt>
                <c:pt idx="1914">
                  <c:v>43.281612903225813</c:v>
                </c:pt>
                <c:pt idx="1915">
                  <c:v>43.311612903225814</c:v>
                </c:pt>
                <c:pt idx="1916">
                  <c:v>43.455806451612922</c:v>
                </c:pt>
                <c:pt idx="1917">
                  <c:v>43.540645161290328</c:v>
                </c:pt>
                <c:pt idx="1918">
                  <c:v>43.603225806451618</c:v>
                </c:pt>
                <c:pt idx="1919">
                  <c:v>43.588709677419359</c:v>
                </c:pt>
                <c:pt idx="1920">
                  <c:v>43.621935483870978</c:v>
                </c:pt>
                <c:pt idx="1921">
                  <c:v>43.704838709677425</c:v>
                </c:pt>
                <c:pt idx="1922">
                  <c:v>43.69580645161291</c:v>
                </c:pt>
                <c:pt idx="1923">
                  <c:v>43.748064516129034</c:v>
                </c:pt>
                <c:pt idx="1924">
                  <c:v>43.721290322580643</c:v>
                </c:pt>
                <c:pt idx="1925">
                  <c:v>43.711612903225806</c:v>
                </c:pt>
                <c:pt idx="1926">
                  <c:v>43.690322580645159</c:v>
                </c:pt>
                <c:pt idx="1927">
                  <c:v>43.752903225806442</c:v>
                </c:pt>
                <c:pt idx="1928">
                  <c:v>43.8074193548387</c:v>
                </c:pt>
                <c:pt idx="1929">
                  <c:v>43.780645161290316</c:v>
                </c:pt>
                <c:pt idx="1930">
                  <c:v>43.691935483870971</c:v>
                </c:pt>
                <c:pt idx="1931">
                  <c:v>43.602580645161289</c:v>
                </c:pt>
                <c:pt idx="1932">
                  <c:v>43.501290322580644</c:v>
                </c:pt>
                <c:pt idx="1933">
                  <c:v>43.486451612903224</c:v>
                </c:pt>
                <c:pt idx="1934">
                  <c:v>43.416451612903224</c:v>
                </c:pt>
                <c:pt idx="1935">
                  <c:v>43.454516129032257</c:v>
                </c:pt>
                <c:pt idx="1936">
                  <c:v>43.366451612903219</c:v>
                </c:pt>
                <c:pt idx="1937">
                  <c:v>43.292258064516126</c:v>
                </c:pt>
                <c:pt idx="1938">
                  <c:v>43.245806451612907</c:v>
                </c:pt>
                <c:pt idx="1939">
                  <c:v>43.159677419354836</c:v>
                </c:pt>
                <c:pt idx="1940">
                  <c:v>43.063870967741934</c:v>
                </c:pt>
                <c:pt idx="1941">
                  <c:v>43.002258064516127</c:v>
                </c:pt>
                <c:pt idx="1942">
                  <c:v>42.950645161290325</c:v>
                </c:pt>
                <c:pt idx="1943">
                  <c:v>42.916774193548385</c:v>
                </c:pt>
                <c:pt idx="1944">
                  <c:v>42.946129032258071</c:v>
                </c:pt>
                <c:pt idx="1945">
                  <c:v>42.981290322580648</c:v>
                </c:pt>
                <c:pt idx="1946">
                  <c:v>42.921935483870968</c:v>
                </c:pt>
                <c:pt idx="1947">
                  <c:v>42.767096774193547</c:v>
                </c:pt>
                <c:pt idx="1948">
                  <c:v>42.710645161290316</c:v>
                </c:pt>
                <c:pt idx="1949">
                  <c:v>42.643548387096772</c:v>
                </c:pt>
                <c:pt idx="1950">
                  <c:v>42.632580645161291</c:v>
                </c:pt>
                <c:pt idx="1951">
                  <c:v>42.52129032258064</c:v>
                </c:pt>
                <c:pt idx="1952">
                  <c:v>42.490645161290317</c:v>
                </c:pt>
                <c:pt idx="1953">
                  <c:v>42.498709677419356</c:v>
                </c:pt>
                <c:pt idx="1954">
                  <c:v>42.352580645161282</c:v>
                </c:pt>
                <c:pt idx="1955">
                  <c:v>42.374516129032266</c:v>
                </c:pt>
                <c:pt idx="1956">
                  <c:v>42.377419354838715</c:v>
                </c:pt>
                <c:pt idx="1957">
                  <c:v>42.326774193548381</c:v>
                </c:pt>
                <c:pt idx="1958">
                  <c:v>42.246129032258068</c:v>
                </c:pt>
                <c:pt idx="1959">
                  <c:v>42.226129032258065</c:v>
                </c:pt>
                <c:pt idx="1960">
                  <c:v>42.24</c:v>
                </c:pt>
                <c:pt idx="1961">
                  <c:v>42.182258064516134</c:v>
                </c:pt>
                <c:pt idx="1962">
                  <c:v>42.240645161290324</c:v>
                </c:pt>
                <c:pt idx="1963">
                  <c:v>42.268387096774191</c:v>
                </c:pt>
                <c:pt idx="1964">
                  <c:v>42.24</c:v>
                </c:pt>
                <c:pt idx="1965">
                  <c:v>42.239999999999995</c:v>
                </c:pt>
                <c:pt idx="1966">
                  <c:v>42.25</c:v>
                </c:pt>
                <c:pt idx="1967">
                  <c:v>42.260322580645159</c:v>
                </c:pt>
                <c:pt idx="1968">
                  <c:v>42.323870967741932</c:v>
                </c:pt>
                <c:pt idx="1969">
                  <c:v>42.297419354838702</c:v>
                </c:pt>
                <c:pt idx="1970">
                  <c:v>42.278387096774182</c:v>
                </c:pt>
                <c:pt idx="1971">
                  <c:v>42.356774193548382</c:v>
                </c:pt>
                <c:pt idx="1972">
                  <c:v>42.294516129032246</c:v>
                </c:pt>
                <c:pt idx="1973">
                  <c:v>42.285483870967738</c:v>
                </c:pt>
                <c:pt idx="1974">
                  <c:v>42.232258064516124</c:v>
                </c:pt>
                <c:pt idx="1975">
                  <c:v>42.138064516129035</c:v>
                </c:pt>
                <c:pt idx="1976">
                  <c:v>42.10290322580645</c:v>
                </c:pt>
                <c:pt idx="1977">
                  <c:v>42.072580645161295</c:v>
                </c:pt>
                <c:pt idx="1978">
                  <c:v>42.107741935483872</c:v>
                </c:pt>
                <c:pt idx="1979">
                  <c:v>42.092903225806459</c:v>
                </c:pt>
                <c:pt idx="1980">
                  <c:v>42.008387096774193</c:v>
                </c:pt>
                <c:pt idx="1981">
                  <c:v>41.937096774193556</c:v>
                </c:pt>
                <c:pt idx="1982">
                  <c:v>41.944516129032273</c:v>
                </c:pt>
                <c:pt idx="1983">
                  <c:v>41.89580645161292</c:v>
                </c:pt>
                <c:pt idx="1984">
                  <c:v>41.912580645161306</c:v>
                </c:pt>
                <c:pt idx="1985">
                  <c:v>41.992258064516136</c:v>
                </c:pt>
                <c:pt idx="1986">
                  <c:v>41.988709677419358</c:v>
                </c:pt>
                <c:pt idx="1987">
                  <c:v>41.917741935483875</c:v>
                </c:pt>
                <c:pt idx="1988">
                  <c:v>41.903870967741938</c:v>
                </c:pt>
                <c:pt idx="1989">
                  <c:v>41.907419354838709</c:v>
                </c:pt>
                <c:pt idx="1990">
                  <c:v>41.807741935483868</c:v>
                </c:pt>
                <c:pt idx="1991">
                  <c:v>41.817741935483873</c:v>
                </c:pt>
                <c:pt idx="1992">
                  <c:v>41.856451612903221</c:v>
                </c:pt>
                <c:pt idx="1993">
                  <c:v>41.840645161290325</c:v>
                </c:pt>
                <c:pt idx="1994">
                  <c:v>41.838709677419359</c:v>
                </c:pt>
                <c:pt idx="1995">
                  <c:v>41.885483870967754</c:v>
                </c:pt>
                <c:pt idx="1996">
                  <c:v>41.915806451612916</c:v>
                </c:pt>
                <c:pt idx="1997">
                  <c:v>41.806451612903231</c:v>
                </c:pt>
                <c:pt idx="1998">
                  <c:v>41.829032258064515</c:v>
                </c:pt>
                <c:pt idx="1999">
                  <c:v>41.763870967741937</c:v>
                </c:pt>
                <c:pt idx="2000">
                  <c:v>41.760322580645166</c:v>
                </c:pt>
                <c:pt idx="2001">
                  <c:v>41.708387096774189</c:v>
                </c:pt>
                <c:pt idx="2002">
                  <c:v>41.659032258064514</c:v>
                </c:pt>
                <c:pt idx="2003">
                  <c:v>41.640967741935484</c:v>
                </c:pt>
                <c:pt idx="2004">
                  <c:v>41.660645161290319</c:v>
                </c:pt>
                <c:pt idx="2005">
                  <c:v>41.618387096774185</c:v>
                </c:pt>
                <c:pt idx="2006">
                  <c:v>41.678709677419356</c:v>
                </c:pt>
                <c:pt idx="2007">
                  <c:v>41.649032258064516</c:v>
                </c:pt>
                <c:pt idx="2008">
                  <c:v>41.688064516129032</c:v>
                </c:pt>
                <c:pt idx="2009">
                  <c:v>41.756129032258059</c:v>
                </c:pt>
                <c:pt idx="2010">
                  <c:v>41.780322580645162</c:v>
                </c:pt>
                <c:pt idx="2011">
                  <c:v>41.889354838709679</c:v>
                </c:pt>
                <c:pt idx="2012">
                  <c:v>41.994838709677417</c:v>
                </c:pt>
                <c:pt idx="2013">
                  <c:v>42.05838709677419</c:v>
                </c:pt>
                <c:pt idx="2014">
                  <c:v>42.033548387096772</c:v>
                </c:pt>
                <c:pt idx="2015">
                  <c:v>42.008387096774193</c:v>
                </c:pt>
                <c:pt idx="2016">
                  <c:v>42.04</c:v>
                </c:pt>
                <c:pt idx="2017">
                  <c:v>42.069677419354832</c:v>
                </c:pt>
                <c:pt idx="2018">
                  <c:v>42.10612903225806</c:v>
                </c:pt>
                <c:pt idx="2019">
                  <c:v>42.038709677419355</c:v>
                </c:pt>
                <c:pt idx="2020">
                  <c:v>41.976774193548394</c:v>
                </c:pt>
                <c:pt idx="2021">
                  <c:v>42.02645161290323</c:v>
                </c:pt>
                <c:pt idx="2022">
                  <c:v>41.972903225806455</c:v>
                </c:pt>
                <c:pt idx="2023">
                  <c:v>42.049677419354843</c:v>
                </c:pt>
                <c:pt idx="2024">
                  <c:v>41.988387096774197</c:v>
                </c:pt>
                <c:pt idx="2025">
                  <c:v>42.039677419354838</c:v>
                </c:pt>
                <c:pt idx="2026">
                  <c:v>41.966451612903228</c:v>
                </c:pt>
                <c:pt idx="2027">
                  <c:v>41.968387096774194</c:v>
                </c:pt>
                <c:pt idx="2028">
                  <c:v>42.04774193548387</c:v>
                </c:pt>
                <c:pt idx="2029">
                  <c:v>42.05</c:v>
                </c:pt>
                <c:pt idx="2030">
                  <c:v>42.114193548387092</c:v>
                </c:pt>
                <c:pt idx="2031">
                  <c:v>42.105806451612899</c:v>
                </c:pt>
                <c:pt idx="2032">
                  <c:v>42.160322580645165</c:v>
                </c:pt>
                <c:pt idx="2033">
                  <c:v>42.187741935483871</c:v>
                </c:pt>
                <c:pt idx="2034">
                  <c:v>42.18741935483871</c:v>
                </c:pt>
                <c:pt idx="2035">
                  <c:v>42.170322580645163</c:v>
                </c:pt>
                <c:pt idx="2036">
                  <c:v>42.20322580645162</c:v>
                </c:pt>
                <c:pt idx="2037">
                  <c:v>42.224838709677421</c:v>
                </c:pt>
                <c:pt idx="2038">
                  <c:v>42.291935483870965</c:v>
                </c:pt>
                <c:pt idx="2039">
                  <c:v>42.242903225806451</c:v>
                </c:pt>
                <c:pt idx="2040">
                  <c:v>42.143225806451611</c:v>
                </c:pt>
                <c:pt idx="2041">
                  <c:v>42.226451612903233</c:v>
                </c:pt>
                <c:pt idx="2042">
                  <c:v>42.234516129032251</c:v>
                </c:pt>
                <c:pt idx="2043">
                  <c:v>42.189999999999991</c:v>
                </c:pt>
                <c:pt idx="2044">
                  <c:v>42.104193548387087</c:v>
                </c:pt>
                <c:pt idx="2045">
                  <c:v>42.066774193548383</c:v>
                </c:pt>
                <c:pt idx="2046">
                  <c:v>41.994838709677417</c:v>
                </c:pt>
                <c:pt idx="2047">
                  <c:v>41.98290322580646</c:v>
                </c:pt>
                <c:pt idx="2048">
                  <c:v>41.984516129032258</c:v>
                </c:pt>
                <c:pt idx="2049">
                  <c:v>41.917741935483882</c:v>
                </c:pt>
                <c:pt idx="2050">
                  <c:v>41.938064516129046</c:v>
                </c:pt>
                <c:pt idx="2051">
                  <c:v>41.995483870967753</c:v>
                </c:pt>
                <c:pt idx="2052">
                  <c:v>41.952903225806466</c:v>
                </c:pt>
                <c:pt idx="2053">
                  <c:v>41.999354838709692</c:v>
                </c:pt>
                <c:pt idx="2054">
                  <c:v>41.949032258064527</c:v>
                </c:pt>
                <c:pt idx="2055">
                  <c:v>41.951935483870976</c:v>
                </c:pt>
                <c:pt idx="2056">
                  <c:v>41.967419354838718</c:v>
                </c:pt>
                <c:pt idx="2057">
                  <c:v>42.009354838709683</c:v>
                </c:pt>
                <c:pt idx="2058">
                  <c:v>42.009677419354844</c:v>
                </c:pt>
                <c:pt idx="2059">
                  <c:v>42.028064516129028</c:v>
                </c:pt>
                <c:pt idx="2060">
                  <c:v>41.956129032258062</c:v>
                </c:pt>
                <c:pt idx="2061">
                  <c:v>41.923548387096773</c:v>
                </c:pt>
                <c:pt idx="2062">
                  <c:v>41.947096774193547</c:v>
                </c:pt>
                <c:pt idx="2063">
                  <c:v>41.959354838709672</c:v>
                </c:pt>
                <c:pt idx="2064">
                  <c:v>41.90870967741936</c:v>
                </c:pt>
                <c:pt idx="2065">
                  <c:v>41.941935483870971</c:v>
                </c:pt>
                <c:pt idx="2066">
                  <c:v>41.973870967741938</c:v>
                </c:pt>
                <c:pt idx="2067">
                  <c:v>41.971935483870972</c:v>
                </c:pt>
                <c:pt idx="2068">
                  <c:v>41.904516129032267</c:v>
                </c:pt>
                <c:pt idx="2069">
                  <c:v>41.875483870967756</c:v>
                </c:pt>
                <c:pt idx="2070">
                  <c:v>41.936774193548402</c:v>
                </c:pt>
                <c:pt idx="2071">
                  <c:v>41.977741935483884</c:v>
                </c:pt>
                <c:pt idx="2072">
                  <c:v>41.972580645161301</c:v>
                </c:pt>
                <c:pt idx="2073">
                  <c:v>41.910000000000011</c:v>
                </c:pt>
                <c:pt idx="2074">
                  <c:v>41.910645161290326</c:v>
                </c:pt>
                <c:pt idx="2075">
                  <c:v>41.955806451612908</c:v>
                </c:pt>
                <c:pt idx="2076">
                  <c:v>42.057096774193553</c:v>
                </c:pt>
                <c:pt idx="2077">
                  <c:v>42.125161290322588</c:v>
                </c:pt>
                <c:pt idx="2078">
                  <c:v>42.034838709677423</c:v>
                </c:pt>
                <c:pt idx="2079">
                  <c:v>42.030322580645162</c:v>
                </c:pt>
                <c:pt idx="2080">
                  <c:v>42.116774193548387</c:v>
                </c:pt>
                <c:pt idx="2081">
                  <c:v>42.178709677419356</c:v>
                </c:pt>
                <c:pt idx="2082">
                  <c:v>42.152580645161287</c:v>
                </c:pt>
                <c:pt idx="2083">
                  <c:v>42.204838709677418</c:v>
                </c:pt>
                <c:pt idx="2084">
                  <c:v>42.103225806451611</c:v>
                </c:pt>
                <c:pt idx="2085">
                  <c:v>42.147741935483879</c:v>
                </c:pt>
                <c:pt idx="2086">
                  <c:v>42.246451612903229</c:v>
                </c:pt>
                <c:pt idx="2087">
                  <c:v>42.216774193548396</c:v>
                </c:pt>
                <c:pt idx="2088">
                  <c:v>42.226774193548394</c:v>
                </c:pt>
                <c:pt idx="2089">
                  <c:v>42.27</c:v>
                </c:pt>
                <c:pt idx="2090">
                  <c:v>42.248387096774195</c:v>
                </c:pt>
                <c:pt idx="2091">
                  <c:v>42.229354838709682</c:v>
                </c:pt>
                <c:pt idx="2092">
                  <c:v>42.208387096774196</c:v>
                </c:pt>
                <c:pt idx="2093">
                  <c:v>42.212258064516135</c:v>
                </c:pt>
                <c:pt idx="2094">
                  <c:v>42.235483870967741</c:v>
                </c:pt>
                <c:pt idx="2095">
                  <c:v>42.254193548387093</c:v>
                </c:pt>
                <c:pt idx="2096">
                  <c:v>42.252903225806449</c:v>
                </c:pt>
                <c:pt idx="2097">
                  <c:v>42.231612903225795</c:v>
                </c:pt>
                <c:pt idx="2098">
                  <c:v>42.274193548387089</c:v>
                </c:pt>
                <c:pt idx="2099">
                  <c:v>42.296451612903212</c:v>
                </c:pt>
                <c:pt idx="2100">
                  <c:v>42.321935483870966</c:v>
                </c:pt>
                <c:pt idx="2101">
                  <c:v>42.274193548387096</c:v>
                </c:pt>
                <c:pt idx="2102">
                  <c:v>42.2458064516129</c:v>
                </c:pt>
                <c:pt idx="2103">
                  <c:v>42.248709677419356</c:v>
                </c:pt>
                <c:pt idx="2104">
                  <c:v>42.274193548387096</c:v>
                </c:pt>
                <c:pt idx="2105">
                  <c:v>42.222580645161301</c:v>
                </c:pt>
                <c:pt idx="2106">
                  <c:v>42.183225806451624</c:v>
                </c:pt>
                <c:pt idx="2107">
                  <c:v>42.130322580645171</c:v>
                </c:pt>
                <c:pt idx="2108">
                  <c:v>42.165161290322587</c:v>
                </c:pt>
                <c:pt idx="2109">
                  <c:v>42.273870967741942</c:v>
                </c:pt>
                <c:pt idx="2110">
                  <c:v>42.227096774193555</c:v>
                </c:pt>
                <c:pt idx="2111">
                  <c:v>42.231290322580648</c:v>
                </c:pt>
                <c:pt idx="2112">
                  <c:v>42.164516129032265</c:v>
                </c:pt>
                <c:pt idx="2113">
                  <c:v>42.185806451612905</c:v>
                </c:pt>
                <c:pt idx="2114">
                  <c:v>42.186451612903241</c:v>
                </c:pt>
                <c:pt idx="2115">
                  <c:v>42.25193548387098</c:v>
                </c:pt>
                <c:pt idx="2116">
                  <c:v>42.254516129032261</c:v>
                </c:pt>
                <c:pt idx="2117">
                  <c:v>42.228064516129038</c:v>
                </c:pt>
                <c:pt idx="2118">
                  <c:v>42.185806451612905</c:v>
                </c:pt>
                <c:pt idx="2119">
                  <c:v>42.193548387096776</c:v>
                </c:pt>
                <c:pt idx="2120">
                  <c:v>42.143225806451611</c:v>
                </c:pt>
                <c:pt idx="2121">
                  <c:v>42.163870967741929</c:v>
                </c:pt>
                <c:pt idx="2122">
                  <c:v>42.244516129032256</c:v>
                </c:pt>
                <c:pt idx="2123">
                  <c:v>42.275161290322579</c:v>
                </c:pt>
                <c:pt idx="2124">
                  <c:v>42.26</c:v>
                </c:pt>
                <c:pt idx="2125">
                  <c:v>42.214193548387094</c:v>
                </c:pt>
                <c:pt idx="2126">
                  <c:v>42.200645161290318</c:v>
                </c:pt>
                <c:pt idx="2127">
                  <c:v>42.287419354838704</c:v>
                </c:pt>
                <c:pt idx="2128">
                  <c:v>42.280322580645155</c:v>
                </c:pt>
                <c:pt idx="2129">
                  <c:v>42.194193548387091</c:v>
                </c:pt>
                <c:pt idx="2130">
                  <c:v>42.234838709677412</c:v>
                </c:pt>
                <c:pt idx="2131">
                  <c:v>42.205806451612894</c:v>
                </c:pt>
                <c:pt idx="2132">
                  <c:v>42.287096774193543</c:v>
                </c:pt>
                <c:pt idx="2133">
                  <c:v>42.32451612903224</c:v>
                </c:pt>
                <c:pt idx="2134">
                  <c:v>42.313225806451598</c:v>
                </c:pt>
                <c:pt idx="2135">
                  <c:v>42.254193548387086</c:v>
                </c:pt>
                <c:pt idx="2136">
                  <c:v>42.256774193548374</c:v>
                </c:pt>
                <c:pt idx="2137">
                  <c:v>42.355161290322563</c:v>
                </c:pt>
                <c:pt idx="2138">
                  <c:v>42.378387096774176</c:v>
                </c:pt>
                <c:pt idx="2139">
                  <c:v>42.284516129032248</c:v>
                </c:pt>
                <c:pt idx="2140">
                  <c:v>42.286129032258053</c:v>
                </c:pt>
                <c:pt idx="2141">
                  <c:v>42.332258064516125</c:v>
                </c:pt>
                <c:pt idx="2142">
                  <c:v>42.315483870967746</c:v>
                </c:pt>
                <c:pt idx="2143">
                  <c:v>42.399032258064523</c:v>
                </c:pt>
                <c:pt idx="2144">
                  <c:v>42.425161290322592</c:v>
                </c:pt>
                <c:pt idx="2145">
                  <c:v>42.405161290322589</c:v>
                </c:pt>
                <c:pt idx="2146">
                  <c:v>42.361935483870965</c:v>
                </c:pt>
                <c:pt idx="2147">
                  <c:v>42.335161290322581</c:v>
                </c:pt>
                <c:pt idx="2148">
                  <c:v>42.316774193548383</c:v>
                </c:pt>
                <c:pt idx="2149">
                  <c:v>42.339354838709674</c:v>
                </c:pt>
                <c:pt idx="2150">
                  <c:v>42.339999999999996</c:v>
                </c:pt>
                <c:pt idx="2151">
                  <c:v>42.341612903225801</c:v>
                </c:pt>
                <c:pt idx="2152">
                  <c:v>42.355806451612892</c:v>
                </c:pt>
                <c:pt idx="2153">
                  <c:v>42.279354838709665</c:v>
                </c:pt>
                <c:pt idx="2154">
                  <c:v>42.215483870967731</c:v>
                </c:pt>
                <c:pt idx="2155">
                  <c:v>42.227419354838702</c:v>
                </c:pt>
                <c:pt idx="2156">
                  <c:v>42.277419354838706</c:v>
                </c:pt>
                <c:pt idx="2157">
                  <c:v>42.282258064516121</c:v>
                </c:pt>
                <c:pt idx="2158">
                  <c:v>42.179032258064517</c:v>
                </c:pt>
                <c:pt idx="2159">
                  <c:v>42.171290322580646</c:v>
                </c:pt>
                <c:pt idx="2160">
                  <c:v>42.17677419354839</c:v>
                </c:pt>
                <c:pt idx="2161">
                  <c:v>42.128064516129022</c:v>
                </c:pt>
                <c:pt idx="2162">
                  <c:v>42.092580645161284</c:v>
                </c:pt>
                <c:pt idx="2163">
                  <c:v>42.04774193548387</c:v>
                </c:pt>
                <c:pt idx="2164">
                  <c:v>42.100967741935484</c:v>
                </c:pt>
                <c:pt idx="2165">
                  <c:v>42.097741935483874</c:v>
                </c:pt>
                <c:pt idx="2166">
                  <c:v>42.170322580645163</c:v>
                </c:pt>
                <c:pt idx="2167">
                  <c:v>42.214193548387108</c:v>
                </c:pt>
                <c:pt idx="2168">
                  <c:v>42.148387096774208</c:v>
                </c:pt>
                <c:pt idx="2169">
                  <c:v>42.164516129032265</c:v>
                </c:pt>
                <c:pt idx="2170">
                  <c:v>42.162903225806453</c:v>
                </c:pt>
                <c:pt idx="2171">
                  <c:v>42.047419354838702</c:v>
                </c:pt>
                <c:pt idx="2172">
                  <c:v>41.939677419354844</c:v>
                </c:pt>
                <c:pt idx="2173">
                  <c:v>41.86774193548387</c:v>
                </c:pt>
                <c:pt idx="2174">
                  <c:v>41.782258064516128</c:v>
                </c:pt>
                <c:pt idx="2175">
                  <c:v>41.77548387096774</c:v>
                </c:pt>
                <c:pt idx="2176">
                  <c:v>41.822580645161288</c:v>
                </c:pt>
                <c:pt idx="2177">
                  <c:v>41.803225806451607</c:v>
                </c:pt>
                <c:pt idx="2178">
                  <c:v>41.762903225806447</c:v>
                </c:pt>
                <c:pt idx="2179">
                  <c:v>41.756129032258059</c:v>
                </c:pt>
                <c:pt idx="2180">
                  <c:v>41.728387096774192</c:v>
                </c:pt>
                <c:pt idx="2181">
                  <c:v>41.752258064516134</c:v>
                </c:pt>
                <c:pt idx="2182">
                  <c:v>41.705483870967747</c:v>
                </c:pt>
                <c:pt idx="2183">
                  <c:v>41.591612903225808</c:v>
                </c:pt>
                <c:pt idx="2184">
                  <c:v>41.643225806451625</c:v>
                </c:pt>
                <c:pt idx="2185">
                  <c:v>41.67032258064517</c:v>
                </c:pt>
                <c:pt idx="2186">
                  <c:v>41.671612903225807</c:v>
                </c:pt>
                <c:pt idx="2187">
                  <c:v>41.686774193548395</c:v>
                </c:pt>
                <c:pt idx="2188">
                  <c:v>41.70000000000001</c:v>
                </c:pt>
                <c:pt idx="2189">
                  <c:v>41.685483870967744</c:v>
                </c:pt>
                <c:pt idx="2190">
                  <c:v>41.626774193548378</c:v>
                </c:pt>
                <c:pt idx="2191">
                  <c:v>41.654516129032267</c:v>
                </c:pt>
                <c:pt idx="2192">
                  <c:v>41.722580645161294</c:v>
                </c:pt>
                <c:pt idx="2193">
                  <c:v>41.752903225806449</c:v>
                </c:pt>
                <c:pt idx="2194">
                  <c:v>41.727096774193541</c:v>
                </c:pt>
                <c:pt idx="2195">
                  <c:v>41.617741935483863</c:v>
                </c:pt>
                <c:pt idx="2196">
                  <c:v>41.598387096774182</c:v>
                </c:pt>
                <c:pt idx="2197">
                  <c:v>41.570322580645154</c:v>
                </c:pt>
                <c:pt idx="2198">
                  <c:v>41.544193548387092</c:v>
                </c:pt>
                <c:pt idx="2199">
                  <c:v>41.551935483870963</c:v>
                </c:pt>
                <c:pt idx="2200">
                  <c:v>41.516129032258071</c:v>
                </c:pt>
                <c:pt idx="2201">
                  <c:v>41.558064516129043</c:v>
                </c:pt>
                <c:pt idx="2202">
                  <c:v>41.558709677419365</c:v>
                </c:pt>
                <c:pt idx="2203">
                  <c:v>41.6</c:v>
                </c:pt>
                <c:pt idx="2204">
                  <c:v>41.641290322580659</c:v>
                </c:pt>
                <c:pt idx="2205">
                  <c:v>41.635161290322593</c:v>
                </c:pt>
                <c:pt idx="2206">
                  <c:v>41.628064516129044</c:v>
                </c:pt>
                <c:pt idx="2207">
                  <c:v>41.619032258064529</c:v>
                </c:pt>
                <c:pt idx="2208">
                  <c:v>41.71806451612904</c:v>
                </c:pt>
                <c:pt idx="2209">
                  <c:v>41.759032258064522</c:v>
                </c:pt>
                <c:pt idx="2210">
                  <c:v>41.743225806451619</c:v>
                </c:pt>
                <c:pt idx="2211">
                  <c:v>41.724838709677421</c:v>
                </c:pt>
                <c:pt idx="2212">
                  <c:v>41.723225806451616</c:v>
                </c:pt>
                <c:pt idx="2213">
                  <c:v>41.795483870967743</c:v>
                </c:pt>
                <c:pt idx="2214">
                  <c:v>41.839677419354835</c:v>
                </c:pt>
                <c:pt idx="2215">
                  <c:v>41.864838709677414</c:v>
                </c:pt>
                <c:pt idx="2216">
                  <c:v>41.857419354838711</c:v>
                </c:pt>
                <c:pt idx="2217">
                  <c:v>41.84645161290323</c:v>
                </c:pt>
                <c:pt idx="2218">
                  <c:v>41.744838709677424</c:v>
                </c:pt>
                <c:pt idx="2219">
                  <c:v>41.720000000000006</c:v>
                </c:pt>
                <c:pt idx="2220">
                  <c:v>41.755806451612912</c:v>
                </c:pt>
                <c:pt idx="2221">
                  <c:v>41.737419354838721</c:v>
                </c:pt>
                <c:pt idx="2222">
                  <c:v>41.799354838709682</c:v>
                </c:pt>
                <c:pt idx="2223">
                  <c:v>41.553225806451614</c:v>
                </c:pt>
                <c:pt idx="2224">
                  <c:v>41.618064516129031</c:v>
                </c:pt>
                <c:pt idx="2225">
                  <c:v>41.553548387096768</c:v>
                </c:pt>
                <c:pt idx="2226">
                  <c:v>41.723225806451616</c:v>
                </c:pt>
                <c:pt idx="2227">
                  <c:v>41.633225806451598</c:v>
                </c:pt>
                <c:pt idx="2228">
                  <c:v>41.614516129032253</c:v>
                </c:pt>
                <c:pt idx="2229">
                  <c:v>41.72032258064516</c:v>
                </c:pt>
                <c:pt idx="2230">
                  <c:v>41.82741935483871</c:v>
                </c:pt>
                <c:pt idx="2231">
                  <c:v>41.779354838709686</c:v>
                </c:pt>
                <c:pt idx="2232">
                  <c:v>41.658709677419367</c:v>
                </c:pt>
                <c:pt idx="2233">
                  <c:v>41.508064516129039</c:v>
                </c:pt>
                <c:pt idx="2234">
                  <c:v>41.359677419354846</c:v>
                </c:pt>
                <c:pt idx="2235">
                  <c:v>41.485161290322587</c:v>
                </c:pt>
                <c:pt idx="2236">
                  <c:v>41.516774193548393</c:v>
                </c:pt>
                <c:pt idx="2237">
                  <c:v>41.576129032258066</c:v>
                </c:pt>
                <c:pt idx="2238">
                  <c:v>41.502258064516134</c:v>
                </c:pt>
                <c:pt idx="2239">
                  <c:v>41.306129032258063</c:v>
                </c:pt>
                <c:pt idx="2240">
                  <c:v>41.093225806451606</c:v>
                </c:pt>
                <c:pt idx="2241">
                  <c:v>41.083548387096762</c:v>
                </c:pt>
                <c:pt idx="2242">
                  <c:v>40.978709677419346</c:v>
                </c:pt>
                <c:pt idx="2243">
                  <c:v>41.049354838709661</c:v>
                </c:pt>
                <c:pt idx="2244">
                  <c:v>40.919354838709666</c:v>
                </c:pt>
                <c:pt idx="2245">
                  <c:v>41.03322580645159</c:v>
                </c:pt>
                <c:pt idx="2246">
                  <c:v>40.77677419354837</c:v>
                </c:pt>
                <c:pt idx="2247">
                  <c:v>40.595161290322572</c:v>
                </c:pt>
                <c:pt idx="2248">
                  <c:v>40.476129032258058</c:v>
                </c:pt>
                <c:pt idx="2249">
                  <c:v>40.324516129032247</c:v>
                </c:pt>
                <c:pt idx="2250">
                  <c:v>40.327096774193535</c:v>
                </c:pt>
                <c:pt idx="2251">
                  <c:v>40.167741935483868</c:v>
                </c:pt>
                <c:pt idx="2252">
                  <c:v>39.994838709677417</c:v>
                </c:pt>
                <c:pt idx="2253">
                  <c:v>39.913870967741936</c:v>
                </c:pt>
                <c:pt idx="2254">
                  <c:v>40.062258064516129</c:v>
                </c:pt>
                <c:pt idx="2255">
                  <c:v>40.114838709677414</c:v>
                </c:pt>
                <c:pt idx="2256">
                  <c:v>40.329354838709669</c:v>
                </c:pt>
                <c:pt idx="2257">
                  <c:v>40.317419354838705</c:v>
                </c:pt>
                <c:pt idx="2258">
                  <c:v>40.364193548387092</c:v>
                </c:pt>
                <c:pt idx="2259">
                  <c:v>40.22</c:v>
                </c:pt>
                <c:pt idx="2260">
                  <c:v>39.964193548387101</c:v>
                </c:pt>
                <c:pt idx="2261">
                  <c:v>39.702258064516137</c:v>
                </c:pt>
                <c:pt idx="2262">
                  <c:v>39.594838709677425</c:v>
                </c:pt>
                <c:pt idx="2263">
                  <c:v>39.562258064516136</c:v>
                </c:pt>
                <c:pt idx="2264">
                  <c:v>39.54</c:v>
                </c:pt>
                <c:pt idx="2265">
                  <c:v>39.509032258064515</c:v>
                </c:pt>
                <c:pt idx="2266">
                  <c:v>39.207096774193552</c:v>
                </c:pt>
                <c:pt idx="2267">
                  <c:v>39.008387096774186</c:v>
                </c:pt>
                <c:pt idx="2268">
                  <c:v>38.766129032258057</c:v>
                </c:pt>
                <c:pt idx="2269">
                  <c:v>38.671935483870968</c:v>
                </c:pt>
                <c:pt idx="2270">
                  <c:v>38.686129032258059</c:v>
                </c:pt>
                <c:pt idx="2271">
                  <c:v>38.656774193548387</c:v>
                </c:pt>
                <c:pt idx="2272">
                  <c:v>38.531612903225806</c:v>
                </c:pt>
                <c:pt idx="2273">
                  <c:v>38.483225806451607</c:v>
                </c:pt>
                <c:pt idx="2274">
                  <c:v>38.206451612903216</c:v>
                </c:pt>
                <c:pt idx="2275">
                  <c:v>36.960645161290316</c:v>
                </c:pt>
                <c:pt idx="2276">
                  <c:v>35.497096774193544</c:v>
                </c:pt>
                <c:pt idx="2277">
                  <c:v>34.36677419354838</c:v>
                </c:pt>
                <c:pt idx="2278">
                  <c:v>33.237419354838707</c:v>
                </c:pt>
                <c:pt idx="2279">
                  <c:v>32.027419354838713</c:v>
                </c:pt>
                <c:pt idx="2280">
                  <c:v>30.880967741935489</c:v>
                </c:pt>
                <c:pt idx="2281">
                  <c:v>29.557419354838718</c:v>
                </c:pt>
                <c:pt idx="2282">
                  <c:v>28.381935483870972</c:v>
                </c:pt>
                <c:pt idx="2283">
                  <c:v>27.249032258064521</c:v>
                </c:pt>
                <c:pt idx="2284">
                  <c:v>25.935161290322579</c:v>
                </c:pt>
                <c:pt idx="2285">
                  <c:v>24.615161290322582</c:v>
                </c:pt>
                <c:pt idx="2286">
                  <c:v>23.140645161290323</c:v>
                </c:pt>
                <c:pt idx="2287">
                  <c:v>21.673225806451615</c:v>
                </c:pt>
                <c:pt idx="2288">
                  <c:v>20.223870967741938</c:v>
                </c:pt>
                <c:pt idx="2289">
                  <c:v>18.884193548387099</c:v>
                </c:pt>
                <c:pt idx="2290">
                  <c:v>17.684838709677418</c:v>
                </c:pt>
                <c:pt idx="2291">
                  <c:v>17.801935483870967</c:v>
                </c:pt>
                <c:pt idx="2292">
                  <c:v>17.957096774193552</c:v>
                </c:pt>
                <c:pt idx="2293">
                  <c:v>18.107741935483872</c:v>
                </c:pt>
                <c:pt idx="2294">
                  <c:v>18.297741935483867</c:v>
                </c:pt>
                <c:pt idx="2295">
                  <c:v>18.507096774193549</c:v>
                </c:pt>
                <c:pt idx="2296">
                  <c:v>18.764193548387098</c:v>
                </c:pt>
                <c:pt idx="2297">
                  <c:v>18.919032258064515</c:v>
                </c:pt>
                <c:pt idx="2298">
                  <c:v>19.112580645161291</c:v>
                </c:pt>
                <c:pt idx="2299">
                  <c:v>19.274193548387096</c:v>
                </c:pt>
                <c:pt idx="2300">
                  <c:v>19.47258064516129</c:v>
                </c:pt>
                <c:pt idx="2301">
                  <c:v>19.545483870967736</c:v>
                </c:pt>
                <c:pt idx="2302">
                  <c:v>19.804516129032258</c:v>
                </c:pt>
                <c:pt idx="2303">
                  <c:v>19.907419354838709</c:v>
                </c:pt>
                <c:pt idx="2304">
                  <c:v>20.160322580645161</c:v>
                </c:pt>
                <c:pt idx="2305">
                  <c:v>20.336129032258068</c:v>
                </c:pt>
                <c:pt idx="2306">
                  <c:v>21.72129032258065</c:v>
                </c:pt>
                <c:pt idx="2307">
                  <c:v>23.081935483870971</c:v>
                </c:pt>
                <c:pt idx="2308">
                  <c:v>24.372580645161293</c:v>
                </c:pt>
                <c:pt idx="2309">
                  <c:v>25.719677419354841</c:v>
                </c:pt>
                <c:pt idx="2310">
                  <c:v>27.02741935483871</c:v>
                </c:pt>
                <c:pt idx="2311">
                  <c:v>28.379354838709677</c:v>
                </c:pt>
                <c:pt idx="2312">
                  <c:v>29.698709677419355</c:v>
                </c:pt>
                <c:pt idx="2313">
                  <c:v>31.054838709677416</c:v>
                </c:pt>
                <c:pt idx="2314">
                  <c:v>32.361290322580643</c:v>
                </c:pt>
                <c:pt idx="2315">
                  <c:v>33.670645161290324</c:v>
                </c:pt>
                <c:pt idx="2316">
                  <c:v>35.034516129032255</c:v>
                </c:pt>
                <c:pt idx="2317">
                  <c:v>36.404193548387099</c:v>
                </c:pt>
                <c:pt idx="2318">
                  <c:v>37.707096774193552</c:v>
                </c:pt>
                <c:pt idx="2319">
                  <c:v>39.032580645161289</c:v>
                </c:pt>
                <c:pt idx="2320">
                  <c:v>40.373548387096768</c:v>
                </c:pt>
                <c:pt idx="2321">
                  <c:v>41.692580645161293</c:v>
                </c:pt>
                <c:pt idx="2322">
                  <c:v>41.715483870967738</c:v>
                </c:pt>
                <c:pt idx="2323">
                  <c:v>41.707419354838706</c:v>
                </c:pt>
                <c:pt idx="2324">
                  <c:v>41.664193548387097</c:v>
                </c:pt>
                <c:pt idx="2325">
                  <c:v>41.673225806451605</c:v>
                </c:pt>
                <c:pt idx="2326">
                  <c:v>41.670967741935485</c:v>
                </c:pt>
                <c:pt idx="2327">
                  <c:v>41.647419354838711</c:v>
                </c:pt>
                <c:pt idx="2328">
                  <c:v>41.722258064516126</c:v>
                </c:pt>
                <c:pt idx="2329">
                  <c:v>41.697741935483869</c:v>
                </c:pt>
                <c:pt idx="2330">
                  <c:v>41.651935483870965</c:v>
                </c:pt>
                <c:pt idx="2331">
                  <c:v>41.653548387096777</c:v>
                </c:pt>
                <c:pt idx="2332">
                  <c:v>41.687419354838717</c:v>
                </c:pt>
                <c:pt idx="2333">
                  <c:v>41.592903225806445</c:v>
                </c:pt>
                <c:pt idx="2334">
                  <c:v>41.647419354838711</c:v>
                </c:pt>
                <c:pt idx="2335">
                  <c:v>41.537419354838704</c:v>
                </c:pt>
                <c:pt idx="2336">
                  <c:v>41.459354838709672</c:v>
                </c:pt>
                <c:pt idx="2337">
                  <c:v>41.446129032258057</c:v>
                </c:pt>
                <c:pt idx="2338">
                  <c:v>41.501612903225798</c:v>
                </c:pt>
                <c:pt idx="2339">
                  <c:v>41.517096774193547</c:v>
                </c:pt>
                <c:pt idx="2340">
                  <c:v>41.490967741935485</c:v>
                </c:pt>
                <c:pt idx="2341">
                  <c:v>41.520322580645171</c:v>
                </c:pt>
                <c:pt idx="2342">
                  <c:v>41.549354838709682</c:v>
                </c:pt>
                <c:pt idx="2343">
                  <c:v>41.64806451612904</c:v>
                </c:pt>
                <c:pt idx="2344">
                  <c:v>41.644193548387108</c:v>
                </c:pt>
                <c:pt idx="2345">
                  <c:v>41.69161290322581</c:v>
                </c:pt>
                <c:pt idx="2346">
                  <c:v>41.758064516129039</c:v>
                </c:pt>
                <c:pt idx="2347">
                  <c:v>41.811290322580653</c:v>
                </c:pt>
                <c:pt idx="2348">
                  <c:v>41.78161290322582</c:v>
                </c:pt>
                <c:pt idx="2349">
                  <c:v>41.882258064516144</c:v>
                </c:pt>
                <c:pt idx="2350">
                  <c:v>41.95419354838711</c:v>
                </c:pt>
                <c:pt idx="2351">
                  <c:v>42.01903225806452</c:v>
                </c:pt>
                <c:pt idx="2352">
                  <c:v>42.095161290322572</c:v>
                </c:pt>
                <c:pt idx="2353">
                  <c:v>42.077096774193549</c:v>
                </c:pt>
                <c:pt idx="2354">
                  <c:v>42.039032258064516</c:v>
                </c:pt>
                <c:pt idx="2355">
                  <c:v>42.13645161290323</c:v>
                </c:pt>
                <c:pt idx="2356">
                  <c:v>42.023870967741928</c:v>
                </c:pt>
                <c:pt idx="2357">
                  <c:v>42.028064516129028</c:v>
                </c:pt>
                <c:pt idx="2358">
                  <c:v>41.955161290322586</c:v>
                </c:pt>
                <c:pt idx="2359">
                  <c:v>41.943225806451615</c:v>
                </c:pt>
                <c:pt idx="2360">
                  <c:v>42.015806451612903</c:v>
                </c:pt>
                <c:pt idx="2361">
                  <c:v>42.025161290322572</c:v>
                </c:pt>
                <c:pt idx="2362">
                  <c:v>41.922258064516129</c:v>
                </c:pt>
                <c:pt idx="2363">
                  <c:v>41.976451612903219</c:v>
                </c:pt>
                <c:pt idx="2364">
                  <c:v>41.990645161290317</c:v>
                </c:pt>
                <c:pt idx="2365">
                  <c:v>42.025806451612894</c:v>
                </c:pt>
                <c:pt idx="2366">
                  <c:v>42.108709677419348</c:v>
                </c:pt>
                <c:pt idx="2367">
                  <c:v>42.144838709677423</c:v>
                </c:pt>
                <c:pt idx="2368">
                  <c:v>42.167096774193553</c:v>
                </c:pt>
                <c:pt idx="2369">
                  <c:v>42.097096774193545</c:v>
                </c:pt>
                <c:pt idx="2370">
                  <c:v>42.084193548387091</c:v>
                </c:pt>
                <c:pt idx="2371">
                  <c:v>42.120645161290312</c:v>
                </c:pt>
                <c:pt idx="2372">
                  <c:v>42.086451612903225</c:v>
                </c:pt>
                <c:pt idx="2373">
                  <c:v>42.077419354838703</c:v>
                </c:pt>
                <c:pt idx="2374">
                  <c:v>42.072580645161281</c:v>
                </c:pt>
                <c:pt idx="2375">
                  <c:v>42.100645161290316</c:v>
                </c:pt>
                <c:pt idx="2376">
                  <c:v>42.058064516129029</c:v>
                </c:pt>
                <c:pt idx="2377">
                  <c:v>42.013870967741944</c:v>
                </c:pt>
                <c:pt idx="2378">
                  <c:v>41.948387096774205</c:v>
                </c:pt>
                <c:pt idx="2379">
                  <c:v>41.96806451612904</c:v>
                </c:pt>
                <c:pt idx="2380">
                  <c:v>41.934838709677436</c:v>
                </c:pt>
                <c:pt idx="2381">
                  <c:v>41.906129032258079</c:v>
                </c:pt>
                <c:pt idx="2382">
                  <c:v>41.8325806451613</c:v>
                </c:pt>
                <c:pt idx="2383">
                  <c:v>41.759677419354851</c:v>
                </c:pt>
                <c:pt idx="2384">
                  <c:v>41.772258064516137</c:v>
                </c:pt>
                <c:pt idx="2385">
                  <c:v>41.843548387096781</c:v>
                </c:pt>
                <c:pt idx="2386">
                  <c:v>41.822903225806449</c:v>
                </c:pt>
                <c:pt idx="2387">
                  <c:v>41.938387096774193</c:v>
                </c:pt>
                <c:pt idx="2388">
                  <c:v>42.013225806451608</c:v>
                </c:pt>
                <c:pt idx="2389">
                  <c:v>42.108709677419348</c:v>
                </c:pt>
                <c:pt idx="2390">
                  <c:v>42.09225806451613</c:v>
                </c:pt>
                <c:pt idx="2391">
                  <c:v>42.103225806451604</c:v>
                </c:pt>
                <c:pt idx="2392">
                  <c:v>42.201612903225808</c:v>
                </c:pt>
                <c:pt idx="2393">
                  <c:v>42.205161290322586</c:v>
                </c:pt>
                <c:pt idx="2394">
                  <c:v>42.168709677419358</c:v>
                </c:pt>
                <c:pt idx="2395">
                  <c:v>42.16935483870968</c:v>
                </c:pt>
                <c:pt idx="2396">
                  <c:v>42.142903225806457</c:v>
                </c:pt>
                <c:pt idx="2397">
                  <c:v>42.063870967741941</c:v>
                </c:pt>
                <c:pt idx="2398">
                  <c:v>42.112580645161309</c:v>
                </c:pt>
                <c:pt idx="2399">
                  <c:v>42.045806451612911</c:v>
                </c:pt>
                <c:pt idx="2400">
                  <c:v>42.0741935483871</c:v>
                </c:pt>
                <c:pt idx="2401">
                  <c:v>42.115161290322582</c:v>
                </c:pt>
                <c:pt idx="2402">
                  <c:v>42.128064516129037</c:v>
                </c:pt>
                <c:pt idx="2403">
                  <c:v>42.18</c:v>
                </c:pt>
                <c:pt idx="2404">
                  <c:v>42.225483870967743</c:v>
                </c:pt>
                <c:pt idx="2405">
                  <c:v>42.199999999999996</c:v>
                </c:pt>
                <c:pt idx="2406">
                  <c:v>42.157096774193548</c:v>
                </c:pt>
                <c:pt idx="2407">
                  <c:v>42.237419354838714</c:v>
                </c:pt>
                <c:pt idx="2408">
                  <c:v>42.22870967741936</c:v>
                </c:pt>
                <c:pt idx="2409">
                  <c:v>42.22774193548387</c:v>
                </c:pt>
                <c:pt idx="2410">
                  <c:v>42.206451612903223</c:v>
                </c:pt>
                <c:pt idx="2411">
                  <c:v>42.22774193548387</c:v>
                </c:pt>
                <c:pt idx="2412">
                  <c:v>42.215806451612906</c:v>
                </c:pt>
                <c:pt idx="2413">
                  <c:v>42.279677419354833</c:v>
                </c:pt>
                <c:pt idx="2414">
                  <c:v>42.329677419354837</c:v>
                </c:pt>
                <c:pt idx="2415">
                  <c:v>42.325806451612898</c:v>
                </c:pt>
                <c:pt idx="2416">
                  <c:v>42.272903225806445</c:v>
                </c:pt>
                <c:pt idx="2417">
                  <c:v>42.254516129032254</c:v>
                </c:pt>
                <c:pt idx="2418">
                  <c:v>42.160322580645158</c:v>
                </c:pt>
                <c:pt idx="2419">
                  <c:v>42.075483870967737</c:v>
                </c:pt>
                <c:pt idx="2420">
                  <c:v>41.971612903225804</c:v>
                </c:pt>
                <c:pt idx="2421">
                  <c:v>42.022580645161284</c:v>
                </c:pt>
                <c:pt idx="2422">
                  <c:v>42.029354838709665</c:v>
                </c:pt>
                <c:pt idx="2423">
                  <c:v>41.983666666666664</c:v>
                </c:pt>
                <c:pt idx="2424">
                  <c:v>42.021379310344827</c:v>
                </c:pt>
                <c:pt idx="2425">
                  <c:v>42.034285714285708</c:v>
                </c:pt>
                <c:pt idx="2426">
                  <c:v>42.071851851851847</c:v>
                </c:pt>
                <c:pt idx="2427">
                  <c:v>42.059999999999988</c:v>
                </c:pt>
                <c:pt idx="2428">
                  <c:v>42.125599999999991</c:v>
                </c:pt>
                <c:pt idx="2429">
                  <c:v>42.089999999999996</c:v>
                </c:pt>
                <c:pt idx="2430">
                  <c:v>42.130869565217388</c:v>
                </c:pt>
                <c:pt idx="2431">
                  <c:v>42.109090909090909</c:v>
                </c:pt>
                <c:pt idx="2432">
                  <c:v>42.1447619047619</c:v>
                </c:pt>
                <c:pt idx="2433">
                  <c:v>42.128</c:v>
                </c:pt>
                <c:pt idx="2434">
                  <c:v>42.134736842105269</c:v>
                </c:pt>
                <c:pt idx="2435">
                  <c:v>42.034444444444453</c:v>
                </c:pt>
                <c:pt idx="2436">
                  <c:v>41.976470588235301</c:v>
                </c:pt>
                <c:pt idx="2437">
                  <c:v>42.008750000000006</c:v>
                </c:pt>
                <c:pt idx="2438">
                  <c:v>41.93333333333333</c:v>
                </c:pt>
                <c:pt idx="2439">
                  <c:v>41.999285714285712</c:v>
                </c:pt>
                <c:pt idx="2440">
                  <c:v>42.009230769230768</c:v>
                </c:pt>
                <c:pt idx="2441">
                  <c:v>42.052500000000002</c:v>
                </c:pt>
                <c:pt idx="2442">
                  <c:v>41.953636363636363</c:v>
                </c:pt>
                <c:pt idx="2443">
                  <c:v>41.943000000000005</c:v>
                </c:pt>
                <c:pt idx="2444">
                  <c:v>41.794444444444444</c:v>
                </c:pt>
                <c:pt idx="2445">
                  <c:v>41.701250000000002</c:v>
                </c:pt>
                <c:pt idx="2446">
                  <c:v>41.83</c:v>
                </c:pt>
                <c:pt idx="2447">
                  <c:v>41.994999999999997</c:v>
                </c:pt>
                <c:pt idx="2448">
                  <c:v>41.94</c:v>
                </c:pt>
                <c:pt idx="2449">
                  <c:v>42.237499999999997</c:v>
                </c:pt>
                <c:pt idx="2450">
                  <c:v>42.543333333333329</c:v>
                </c:pt>
                <c:pt idx="2451">
                  <c:v>43.55</c:v>
                </c:pt>
              </c:numCache>
            </c:numRef>
          </c:val>
          <c:smooth val="0"/>
          <c:extLst>
            <c:ext xmlns:c16="http://schemas.microsoft.com/office/drawing/2014/chart" uri="{C3380CC4-5D6E-409C-BE32-E72D297353CC}">
              <c16:uniqueId val="{00000000-A317-4990-AD5E-DF35E9825BF6}"/>
            </c:ext>
          </c:extLst>
        </c:ser>
        <c:ser>
          <c:idx val="1"/>
          <c:order val="1"/>
          <c:tx>
            <c:strRef>
              <c:f>'DRT Rolling Mean'!$D$1</c:f>
              <c:strCache>
                <c:ptCount val="1"/>
                <c:pt idx="0">
                  <c:v>Volumetric Flow Meter 2</c:v>
                </c:pt>
              </c:strCache>
            </c:strRef>
          </c:tx>
          <c:spPr>
            <a:ln w="28575" cap="rnd">
              <a:solidFill>
                <a:schemeClr val="accent2"/>
              </a:solidFill>
              <a:round/>
            </a:ln>
            <a:effectLst/>
          </c:spPr>
          <c:marker>
            <c:symbol val="none"/>
          </c:marker>
          <c:cat>
            <c:numRef>
              <c:f>'DRT Rolling Mean'!$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D$2:$D$2453</c:f>
              <c:numCache>
                <c:formatCode>#,##0.00</c:formatCode>
                <c:ptCount val="2452"/>
                <c:pt idx="0">
                  <c:v>41.757419354838696</c:v>
                </c:pt>
                <c:pt idx="1">
                  <c:v>41.740645161290317</c:v>
                </c:pt>
                <c:pt idx="2">
                  <c:v>41.794838709677407</c:v>
                </c:pt>
                <c:pt idx="3">
                  <c:v>41.828387096774186</c:v>
                </c:pt>
                <c:pt idx="4">
                  <c:v>41.912903225806453</c:v>
                </c:pt>
                <c:pt idx="5">
                  <c:v>41.901935483870972</c:v>
                </c:pt>
                <c:pt idx="6">
                  <c:v>42.003225806451624</c:v>
                </c:pt>
                <c:pt idx="7">
                  <c:v>41.973870967741938</c:v>
                </c:pt>
                <c:pt idx="8">
                  <c:v>42.00516129032259</c:v>
                </c:pt>
                <c:pt idx="9">
                  <c:v>41.987741935483882</c:v>
                </c:pt>
                <c:pt idx="10">
                  <c:v>42.016774193548393</c:v>
                </c:pt>
                <c:pt idx="11">
                  <c:v>42.075483870967751</c:v>
                </c:pt>
                <c:pt idx="12">
                  <c:v>41.996451612903236</c:v>
                </c:pt>
                <c:pt idx="13">
                  <c:v>41.931612903225805</c:v>
                </c:pt>
                <c:pt idx="14">
                  <c:v>41.87903225806452</c:v>
                </c:pt>
                <c:pt idx="15">
                  <c:v>41.84032258064515</c:v>
                </c:pt>
                <c:pt idx="16">
                  <c:v>41.891935483870967</c:v>
                </c:pt>
                <c:pt idx="17">
                  <c:v>41.893225806451611</c:v>
                </c:pt>
                <c:pt idx="18">
                  <c:v>41.887096774193552</c:v>
                </c:pt>
                <c:pt idx="19">
                  <c:v>41.877741935483883</c:v>
                </c:pt>
                <c:pt idx="20">
                  <c:v>41.851935483870967</c:v>
                </c:pt>
                <c:pt idx="21">
                  <c:v>41.911612903225809</c:v>
                </c:pt>
                <c:pt idx="22">
                  <c:v>41.849032258064518</c:v>
                </c:pt>
                <c:pt idx="23">
                  <c:v>41.920645161290331</c:v>
                </c:pt>
                <c:pt idx="24">
                  <c:v>41.937741935483878</c:v>
                </c:pt>
                <c:pt idx="25">
                  <c:v>41.936129032258073</c:v>
                </c:pt>
                <c:pt idx="26">
                  <c:v>42.028064516129035</c:v>
                </c:pt>
                <c:pt idx="27">
                  <c:v>42.021935483870969</c:v>
                </c:pt>
                <c:pt idx="28">
                  <c:v>42.075161290322583</c:v>
                </c:pt>
                <c:pt idx="29">
                  <c:v>42.030967741935484</c:v>
                </c:pt>
                <c:pt idx="30">
                  <c:v>42.016774193548393</c:v>
                </c:pt>
                <c:pt idx="31">
                  <c:v>42.105483870967745</c:v>
                </c:pt>
                <c:pt idx="32">
                  <c:v>42.09225806451613</c:v>
                </c:pt>
                <c:pt idx="33">
                  <c:v>42.015161290322588</c:v>
                </c:pt>
                <c:pt idx="34">
                  <c:v>42.007741935483878</c:v>
                </c:pt>
                <c:pt idx="35">
                  <c:v>41.97225806451614</c:v>
                </c:pt>
                <c:pt idx="36">
                  <c:v>41.920645161290338</c:v>
                </c:pt>
                <c:pt idx="37">
                  <c:v>41.827419354838717</c:v>
                </c:pt>
                <c:pt idx="38">
                  <c:v>41.923548387096787</c:v>
                </c:pt>
                <c:pt idx="39">
                  <c:v>41.910645161290333</c:v>
                </c:pt>
                <c:pt idx="40">
                  <c:v>41.980000000000004</c:v>
                </c:pt>
                <c:pt idx="41">
                  <c:v>42.001612903225812</c:v>
                </c:pt>
                <c:pt idx="42">
                  <c:v>41.924838709677424</c:v>
                </c:pt>
                <c:pt idx="43">
                  <c:v>41.948387096774198</c:v>
                </c:pt>
                <c:pt idx="44">
                  <c:v>41.959677419354833</c:v>
                </c:pt>
                <c:pt idx="45">
                  <c:v>42.009032258064508</c:v>
                </c:pt>
                <c:pt idx="46">
                  <c:v>41.98096774193548</c:v>
                </c:pt>
                <c:pt idx="47">
                  <c:v>41.977096774193541</c:v>
                </c:pt>
                <c:pt idx="48">
                  <c:v>41.946774193548386</c:v>
                </c:pt>
                <c:pt idx="49">
                  <c:v>41.912903225806453</c:v>
                </c:pt>
                <c:pt idx="50">
                  <c:v>42.024516129032257</c:v>
                </c:pt>
                <c:pt idx="51">
                  <c:v>41.991935483870968</c:v>
                </c:pt>
                <c:pt idx="52">
                  <c:v>41.902903225806462</c:v>
                </c:pt>
                <c:pt idx="53">
                  <c:v>41.99774193548388</c:v>
                </c:pt>
                <c:pt idx="54">
                  <c:v>42.00516129032259</c:v>
                </c:pt>
                <c:pt idx="55">
                  <c:v>42.03387096774194</c:v>
                </c:pt>
                <c:pt idx="56">
                  <c:v>42.020645161290332</c:v>
                </c:pt>
                <c:pt idx="57">
                  <c:v>41.953870967741949</c:v>
                </c:pt>
                <c:pt idx="58">
                  <c:v>41.882258064516137</c:v>
                </c:pt>
                <c:pt idx="59">
                  <c:v>41.887741935483874</c:v>
                </c:pt>
                <c:pt idx="60">
                  <c:v>41.975483870967743</c:v>
                </c:pt>
                <c:pt idx="61">
                  <c:v>41.984516129032272</c:v>
                </c:pt>
                <c:pt idx="62">
                  <c:v>41.9467741935484</c:v>
                </c:pt>
                <c:pt idx="63">
                  <c:v>41.945806451612917</c:v>
                </c:pt>
                <c:pt idx="64">
                  <c:v>42.020322580645171</c:v>
                </c:pt>
                <c:pt idx="65">
                  <c:v>41.985161290322587</c:v>
                </c:pt>
                <c:pt idx="66">
                  <c:v>41.950322580645164</c:v>
                </c:pt>
                <c:pt idx="67">
                  <c:v>42.011935483870964</c:v>
                </c:pt>
                <c:pt idx="68">
                  <c:v>42.023225806451606</c:v>
                </c:pt>
                <c:pt idx="69">
                  <c:v>41.980967741935473</c:v>
                </c:pt>
                <c:pt idx="70">
                  <c:v>41.930322580645154</c:v>
                </c:pt>
                <c:pt idx="71">
                  <c:v>41.928064516129027</c:v>
                </c:pt>
                <c:pt idx="72">
                  <c:v>41.880967741935471</c:v>
                </c:pt>
                <c:pt idx="73">
                  <c:v>41.970967741935482</c:v>
                </c:pt>
                <c:pt idx="74">
                  <c:v>41.973548387096777</c:v>
                </c:pt>
                <c:pt idx="75">
                  <c:v>42.036774193548389</c:v>
                </c:pt>
                <c:pt idx="76">
                  <c:v>42.023225806451613</c:v>
                </c:pt>
                <c:pt idx="77">
                  <c:v>42.037741935483872</c:v>
                </c:pt>
                <c:pt idx="78">
                  <c:v>41.962580645161289</c:v>
                </c:pt>
                <c:pt idx="79">
                  <c:v>41.933870967741939</c:v>
                </c:pt>
                <c:pt idx="80">
                  <c:v>42.021935483870955</c:v>
                </c:pt>
                <c:pt idx="81">
                  <c:v>41.953870967741921</c:v>
                </c:pt>
                <c:pt idx="82">
                  <c:v>41.955806451612894</c:v>
                </c:pt>
                <c:pt idx="83">
                  <c:v>42.049354838709668</c:v>
                </c:pt>
                <c:pt idx="84">
                  <c:v>41.958387096774189</c:v>
                </c:pt>
                <c:pt idx="85">
                  <c:v>41.92</c:v>
                </c:pt>
                <c:pt idx="86">
                  <c:v>41.861612903225804</c:v>
                </c:pt>
                <c:pt idx="87">
                  <c:v>41.862580645161287</c:v>
                </c:pt>
                <c:pt idx="88">
                  <c:v>41.877419354838722</c:v>
                </c:pt>
                <c:pt idx="89">
                  <c:v>41.894516129032269</c:v>
                </c:pt>
                <c:pt idx="90">
                  <c:v>41.888064516129042</c:v>
                </c:pt>
                <c:pt idx="91">
                  <c:v>41.795806451612904</c:v>
                </c:pt>
                <c:pt idx="92">
                  <c:v>41.871935483870963</c:v>
                </c:pt>
                <c:pt idx="93">
                  <c:v>41.847741935483867</c:v>
                </c:pt>
                <c:pt idx="94">
                  <c:v>41.9216129032258</c:v>
                </c:pt>
                <c:pt idx="95">
                  <c:v>41.93967741935483</c:v>
                </c:pt>
                <c:pt idx="96">
                  <c:v>41.913548387096768</c:v>
                </c:pt>
                <c:pt idx="97">
                  <c:v>41.919677419354841</c:v>
                </c:pt>
                <c:pt idx="98">
                  <c:v>41.833225806451601</c:v>
                </c:pt>
                <c:pt idx="99">
                  <c:v>41.882258064516115</c:v>
                </c:pt>
                <c:pt idx="100">
                  <c:v>41.832580645161279</c:v>
                </c:pt>
                <c:pt idx="101">
                  <c:v>41.840967741935472</c:v>
                </c:pt>
                <c:pt idx="102">
                  <c:v>41.847419354838706</c:v>
                </c:pt>
                <c:pt idx="103">
                  <c:v>41.834516129032252</c:v>
                </c:pt>
                <c:pt idx="104">
                  <c:v>41.836129032258057</c:v>
                </c:pt>
                <c:pt idx="105">
                  <c:v>41.801935483870956</c:v>
                </c:pt>
                <c:pt idx="106">
                  <c:v>41.783225806451604</c:v>
                </c:pt>
                <c:pt idx="107">
                  <c:v>41.7416129032258</c:v>
                </c:pt>
                <c:pt idx="108">
                  <c:v>41.76</c:v>
                </c:pt>
                <c:pt idx="109">
                  <c:v>41.813548387096773</c:v>
                </c:pt>
                <c:pt idx="110">
                  <c:v>41.836774193548379</c:v>
                </c:pt>
                <c:pt idx="111">
                  <c:v>41.865806451612897</c:v>
                </c:pt>
                <c:pt idx="112">
                  <c:v>41.830322580645159</c:v>
                </c:pt>
                <c:pt idx="113">
                  <c:v>41.928709677419356</c:v>
                </c:pt>
                <c:pt idx="114">
                  <c:v>41.87580645161291</c:v>
                </c:pt>
                <c:pt idx="115">
                  <c:v>41.870645161290334</c:v>
                </c:pt>
                <c:pt idx="116">
                  <c:v>41.84322580645162</c:v>
                </c:pt>
                <c:pt idx="117">
                  <c:v>41.85032258064517</c:v>
                </c:pt>
                <c:pt idx="118">
                  <c:v>41.805483870967748</c:v>
                </c:pt>
                <c:pt idx="119">
                  <c:v>41.775806451612908</c:v>
                </c:pt>
                <c:pt idx="120">
                  <c:v>41.757096774193549</c:v>
                </c:pt>
                <c:pt idx="121">
                  <c:v>41.732903225806446</c:v>
                </c:pt>
                <c:pt idx="122">
                  <c:v>41.819677419354832</c:v>
                </c:pt>
                <c:pt idx="123">
                  <c:v>41.738064516129029</c:v>
                </c:pt>
                <c:pt idx="124">
                  <c:v>41.743548387096766</c:v>
                </c:pt>
                <c:pt idx="125">
                  <c:v>41.725483870967743</c:v>
                </c:pt>
                <c:pt idx="126">
                  <c:v>41.667096774193553</c:v>
                </c:pt>
                <c:pt idx="127">
                  <c:v>41.783225806451611</c:v>
                </c:pt>
                <c:pt idx="128">
                  <c:v>41.771935483870969</c:v>
                </c:pt>
                <c:pt idx="129">
                  <c:v>41.839354838709681</c:v>
                </c:pt>
                <c:pt idx="130">
                  <c:v>41.797419354838716</c:v>
                </c:pt>
                <c:pt idx="131">
                  <c:v>41.84225806451613</c:v>
                </c:pt>
                <c:pt idx="132">
                  <c:v>41.913225806451621</c:v>
                </c:pt>
                <c:pt idx="133">
                  <c:v>41.844838709677418</c:v>
                </c:pt>
                <c:pt idx="134">
                  <c:v>41.908064516129031</c:v>
                </c:pt>
                <c:pt idx="135">
                  <c:v>41.876129032258056</c:v>
                </c:pt>
                <c:pt idx="136">
                  <c:v>41.902580645161294</c:v>
                </c:pt>
                <c:pt idx="137">
                  <c:v>41.903225806451616</c:v>
                </c:pt>
                <c:pt idx="138">
                  <c:v>41.926129032258068</c:v>
                </c:pt>
                <c:pt idx="139">
                  <c:v>41.904516129032267</c:v>
                </c:pt>
                <c:pt idx="140">
                  <c:v>41.826451612903234</c:v>
                </c:pt>
                <c:pt idx="141">
                  <c:v>41.748064516129041</c:v>
                </c:pt>
                <c:pt idx="142">
                  <c:v>41.730967741935501</c:v>
                </c:pt>
                <c:pt idx="143">
                  <c:v>41.812258064516143</c:v>
                </c:pt>
                <c:pt idx="144">
                  <c:v>41.761290322580656</c:v>
                </c:pt>
                <c:pt idx="145">
                  <c:v>41.786774193548403</c:v>
                </c:pt>
                <c:pt idx="146">
                  <c:v>41.772903225806466</c:v>
                </c:pt>
                <c:pt idx="147">
                  <c:v>41.818387096774202</c:v>
                </c:pt>
                <c:pt idx="148">
                  <c:v>41.894516129032262</c:v>
                </c:pt>
                <c:pt idx="149">
                  <c:v>41.968387096774194</c:v>
                </c:pt>
                <c:pt idx="150">
                  <c:v>42.054193548387097</c:v>
                </c:pt>
                <c:pt idx="151">
                  <c:v>42.050967741935487</c:v>
                </c:pt>
                <c:pt idx="152">
                  <c:v>42.068709677419356</c:v>
                </c:pt>
                <c:pt idx="153">
                  <c:v>42.041935483870972</c:v>
                </c:pt>
                <c:pt idx="154">
                  <c:v>42.114838709677436</c:v>
                </c:pt>
                <c:pt idx="155">
                  <c:v>42.165483870967755</c:v>
                </c:pt>
                <c:pt idx="156">
                  <c:v>42.145806451612906</c:v>
                </c:pt>
                <c:pt idx="157">
                  <c:v>42.181290322580644</c:v>
                </c:pt>
                <c:pt idx="158">
                  <c:v>42.159032258064514</c:v>
                </c:pt>
                <c:pt idx="159">
                  <c:v>42.134838709677425</c:v>
                </c:pt>
                <c:pt idx="160">
                  <c:v>42.159677419354843</c:v>
                </c:pt>
                <c:pt idx="161">
                  <c:v>42.220645161290321</c:v>
                </c:pt>
                <c:pt idx="162">
                  <c:v>42.203225806451613</c:v>
                </c:pt>
                <c:pt idx="163">
                  <c:v>42.187096774193563</c:v>
                </c:pt>
                <c:pt idx="164">
                  <c:v>42.176451612903236</c:v>
                </c:pt>
                <c:pt idx="165">
                  <c:v>42.173870967741948</c:v>
                </c:pt>
                <c:pt idx="166">
                  <c:v>42.181290322580658</c:v>
                </c:pt>
                <c:pt idx="167">
                  <c:v>42.17870967741937</c:v>
                </c:pt>
                <c:pt idx="168">
                  <c:v>42.151290322580664</c:v>
                </c:pt>
                <c:pt idx="169">
                  <c:v>42.179032258064524</c:v>
                </c:pt>
                <c:pt idx="170">
                  <c:v>42.244516129032263</c:v>
                </c:pt>
                <c:pt idx="171">
                  <c:v>42.326451612903227</c:v>
                </c:pt>
                <c:pt idx="172">
                  <c:v>42.428709677419356</c:v>
                </c:pt>
                <c:pt idx="173">
                  <c:v>42.323870967741932</c:v>
                </c:pt>
                <c:pt idx="174">
                  <c:v>42.289354838709677</c:v>
                </c:pt>
                <c:pt idx="175">
                  <c:v>42.308709677419351</c:v>
                </c:pt>
                <c:pt idx="176">
                  <c:v>42.215161290322577</c:v>
                </c:pt>
                <c:pt idx="177">
                  <c:v>42.215806451612899</c:v>
                </c:pt>
                <c:pt idx="178">
                  <c:v>42.15290322580644</c:v>
                </c:pt>
                <c:pt idx="179">
                  <c:v>42.151612903225796</c:v>
                </c:pt>
                <c:pt idx="180">
                  <c:v>42.103225806451597</c:v>
                </c:pt>
                <c:pt idx="181">
                  <c:v>42.034193548387087</c:v>
                </c:pt>
                <c:pt idx="182">
                  <c:v>42.040645161290314</c:v>
                </c:pt>
                <c:pt idx="183">
                  <c:v>42.059999999999988</c:v>
                </c:pt>
                <c:pt idx="184">
                  <c:v>42.076774193548381</c:v>
                </c:pt>
                <c:pt idx="185">
                  <c:v>41.984838709677419</c:v>
                </c:pt>
                <c:pt idx="186">
                  <c:v>41.922903225806458</c:v>
                </c:pt>
                <c:pt idx="187">
                  <c:v>41.968387096774201</c:v>
                </c:pt>
                <c:pt idx="188">
                  <c:v>41.894193548387101</c:v>
                </c:pt>
                <c:pt idx="189">
                  <c:v>41.804193548387097</c:v>
                </c:pt>
                <c:pt idx="190">
                  <c:v>41.852580645161289</c:v>
                </c:pt>
                <c:pt idx="191">
                  <c:v>41.776774193548384</c:v>
                </c:pt>
                <c:pt idx="192">
                  <c:v>41.770645161290318</c:v>
                </c:pt>
                <c:pt idx="193">
                  <c:v>41.817419354838698</c:v>
                </c:pt>
                <c:pt idx="194">
                  <c:v>41.748709677419349</c:v>
                </c:pt>
                <c:pt idx="195">
                  <c:v>41.814516129032249</c:v>
                </c:pt>
                <c:pt idx="196">
                  <c:v>41.841935483870941</c:v>
                </c:pt>
                <c:pt idx="197">
                  <c:v>41.788064516129019</c:v>
                </c:pt>
                <c:pt idx="198">
                  <c:v>41.823870967741925</c:v>
                </c:pt>
                <c:pt idx="199">
                  <c:v>41.772580645161277</c:v>
                </c:pt>
                <c:pt idx="200">
                  <c:v>41.791290322580643</c:v>
                </c:pt>
                <c:pt idx="201">
                  <c:v>41.750645161290315</c:v>
                </c:pt>
                <c:pt idx="202">
                  <c:v>41.714838709677416</c:v>
                </c:pt>
                <c:pt idx="203">
                  <c:v>41.608709677419355</c:v>
                </c:pt>
                <c:pt idx="204">
                  <c:v>41.686774193548388</c:v>
                </c:pt>
                <c:pt idx="205">
                  <c:v>41.699354838709674</c:v>
                </c:pt>
                <c:pt idx="206">
                  <c:v>41.625806451612895</c:v>
                </c:pt>
                <c:pt idx="207">
                  <c:v>41.63548387096774</c:v>
                </c:pt>
                <c:pt idx="208">
                  <c:v>41.655483870967736</c:v>
                </c:pt>
                <c:pt idx="209">
                  <c:v>41.748387096774181</c:v>
                </c:pt>
                <c:pt idx="210">
                  <c:v>41.694193548387091</c:v>
                </c:pt>
                <c:pt idx="211">
                  <c:v>41.635161290322586</c:v>
                </c:pt>
                <c:pt idx="212">
                  <c:v>41.599032258064511</c:v>
                </c:pt>
                <c:pt idx="213">
                  <c:v>41.727419354838709</c:v>
                </c:pt>
                <c:pt idx="214">
                  <c:v>41.753870967741939</c:v>
                </c:pt>
                <c:pt idx="215">
                  <c:v>41.791612903225804</c:v>
                </c:pt>
                <c:pt idx="216">
                  <c:v>41.928064516129041</c:v>
                </c:pt>
                <c:pt idx="217">
                  <c:v>41.980322580645165</c:v>
                </c:pt>
                <c:pt idx="218">
                  <c:v>41.965806451612906</c:v>
                </c:pt>
                <c:pt idx="219">
                  <c:v>42.101612903225806</c:v>
                </c:pt>
                <c:pt idx="220">
                  <c:v>42.164193548387097</c:v>
                </c:pt>
                <c:pt idx="221">
                  <c:v>42.191935483870964</c:v>
                </c:pt>
                <c:pt idx="222">
                  <c:v>42.254193548387086</c:v>
                </c:pt>
                <c:pt idx="223">
                  <c:v>42.282580645161282</c:v>
                </c:pt>
                <c:pt idx="224">
                  <c:v>42.332580645161286</c:v>
                </c:pt>
                <c:pt idx="225">
                  <c:v>42.418709677419358</c:v>
                </c:pt>
                <c:pt idx="226">
                  <c:v>42.377419354838715</c:v>
                </c:pt>
                <c:pt idx="227">
                  <c:v>42.328064516129025</c:v>
                </c:pt>
                <c:pt idx="228">
                  <c:v>42.399354838709684</c:v>
                </c:pt>
                <c:pt idx="229">
                  <c:v>42.482903225806453</c:v>
                </c:pt>
                <c:pt idx="230">
                  <c:v>42.545806451612897</c:v>
                </c:pt>
                <c:pt idx="231">
                  <c:v>42.589677419354828</c:v>
                </c:pt>
                <c:pt idx="232">
                  <c:v>42.704193548387089</c:v>
                </c:pt>
                <c:pt idx="233">
                  <c:v>42.745806451612893</c:v>
                </c:pt>
                <c:pt idx="234">
                  <c:v>42.868709677419346</c:v>
                </c:pt>
                <c:pt idx="235">
                  <c:v>42.861290322580643</c:v>
                </c:pt>
                <c:pt idx="236">
                  <c:v>42.884838709677425</c:v>
                </c:pt>
                <c:pt idx="237">
                  <c:v>43.02967741935484</c:v>
                </c:pt>
                <c:pt idx="238">
                  <c:v>43.097741935483874</c:v>
                </c:pt>
                <c:pt idx="239">
                  <c:v>43.219032258064523</c:v>
                </c:pt>
                <c:pt idx="240">
                  <c:v>43.217419354838718</c:v>
                </c:pt>
                <c:pt idx="241">
                  <c:v>43.238064516129036</c:v>
                </c:pt>
                <c:pt idx="242">
                  <c:v>43.293548387096777</c:v>
                </c:pt>
                <c:pt idx="243">
                  <c:v>43.424193548387102</c:v>
                </c:pt>
                <c:pt idx="244">
                  <c:v>43.438064516129039</c:v>
                </c:pt>
                <c:pt idx="245">
                  <c:v>43.366451612903226</c:v>
                </c:pt>
                <c:pt idx="246">
                  <c:v>43.341935483870962</c:v>
                </c:pt>
                <c:pt idx="247">
                  <c:v>43.354838709677416</c:v>
                </c:pt>
                <c:pt idx="248">
                  <c:v>43.393870967741933</c:v>
                </c:pt>
                <c:pt idx="249">
                  <c:v>43.411935483870963</c:v>
                </c:pt>
                <c:pt idx="250">
                  <c:v>43.418064516129029</c:v>
                </c:pt>
                <c:pt idx="251">
                  <c:v>43.415806451612902</c:v>
                </c:pt>
                <c:pt idx="252">
                  <c:v>43.468709677419348</c:v>
                </c:pt>
                <c:pt idx="253">
                  <c:v>43.438064516129032</c:v>
                </c:pt>
                <c:pt idx="254">
                  <c:v>43.431612903225812</c:v>
                </c:pt>
                <c:pt idx="255">
                  <c:v>43.372258064516117</c:v>
                </c:pt>
                <c:pt idx="256">
                  <c:v>43.295483870967743</c:v>
                </c:pt>
                <c:pt idx="257">
                  <c:v>43.235806451612902</c:v>
                </c:pt>
                <c:pt idx="258">
                  <c:v>43.219677419354838</c:v>
                </c:pt>
                <c:pt idx="259">
                  <c:v>43.13225806451613</c:v>
                </c:pt>
                <c:pt idx="260">
                  <c:v>43.038387096774187</c:v>
                </c:pt>
                <c:pt idx="261">
                  <c:v>42.996774193548376</c:v>
                </c:pt>
                <c:pt idx="262">
                  <c:v>42.927096774193544</c:v>
                </c:pt>
                <c:pt idx="263">
                  <c:v>42.80419354838709</c:v>
                </c:pt>
                <c:pt idx="264">
                  <c:v>42.694516129032252</c:v>
                </c:pt>
                <c:pt idx="265">
                  <c:v>42.625161290322573</c:v>
                </c:pt>
                <c:pt idx="266">
                  <c:v>42.552580645161292</c:v>
                </c:pt>
                <c:pt idx="267">
                  <c:v>42.469032258064516</c:v>
                </c:pt>
                <c:pt idx="268">
                  <c:v>42.337741935483869</c:v>
                </c:pt>
                <c:pt idx="269">
                  <c:v>42.262903225806461</c:v>
                </c:pt>
                <c:pt idx="270">
                  <c:v>42.133225806451634</c:v>
                </c:pt>
                <c:pt idx="271">
                  <c:v>42.112580645161309</c:v>
                </c:pt>
                <c:pt idx="272">
                  <c:v>42.082903225806461</c:v>
                </c:pt>
                <c:pt idx="273">
                  <c:v>42.061935483870975</c:v>
                </c:pt>
                <c:pt idx="274">
                  <c:v>42.04548387096775</c:v>
                </c:pt>
                <c:pt idx="275">
                  <c:v>42.019677419354842</c:v>
                </c:pt>
                <c:pt idx="276">
                  <c:v>42.044838709677421</c:v>
                </c:pt>
                <c:pt idx="277">
                  <c:v>41.941612903225817</c:v>
                </c:pt>
                <c:pt idx="278">
                  <c:v>41.843225806451613</c:v>
                </c:pt>
                <c:pt idx="279">
                  <c:v>41.732258064516131</c:v>
                </c:pt>
                <c:pt idx="280">
                  <c:v>41.702903225806459</c:v>
                </c:pt>
                <c:pt idx="281">
                  <c:v>41.565483870967746</c:v>
                </c:pt>
                <c:pt idx="282">
                  <c:v>41.607419354838711</c:v>
                </c:pt>
                <c:pt idx="283">
                  <c:v>41.470000000000006</c:v>
                </c:pt>
                <c:pt idx="284">
                  <c:v>41.409354838709682</c:v>
                </c:pt>
                <c:pt idx="285">
                  <c:v>41.358709677419363</c:v>
                </c:pt>
                <c:pt idx="286">
                  <c:v>41.335161290322581</c:v>
                </c:pt>
                <c:pt idx="287">
                  <c:v>41.330967741935481</c:v>
                </c:pt>
                <c:pt idx="288">
                  <c:v>41.385161290322579</c:v>
                </c:pt>
                <c:pt idx="289">
                  <c:v>41.357096774193543</c:v>
                </c:pt>
                <c:pt idx="290">
                  <c:v>41.388387096774196</c:v>
                </c:pt>
                <c:pt idx="291">
                  <c:v>41.450322580645164</c:v>
                </c:pt>
                <c:pt idx="292">
                  <c:v>41.538709677419355</c:v>
                </c:pt>
                <c:pt idx="293">
                  <c:v>41.470967741935482</c:v>
                </c:pt>
                <c:pt idx="294">
                  <c:v>41.47354838709677</c:v>
                </c:pt>
                <c:pt idx="295">
                  <c:v>41.585483870967735</c:v>
                </c:pt>
                <c:pt idx="296">
                  <c:v>41.579999999999991</c:v>
                </c:pt>
                <c:pt idx="297">
                  <c:v>41.582258064516132</c:v>
                </c:pt>
                <c:pt idx="298">
                  <c:v>41.682903225806449</c:v>
                </c:pt>
                <c:pt idx="299">
                  <c:v>41.792903225806448</c:v>
                </c:pt>
                <c:pt idx="300">
                  <c:v>41.803870967741936</c:v>
                </c:pt>
                <c:pt idx="301">
                  <c:v>41.803225806451614</c:v>
                </c:pt>
                <c:pt idx="302">
                  <c:v>41.730645161290319</c:v>
                </c:pt>
                <c:pt idx="303">
                  <c:v>41.809677419354834</c:v>
                </c:pt>
                <c:pt idx="304">
                  <c:v>41.814516129032256</c:v>
                </c:pt>
                <c:pt idx="305">
                  <c:v>41.814516129032256</c:v>
                </c:pt>
                <c:pt idx="306">
                  <c:v>41.792258064516133</c:v>
                </c:pt>
                <c:pt idx="307">
                  <c:v>41.698064516129037</c:v>
                </c:pt>
                <c:pt idx="308">
                  <c:v>41.789354838709677</c:v>
                </c:pt>
                <c:pt idx="309">
                  <c:v>41.825161290322576</c:v>
                </c:pt>
                <c:pt idx="310">
                  <c:v>41.887419354838713</c:v>
                </c:pt>
                <c:pt idx="311">
                  <c:v>41.855806451612899</c:v>
                </c:pt>
                <c:pt idx="312">
                  <c:v>41.881935483870969</c:v>
                </c:pt>
                <c:pt idx="313">
                  <c:v>41.800645161290319</c:v>
                </c:pt>
                <c:pt idx="314">
                  <c:v>41.916774193548385</c:v>
                </c:pt>
                <c:pt idx="315">
                  <c:v>41.932903225806449</c:v>
                </c:pt>
                <c:pt idx="316">
                  <c:v>41.881612903225793</c:v>
                </c:pt>
                <c:pt idx="317">
                  <c:v>41.873870967741915</c:v>
                </c:pt>
                <c:pt idx="318">
                  <c:v>41.864516129032246</c:v>
                </c:pt>
                <c:pt idx="319">
                  <c:v>41.867096774193541</c:v>
                </c:pt>
                <c:pt idx="320">
                  <c:v>41.958709677419357</c:v>
                </c:pt>
                <c:pt idx="321">
                  <c:v>41.986129032258063</c:v>
                </c:pt>
                <c:pt idx="322">
                  <c:v>41.961612903225806</c:v>
                </c:pt>
                <c:pt idx="323">
                  <c:v>41.945161290322581</c:v>
                </c:pt>
                <c:pt idx="324">
                  <c:v>41.969354838709677</c:v>
                </c:pt>
                <c:pt idx="325">
                  <c:v>41.945483870967742</c:v>
                </c:pt>
                <c:pt idx="326">
                  <c:v>41.894193548387101</c:v>
                </c:pt>
                <c:pt idx="327">
                  <c:v>41.928387096774195</c:v>
                </c:pt>
                <c:pt idx="328">
                  <c:v>42.012580645161286</c:v>
                </c:pt>
                <c:pt idx="329">
                  <c:v>42.016774193548386</c:v>
                </c:pt>
                <c:pt idx="330">
                  <c:v>41.916129032258063</c:v>
                </c:pt>
                <c:pt idx="331">
                  <c:v>41.961290322580638</c:v>
                </c:pt>
                <c:pt idx="332">
                  <c:v>41.94387096774193</c:v>
                </c:pt>
                <c:pt idx="333">
                  <c:v>41.958064516129028</c:v>
                </c:pt>
                <c:pt idx="334">
                  <c:v>41.931935483870966</c:v>
                </c:pt>
                <c:pt idx="335">
                  <c:v>41.944516129032259</c:v>
                </c:pt>
                <c:pt idx="336">
                  <c:v>41.865806451612897</c:v>
                </c:pt>
                <c:pt idx="337">
                  <c:v>41.885806451612908</c:v>
                </c:pt>
                <c:pt idx="338">
                  <c:v>41.924838709677431</c:v>
                </c:pt>
                <c:pt idx="339">
                  <c:v>41.943548387096783</c:v>
                </c:pt>
                <c:pt idx="340">
                  <c:v>41.927096774193551</c:v>
                </c:pt>
                <c:pt idx="341">
                  <c:v>41.960645161290323</c:v>
                </c:pt>
                <c:pt idx="342">
                  <c:v>42.046451612903219</c:v>
                </c:pt>
                <c:pt idx="343">
                  <c:v>42.092258064516123</c:v>
                </c:pt>
                <c:pt idx="344">
                  <c:v>42.141290322580645</c:v>
                </c:pt>
                <c:pt idx="345">
                  <c:v>42.051612903225802</c:v>
                </c:pt>
                <c:pt idx="346">
                  <c:v>42.125483870967734</c:v>
                </c:pt>
                <c:pt idx="347">
                  <c:v>42.184193548387086</c:v>
                </c:pt>
                <c:pt idx="348">
                  <c:v>42.223870967741924</c:v>
                </c:pt>
                <c:pt idx="349">
                  <c:v>42.255161290322562</c:v>
                </c:pt>
                <c:pt idx="350">
                  <c:v>42.283548387096751</c:v>
                </c:pt>
                <c:pt idx="351">
                  <c:v>42.217096774193543</c:v>
                </c:pt>
                <c:pt idx="352">
                  <c:v>42.195161290322574</c:v>
                </c:pt>
                <c:pt idx="353">
                  <c:v>42.212258064516121</c:v>
                </c:pt>
                <c:pt idx="354">
                  <c:v>42.192258064516125</c:v>
                </c:pt>
                <c:pt idx="355">
                  <c:v>42.185483870967737</c:v>
                </c:pt>
                <c:pt idx="356">
                  <c:v>42.257741935483871</c:v>
                </c:pt>
                <c:pt idx="357">
                  <c:v>42.21290322580645</c:v>
                </c:pt>
                <c:pt idx="358">
                  <c:v>42.157096774193541</c:v>
                </c:pt>
                <c:pt idx="359">
                  <c:v>42.078387096774179</c:v>
                </c:pt>
                <c:pt idx="360">
                  <c:v>42.033870967741919</c:v>
                </c:pt>
                <c:pt idx="361">
                  <c:v>42.012580645161272</c:v>
                </c:pt>
                <c:pt idx="362">
                  <c:v>41.959999999999987</c:v>
                </c:pt>
                <c:pt idx="363">
                  <c:v>41.98419354838709</c:v>
                </c:pt>
                <c:pt idx="364">
                  <c:v>42.059677419354827</c:v>
                </c:pt>
                <c:pt idx="365">
                  <c:v>41.968387096774194</c:v>
                </c:pt>
                <c:pt idx="366">
                  <c:v>42.008709677419354</c:v>
                </c:pt>
                <c:pt idx="367">
                  <c:v>42.018709677419352</c:v>
                </c:pt>
                <c:pt idx="368">
                  <c:v>41.973225806451616</c:v>
                </c:pt>
                <c:pt idx="369">
                  <c:v>41.992903225806458</c:v>
                </c:pt>
                <c:pt idx="370">
                  <c:v>41.920645161290338</c:v>
                </c:pt>
                <c:pt idx="371">
                  <c:v>41.88000000000001</c:v>
                </c:pt>
                <c:pt idx="372">
                  <c:v>41.8725806451613</c:v>
                </c:pt>
                <c:pt idx="373">
                  <c:v>41.787419354838711</c:v>
                </c:pt>
                <c:pt idx="374">
                  <c:v>41.721612903225811</c:v>
                </c:pt>
                <c:pt idx="375">
                  <c:v>41.705806451612901</c:v>
                </c:pt>
                <c:pt idx="376">
                  <c:v>41.678387096774188</c:v>
                </c:pt>
                <c:pt idx="377">
                  <c:v>41.672258064516122</c:v>
                </c:pt>
                <c:pt idx="378">
                  <c:v>41.626129032258056</c:v>
                </c:pt>
                <c:pt idx="379">
                  <c:v>41.650967741935474</c:v>
                </c:pt>
                <c:pt idx="380">
                  <c:v>41.664838709677419</c:v>
                </c:pt>
                <c:pt idx="381">
                  <c:v>41.64612903225806</c:v>
                </c:pt>
                <c:pt idx="382">
                  <c:v>41.643548387096772</c:v>
                </c:pt>
                <c:pt idx="383">
                  <c:v>41.659354838709682</c:v>
                </c:pt>
                <c:pt idx="384">
                  <c:v>41.66290322580646</c:v>
                </c:pt>
                <c:pt idx="385">
                  <c:v>41.690000000000005</c:v>
                </c:pt>
                <c:pt idx="386">
                  <c:v>41.686451612903241</c:v>
                </c:pt>
                <c:pt idx="387">
                  <c:v>41.614838709677421</c:v>
                </c:pt>
                <c:pt idx="388">
                  <c:v>41.642903225806464</c:v>
                </c:pt>
                <c:pt idx="389">
                  <c:v>41.693548387096783</c:v>
                </c:pt>
                <c:pt idx="390">
                  <c:v>41.693548387096776</c:v>
                </c:pt>
                <c:pt idx="391">
                  <c:v>41.650645161290328</c:v>
                </c:pt>
                <c:pt idx="392">
                  <c:v>41.71935483870967</c:v>
                </c:pt>
                <c:pt idx="393">
                  <c:v>41.795483870967736</c:v>
                </c:pt>
                <c:pt idx="394">
                  <c:v>41.828709677419347</c:v>
                </c:pt>
                <c:pt idx="395">
                  <c:v>41.794838709677414</c:v>
                </c:pt>
                <c:pt idx="396">
                  <c:v>41.802903225806446</c:v>
                </c:pt>
                <c:pt idx="397">
                  <c:v>41.789032258064509</c:v>
                </c:pt>
                <c:pt idx="398">
                  <c:v>41.860322580645153</c:v>
                </c:pt>
                <c:pt idx="399">
                  <c:v>41.804516129032251</c:v>
                </c:pt>
                <c:pt idx="400">
                  <c:v>41.866451612903219</c:v>
                </c:pt>
                <c:pt idx="401">
                  <c:v>41.831935483870964</c:v>
                </c:pt>
                <c:pt idx="402">
                  <c:v>41.846774193548377</c:v>
                </c:pt>
                <c:pt idx="403">
                  <c:v>41.845806451612894</c:v>
                </c:pt>
                <c:pt idx="404">
                  <c:v>41.938064516129025</c:v>
                </c:pt>
                <c:pt idx="405">
                  <c:v>41.938387096774193</c:v>
                </c:pt>
                <c:pt idx="406">
                  <c:v>41.909354838709675</c:v>
                </c:pt>
                <c:pt idx="407">
                  <c:v>41.918709677419351</c:v>
                </c:pt>
                <c:pt idx="408">
                  <c:v>41.875483870967734</c:v>
                </c:pt>
                <c:pt idx="409">
                  <c:v>41.950322580645164</c:v>
                </c:pt>
                <c:pt idx="410">
                  <c:v>41.893870967741933</c:v>
                </c:pt>
                <c:pt idx="411">
                  <c:v>41.915483870967741</c:v>
                </c:pt>
                <c:pt idx="412">
                  <c:v>41.953225806451613</c:v>
                </c:pt>
                <c:pt idx="413">
                  <c:v>41.970645161290321</c:v>
                </c:pt>
                <c:pt idx="414">
                  <c:v>41.886129032258069</c:v>
                </c:pt>
                <c:pt idx="415">
                  <c:v>41.858709677419355</c:v>
                </c:pt>
                <c:pt idx="416">
                  <c:v>41.784838709677423</c:v>
                </c:pt>
                <c:pt idx="417">
                  <c:v>41.788387096774201</c:v>
                </c:pt>
                <c:pt idx="418">
                  <c:v>41.808387096774197</c:v>
                </c:pt>
                <c:pt idx="419">
                  <c:v>41.876774193548393</c:v>
                </c:pt>
                <c:pt idx="420">
                  <c:v>41.81</c:v>
                </c:pt>
                <c:pt idx="421">
                  <c:v>41.916774193548399</c:v>
                </c:pt>
                <c:pt idx="422">
                  <c:v>41.940322580645166</c:v>
                </c:pt>
                <c:pt idx="423">
                  <c:v>41.878709677419359</c:v>
                </c:pt>
                <c:pt idx="424">
                  <c:v>41.833870967741923</c:v>
                </c:pt>
                <c:pt idx="425">
                  <c:v>41.824838709677415</c:v>
                </c:pt>
                <c:pt idx="426">
                  <c:v>41.816451612903215</c:v>
                </c:pt>
                <c:pt idx="427">
                  <c:v>41.916451612903224</c:v>
                </c:pt>
                <c:pt idx="428">
                  <c:v>41.947741935483869</c:v>
                </c:pt>
                <c:pt idx="429">
                  <c:v>41.917419354838707</c:v>
                </c:pt>
                <c:pt idx="430">
                  <c:v>42.00548387096773</c:v>
                </c:pt>
                <c:pt idx="431">
                  <c:v>41.992580645161283</c:v>
                </c:pt>
                <c:pt idx="432">
                  <c:v>42.085806451612903</c:v>
                </c:pt>
                <c:pt idx="433">
                  <c:v>42.100645161290323</c:v>
                </c:pt>
                <c:pt idx="434">
                  <c:v>42.057419354838707</c:v>
                </c:pt>
                <c:pt idx="435">
                  <c:v>41.970645161290335</c:v>
                </c:pt>
                <c:pt idx="436">
                  <c:v>42.067096774193551</c:v>
                </c:pt>
                <c:pt idx="437">
                  <c:v>42.078064516129039</c:v>
                </c:pt>
                <c:pt idx="438">
                  <c:v>42.077096774193549</c:v>
                </c:pt>
                <c:pt idx="439">
                  <c:v>42.046774193548387</c:v>
                </c:pt>
                <c:pt idx="440">
                  <c:v>42.010967741935488</c:v>
                </c:pt>
                <c:pt idx="441">
                  <c:v>41.988064516129036</c:v>
                </c:pt>
                <c:pt idx="442">
                  <c:v>41.989677419354841</c:v>
                </c:pt>
                <c:pt idx="443">
                  <c:v>41.894193548387108</c:v>
                </c:pt>
                <c:pt idx="444">
                  <c:v>41.948064516129037</c:v>
                </c:pt>
                <c:pt idx="445">
                  <c:v>42.020967741935479</c:v>
                </c:pt>
                <c:pt idx="446">
                  <c:v>42.035483870967738</c:v>
                </c:pt>
                <c:pt idx="447">
                  <c:v>42.085806451612896</c:v>
                </c:pt>
                <c:pt idx="448">
                  <c:v>42.101935483870953</c:v>
                </c:pt>
                <c:pt idx="449">
                  <c:v>42.166129032258056</c:v>
                </c:pt>
                <c:pt idx="450">
                  <c:v>42.151612903225796</c:v>
                </c:pt>
                <c:pt idx="451">
                  <c:v>42.26064516129032</c:v>
                </c:pt>
                <c:pt idx="452">
                  <c:v>42.24064516129031</c:v>
                </c:pt>
                <c:pt idx="453">
                  <c:v>42.281612903225792</c:v>
                </c:pt>
                <c:pt idx="454">
                  <c:v>42.368064516129024</c:v>
                </c:pt>
                <c:pt idx="455">
                  <c:v>42.336451612903211</c:v>
                </c:pt>
                <c:pt idx="456">
                  <c:v>42.395483870967745</c:v>
                </c:pt>
                <c:pt idx="457">
                  <c:v>42.354516129032255</c:v>
                </c:pt>
                <c:pt idx="458">
                  <c:v>42.263870967741937</c:v>
                </c:pt>
                <c:pt idx="459">
                  <c:v>42.177741935483873</c:v>
                </c:pt>
                <c:pt idx="460">
                  <c:v>42.132580645161298</c:v>
                </c:pt>
                <c:pt idx="461">
                  <c:v>42.040322580645167</c:v>
                </c:pt>
                <c:pt idx="462">
                  <c:v>42.01580645161291</c:v>
                </c:pt>
                <c:pt idx="463">
                  <c:v>42.030000000000008</c:v>
                </c:pt>
                <c:pt idx="464">
                  <c:v>42.006451612903234</c:v>
                </c:pt>
                <c:pt idx="465">
                  <c:v>41.960967741935491</c:v>
                </c:pt>
                <c:pt idx="466">
                  <c:v>41.934838709677429</c:v>
                </c:pt>
                <c:pt idx="467">
                  <c:v>41.812258064516129</c:v>
                </c:pt>
                <c:pt idx="468">
                  <c:v>41.844193548387089</c:v>
                </c:pt>
                <c:pt idx="469">
                  <c:v>41.945161290322574</c:v>
                </c:pt>
                <c:pt idx="470">
                  <c:v>42.048709677419353</c:v>
                </c:pt>
                <c:pt idx="471">
                  <c:v>42.03</c:v>
                </c:pt>
                <c:pt idx="472">
                  <c:v>42.065483870967739</c:v>
                </c:pt>
                <c:pt idx="473">
                  <c:v>42.038709677419355</c:v>
                </c:pt>
                <c:pt idx="474">
                  <c:v>42.064516129032263</c:v>
                </c:pt>
                <c:pt idx="475">
                  <c:v>42.037741935483872</c:v>
                </c:pt>
                <c:pt idx="476">
                  <c:v>42.008387096774193</c:v>
                </c:pt>
                <c:pt idx="477">
                  <c:v>41.962258064516128</c:v>
                </c:pt>
                <c:pt idx="478">
                  <c:v>41.930645161290322</c:v>
                </c:pt>
                <c:pt idx="479">
                  <c:v>41.910322580645165</c:v>
                </c:pt>
                <c:pt idx="480">
                  <c:v>41.848064516129028</c:v>
                </c:pt>
                <c:pt idx="481">
                  <c:v>41.794838709677414</c:v>
                </c:pt>
                <c:pt idx="482">
                  <c:v>41.754516129032261</c:v>
                </c:pt>
                <c:pt idx="483">
                  <c:v>41.744838709677424</c:v>
                </c:pt>
                <c:pt idx="484">
                  <c:v>41.690000000000005</c:v>
                </c:pt>
                <c:pt idx="485">
                  <c:v>41.618387096774192</c:v>
                </c:pt>
                <c:pt idx="486">
                  <c:v>41.701935483870969</c:v>
                </c:pt>
                <c:pt idx="487">
                  <c:v>41.613870967741931</c:v>
                </c:pt>
                <c:pt idx="488">
                  <c:v>41.65</c:v>
                </c:pt>
                <c:pt idx="489">
                  <c:v>41.731290322580648</c:v>
                </c:pt>
                <c:pt idx="490">
                  <c:v>41.709032258064518</c:v>
                </c:pt>
                <c:pt idx="491">
                  <c:v>41.681612903225805</c:v>
                </c:pt>
                <c:pt idx="492">
                  <c:v>41.759677419354837</c:v>
                </c:pt>
                <c:pt idx="493">
                  <c:v>41.725483870967736</c:v>
                </c:pt>
                <c:pt idx="494">
                  <c:v>41.682258064516127</c:v>
                </c:pt>
                <c:pt idx="495">
                  <c:v>41.674516129032249</c:v>
                </c:pt>
                <c:pt idx="496">
                  <c:v>41.710645161290316</c:v>
                </c:pt>
                <c:pt idx="497">
                  <c:v>41.725161290322582</c:v>
                </c:pt>
                <c:pt idx="498">
                  <c:v>41.738064516129036</c:v>
                </c:pt>
                <c:pt idx="499">
                  <c:v>41.719677419354845</c:v>
                </c:pt>
                <c:pt idx="500">
                  <c:v>41.707741935483881</c:v>
                </c:pt>
                <c:pt idx="501">
                  <c:v>41.704516129032278</c:v>
                </c:pt>
                <c:pt idx="502">
                  <c:v>41.703225806451627</c:v>
                </c:pt>
                <c:pt idx="503">
                  <c:v>41.640967741935498</c:v>
                </c:pt>
                <c:pt idx="504">
                  <c:v>41.704193548387103</c:v>
                </c:pt>
                <c:pt idx="505">
                  <c:v>41.735806451612909</c:v>
                </c:pt>
                <c:pt idx="506">
                  <c:v>41.755483870967751</c:v>
                </c:pt>
                <c:pt idx="507">
                  <c:v>41.777096774193559</c:v>
                </c:pt>
                <c:pt idx="508">
                  <c:v>41.740000000000009</c:v>
                </c:pt>
                <c:pt idx="509">
                  <c:v>41.796129032258079</c:v>
                </c:pt>
                <c:pt idx="510">
                  <c:v>41.886129032258083</c:v>
                </c:pt>
                <c:pt idx="511">
                  <c:v>41.973548387096777</c:v>
                </c:pt>
                <c:pt idx="512">
                  <c:v>42.017741935483869</c:v>
                </c:pt>
                <c:pt idx="513">
                  <c:v>41.98193548387097</c:v>
                </c:pt>
                <c:pt idx="514">
                  <c:v>41.960322580645162</c:v>
                </c:pt>
                <c:pt idx="515">
                  <c:v>41.994516129032242</c:v>
                </c:pt>
                <c:pt idx="516">
                  <c:v>42.085483870967721</c:v>
                </c:pt>
                <c:pt idx="517">
                  <c:v>42.108387096774173</c:v>
                </c:pt>
                <c:pt idx="518">
                  <c:v>42.144838709677394</c:v>
                </c:pt>
                <c:pt idx="519">
                  <c:v>42.199677419354828</c:v>
                </c:pt>
                <c:pt idx="520">
                  <c:v>42.146451612903213</c:v>
                </c:pt>
                <c:pt idx="521">
                  <c:v>42.190967741935481</c:v>
                </c:pt>
                <c:pt idx="522">
                  <c:v>42.278709677419343</c:v>
                </c:pt>
                <c:pt idx="523">
                  <c:v>42.246774193548383</c:v>
                </c:pt>
                <c:pt idx="524">
                  <c:v>42.211290322580638</c:v>
                </c:pt>
                <c:pt idx="525">
                  <c:v>42.205161290322572</c:v>
                </c:pt>
                <c:pt idx="526">
                  <c:v>42.270967741935486</c:v>
                </c:pt>
                <c:pt idx="527">
                  <c:v>42.264516129032259</c:v>
                </c:pt>
                <c:pt idx="528">
                  <c:v>42.354516129032255</c:v>
                </c:pt>
                <c:pt idx="529">
                  <c:v>42.457741935483881</c:v>
                </c:pt>
                <c:pt idx="530">
                  <c:v>42.426451612903236</c:v>
                </c:pt>
                <c:pt idx="531">
                  <c:v>42.398387096774201</c:v>
                </c:pt>
                <c:pt idx="532">
                  <c:v>42.391612903225813</c:v>
                </c:pt>
                <c:pt idx="533">
                  <c:v>42.454193548387103</c:v>
                </c:pt>
                <c:pt idx="534">
                  <c:v>42.576774193548388</c:v>
                </c:pt>
                <c:pt idx="535">
                  <c:v>42.531935483870974</c:v>
                </c:pt>
                <c:pt idx="536">
                  <c:v>42.566451612903229</c:v>
                </c:pt>
                <c:pt idx="537">
                  <c:v>42.469032258064516</c:v>
                </c:pt>
                <c:pt idx="538">
                  <c:v>42.414516129032258</c:v>
                </c:pt>
                <c:pt idx="539">
                  <c:v>42.502580645161288</c:v>
                </c:pt>
                <c:pt idx="540">
                  <c:v>42.494193548387095</c:v>
                </c:pt>
                <c:pt idx="541">
                  <c:v>42.370322580645151</c:v>
                </c:pt>
                <c:pt idx="542">
                  <c:v>42.268387096774191</c:v>
                </c:pt>
                <c:pt idx="543">
                  <c:v>42.295806451612897</c:v>
                </c:pt>
                <c:pt idx="544">
                  <c:v>42.25741935483871</c:v>
                </c:pt>
                <c:pt idx="545">
                  <c:v>42.254516129032261</c:v>
                </c:pt>
                <c:pt idx="546">
                  <c:v>42.212580645161289</c:v>
                </c:pt>
                <c:pt idx="547">
                  <c:v>42.212580645161289</c:v>
                </c:pt>
                <c:pt idx="548">
                  <c:v>42.165806451612909</c:v>
                </c:pt>
                <c:pt idx="549">
                  <c:v>42.20967741935484</c:v>
                </c:pt>
                <c:pt idx="550">
                  <c:v>42.194193548387091</c:v>
                </c:pt>
                <c:pt idx="551">
                  <c:v>42.222258064516119</c:v>
                </c:pt>
                <c:pt idx="552">
                  <c:v>42.217419354838704</c:v>
                </c:pt>
                <c:pt idx="553">
                  <c:v>42.149032258064508</c:v>
                </c:pt>
                <c:pt idx="554">
                  <c:v>42.199677419354842</c:v>
                </c:pt>
                <c:pt idx="555">
                  <c:v>42.214193548387101</c:v>
                </c:pt>
                <c:pt idx="556">
                  <c:v>42.263225806451615</c:v>
                </c:pt>
                <c:pt idx="557">
                  <c:v>42.267741935483876</c:v>
                </c:pt>
                <c:pt idx="558">
                  <c:v>42.333870967741937</c:v>
                </c:pt>
                <c:pt idx="559">
                  <c:v>42.221935483870972</c:v>
                </c:pt>
                <c:pt idx="560">
                  <c:v>42.22451612903226</c:v>
                </c:pt>
                <c:pt idx="561">
                  <c:v>42.32</c:v>
                </c:pt>
                <c:pt idx="562">
                  <c:v>42.248387096774195</c:v>
                </c:pt>
                <c:pt idx="563">
                  <c:v>42.147741935483872</c:v>
                </c:pt>
                <c:pt idx="564">
                  <c:v>42.109032258064516</c:v>
                </c:pt>
                <c:pt idx="565">
                  <c:v>42.02967741935484</c:v>
                </c:pt>
                <c:pt idx="566">
                  <c:v>42.01580645161291</c:v>
                </c:pt>
                <c:pt idx="567">
                  <c:v>41.962258064516128</c:v>
                </c:pt>
                <c:pt idx="568">
                  <c:v>41.962903225806464</c:v>
                </c:pt>
                <c:pt idx="569">
                  <c:v>42.007419354838717</c:v>
                </c:pt>
                <c:pt idx="570">
                  <c:v>41.995161290322592</c:v>
                </c:pt>
                <c:pt idx="571">
                  <c:v>41.910645161290333</c:v>
                </c:pt>
                <c:pt idx="572">
                  <c:v>41.99354838709678</c:v>
                </c:pt>
                <c:pt idx="573">
                  <c:v>42.101935483870975</c:v>
                </c:pt>
                <c:pt idx="574">
                  <c:v>41.983225806451621</c:v>
                </c:pt>
                <c:pt idx="575">
                  <c:v>42.006129032258066</c:v>
                </c:pt>
                <c:pt idx="576">
                  <c:v>41.992903225806451</c:v>
                </c:pt>
                <c:pt idx="577">
                  <c:v>42.05</c:v>
                </c:pt>
                <c:pt idx="578">
                  <c:v>42.019032258064513</c:v>
                </c:pt>
                <c:pt idx="579">
                  <c:v>42.00741935483871</c:v>
                </c:pt>
                <c:pt idx="580">
                  <c:v>41.926129032258068</c:v>
                </c:pt>
                <c:pt idx="581">
                  <c:v>41.890322580645169</c:v>
                </c:pt>
                <c:pt idx="582">
                  <c:v>41.844193548387103</c:v>
                </c:pt>
                <c:pt idx="583">
                  <c:v>41.857096774193558</c:v>
                </c:pt>
                <c:pt idx="584">
                  <c:v>41.836774193548393</c:v>
                </c:pt>
                <c:pt idx="585">
                  <c:v>41.772580645161291</c:v>
                </c:pt>
                <c:pt idx="586">
                  <c:v>41.799032258064521</c:v>
                </c:pt>
                <c:pt idx="587">
                  <c:v>41.730000000000004</c:v>
                </c:pt>
                <c:pt idx="588">
                  <c:v>41.643548387096786</c:v>
                </c:pt>
                <c:pt idx="589">
                  <c:v>41.65451612903226</c:v>
                </c:pt>
                <c:pt idx="590">
                  <c:v>41.74</c:v>
                </c:pt>
                <c:pt idx="591">
                  <c:v>41.674516129032263</c:v>
                </c:pt>
                <c:pt idx="592">
                  <c:v>41.624516129032266</c:v>
                </c:pt>
                <c:pt idx="593">
                  <c:v>41.663548387096782</c:v>
                </c:pt>
                <c:pt idx="594">
                  <c:v>41.752258064516127</c:v>
                </c:pt>
                <c:pt idx="595">
                  <c:v>41.810645161290317</c:v>
                </c:pt>
                <c:pt idx="596">
                  <c:v>41.884838709677425</c:v>
                </c:pt>
                <c:pt idx="597">
                  <c:v>41.953225806451613</c:v>
                </c:pt>
                <c:pt idx="598">
                  <c:v>42.01161290322581</c:v>
                </c:pt>
                <c:pt idx="599">
                  <c:v>42.085161290322574</c:v>
                </c:pt>
                <c:pt idx="600">
                  <c:v>42.047419354838709</c:v>
                </c:pt>
                <c:pt idx="601">
                  <c:v>42.0083870967742</c:v>
                </c:pt>
                <c:pt idx="602">
                  <c:v>42.122903225806461</c:v>
                </c:pt>
                <c:pt idx="603">
                  <c:v>42.157096774193562</c:v>
                </c:pt>
                <c:pt idx="604">
                  <c:v>42.173870967741948</c:v>
                </c:pt>
                <c:pt idx="605">
                  <c:v>42.333870967741944</c:v>
                </c:pt>
                <c:pt idx="606">
                  <c:v>42.438709677419368</c:v>
                </c:pt>
                <c:pt idx="607">
                  <c:v>42.469354838709691</c:v>
                </c:pt>
                <c:pt idx="608">
                  <c:v>42.513225806451622</c:v>
                </c:pt>
                <c:pt idx="609">
                  <c:v>42.569354838709671</c:v>
                </c:pt>
                <c:pt idx="610">
                  <c:v>42.601290322580638</c:v>
                </c:pt>
                <c:pt idx="611">
                  <c:v>42.679677419354839</c:v>
                </c:pt>
                <c:pt idx="612">
                  <c:v>42.73</c:v>
                </c:pt>
                <c:pt idx="613">
                  <c:v>42.833548387096769</c:v>
                </c:pt>
                <c:pt idx="614">
                  <c:v>42.890645161290323</c:v>
                </c:pt>
                <c:pt idx="615">
                  <c:v>42.977741935483863</c:v>
                </c:pt>
                <c:pt idx="616">
                  <c:v>43.035806451612892</c:v>
                </c:pt>
                <c:pt idx="617">
                  <c:v>43.112903225806448</c:v>
                </c:pt>
                <c:pt idx="618">
                  <c:v>43.196774193548393</c:v>
                </c:pt>
                <c:pt idx="619">
                  <c:v>43.27322580645162</c:v>
                </c:pt>
                <c:pt idx="620">
                  <c:v>43.308064516129043</c:v>
                </c:pt>
                <c:pt idx="621">
                  <c:v>43.368064516129031</c:v>
                </c:pt>
                <c:pt idx="622">
                  <c:v>43.423225806451626</c:v>
                </c:pt>
                <c:pt idx="623">
                  <c:v>43.434516129032268</c:v>
                </c:pt>
                <c:pt idx="624">
                  <c:v>43.485161290322594</c:v>
                </c:pt>
                <c:pt idx="625">
                  <c:v>43.491290322580653</c:v>
                </c:pt>
                <c:pt idx="626">
                  <c:v>43.488709677419358</c:v>
                </c:pt>
                <c:pt idx="627">
                  <c:v>43.475806451612904</c:v>
                </c:pt>
                <c:pt idx="628">
                  <c:v>43.451290322580647</c:v>
                </c:pt>
                <c:pt idx="629">
                  <c:v>43.498387096774195</c:v>
                </c:pt>
                <c:pt idx="630">
                  <c:v>43.549677419354836</c:v>
                </c:pt>
                <c:pt idx="631">
                  <c:v>43.690967741935488</c:v>
                </c:pt>
                <c:pt idx="632">
                  <c:v>43.718387096774201</c:v>
                </c:pt>
                <c:pt idx="633">
                  <c:v>43.661290322580648</c:v>
                </c:pt>
                <c:pt idx="634">
                  <c:v>43.662580645161292</c:v>
                </c:pt>
                <c:pt idx="635">
                  <c:v>43.635483870967747</c:v>
                </c:pt>
                <c:pt idx="636">
                  <c:v>43.57</c:v>
                </c:pt>
                <c:pt idx="637">
                  <c:v>43.50322580645161</c:v>
                </c:pt>
                <c:pt idx="638">
                  <c:v>43.573548387096764</c:v>
                </c:pt>
                <c:pt idx="639">
                  <c:v>43.527419354838706</c:v>
                </c:pt>
                <c:pt idx="640">
                  <c:v>43.526774193548377</c:v>
                </c:pt>
                <c:pt idx="641">
                  <c:v>43.595806451612887</c:v>
                </c:pt>
                <c:pt idx="642">
                  <c:v>43.569354838709671</c:v>
                </c:pt>
                <c:pt idx="643">
                  <c:v>43.545161290322561</c:v>
                </c:pt>
                <c:pt idx="644">
                  <c:v>43.511290322580635</c:v>
                </c:pt>
                <c:pt idx="645">
                  <c:v>43.39967741935483</c:v>
                </c:pt>
                <c:pt idx="646">
                  <c:v>43.30225806451611</c:v>
                </c:pt>
                <c:pt idx="647">
                  <c:v>43.265483870967728</c:v>
                </c:pt>
                <c:pt idx="648">
                  <c:v>43.239677419354827</c:v>
                </c:pt>
                <c:pt idx="649">
                  <c:v>43.134193548387081</c:v>
                </c:pt>
                <c:pt idx="650">
                  <c:v>43.095483870967733</c:v>
                </c:pt>
                <c:pt idx="651">
                  <c:v>42.957419354838706</c:v>
                </c:pt>
                <c:pt idx="652">
                  <c:v>42.908387096774184</c:v>
                </c:pt>
                <c:pt idx="653">
                  <c:v>42.865161290322568</c:v>
                </c:pt>
                <c:pt idx="654">
                  <c:v>42.851612903225792</c:v>
                </c:pt>
                <c:pt idx="655">
                  <c:v>42.77032258064515</c:v>
                </c:pt>
                <c:pt idx="656">
                  <c:v>42.774193548387096</c:v>
                </c:pt>
                <c:pt idx="657">
                  <c:v>42.744838709677417</c:v>
                </c:pt>
                <c:pt idx="658">
                  <c:v>42.767419354838701</c:v>
                </c:pt>
                <c:pt idx="659">
                  <c:v>42.735483870967741</c:v>
                </c:pt>
                <c:pt idx="660">
                  <c:v>42.605806451612899</c:v>
                </c:pt>
                <c:pt idx="661">
                  <c:v>42.542258064516133</c:v>
                </c:pt>
                <c:pt idx="662">
                  <c:v>42.472903225806462</c:v>
                </c:pt>
                <c:pt idx="663">
                  <c:v>42.408064516129045</c:v>
                </c:pt>
                <c:pt idx="664">
                  <c:v>42.446129032258078</c:v>
                </c:pt>
                <c:pt idx="665">
                  <c:v>42.352580645161297</c:v>
                </c:pt>
                <c:pt idx="666">
                  <c:v>42.24774193548388</c:v>
                </c:pt>
                <c:pt idx="667">
                  <c:v>42.177419354838719</c:v>
                </c:pt>
                <c:pt idx="668">
                  <c:v>42.112903225806456</c:v>
                </c:pt>
                <c:pt idx="669">
                  <c:v>42.086774193548386</c:v>
                </c:pt>
                <c:pt idx="670">
                  <c:v>42.109677419354838</c:v>
                </c:pt>
                <c:pt idx="671">
                  <c:v>42.001290322580644</c:v>
                </c:pt>
                <c:pt idx="672">
                  <c:v>41.853548387096772</c:v>
                </c:pt>
                <c:pt idx="673">
                  <c:v>41.895806451612906</c:v>
                </c:pt>
                <c:pt idx="674">
                  <c:v>41.825806451612905</c:v>
                </c:pt>
                <c:pt idx="675">
                  <c:v>41.842580645161291</c:v>
                </c:pt>
                <c:pt idx="676">
                  <c:v>41.921612903225807</c:v>
                </c:pt>
                <c:pt idx="677">
                  <c:v>41.960645161290316</c:v>
                </c:pt>
                <c:pt idx="678">
                  <c:v>41.967419354838711</c:v>
                </c:pt>
                <c:pt idx="679">
                  <c:v>41.97870967741936</c:v>
                </c:pt>
                <c:pt idx="680">
                  <c:v>42.055483870967748</c:v>
                </c:pt>
                <c:pt idx="681">
                  <c:v>42.091290322580647</c:v>
                </c:pt>
                <c:pt idx="682">
                  <c:v>42.136129032258069</c:v>
                </c:pt>
                <c:pt idx="683">
                  <c:v>42.145161290322584</c:v>
                </c:pt>
                <c:pt idx="684">
                  <c:v>42.153870967741938</c:v>
                </c:pt>
                <c:pt idx="685">
                  <c:v>42.095806451612894</c:v>
                </c:pt>
                <c:pt idx="686">
                  <c:v>42.138387096774196</c:v>
                </c:pt>
                <c:pt idx="687">
                  <c:v>42.11258064516128</c:v>
                </c:pt>
                <c:pt idx="688">
                  <c:v>42.087741935483862</c:v>
                </c:pt>
                <c:pt idx="689">
                  <c:v>42.058387096774183</c:v>
                </c:pt>
                <c:pt idx="690">
                  <c:v>42.11258064516128</c:v>
                </c:pt>
                <c:pt idx="691">
                  <c:v>42.087741935483862</c:v>
                </c:pt>
                <c:pt idx="692">
                  <c:v>42.025806451612887</c:v>
                </c:pt>
                <c:pt idx="693">
                  <c:v>42.011290322580628</c:v>
                </c:pt>
                <c:pt idx="694">
                  <c:v>42.030645161290302</c:v>
                </c:pt>
                <c:pt idx="695">
                  <c:v>41.99806451612902</c:v>
                </c:pt>
                <c:pt idx="696">
                  <c:v>41.977419354838702</c:v>
                </c:pt>
                <c:pt idx="697">
                  <c:v>42.027096774193545</c:v>
                </c:pt>
                <c:pt idx="698">
                  <c:v>42.026774193548384</c:v>
                </c:pt>
                <c:pt idx="699">
                  <c:v>42.064838709677424</c:v>
                </c:pt>
                <c:pt idx="700">
                  <c:v>41.986451612903238</c:v>
                </c:pt>
                <c:pt idx="701">
                  <c:v>41.980322580645165</c:v>
                </c:pt>
                <c:pt idx="702">
                  <c:v>42.013225806451615</c:v>
                </c:pt>
                <c:pt idx="703">
                  <c:v>42.063225806451612</c:v>
                </c:pt>
                <c:pt idx="704">
                  <c:v>42.053870967741929</c:v>
                </c:pt>
                <c:pt idx="705">
                  <c:v>42.091612903225801</c:v>
                </c:pt>
                <c:pt idx="706">
                  <c:v>42.058064516129029</c:v>
                </c:pt>
                <c:pt idx="707">
                  <c:v>42.068709677419349</c:v>
                </c:pt>
                <c:pt idx="708">
                  <c:v>42.083225806451608</c:v>
                </c:pt>
                <c:pt idx="709">
                  <c:v>42.11354838709677</c:v>
                </c:pt>
                <c:pt idx="710">
                  <c:v>42.074838709677422</c:v>
                </c:pt>
                <c:pt idx="711">
                  <c:v>42.053225806451621</c:v>
                </c:pt>
                <c:pt idx="712">
                  <c:v>42.052258064516131</c:v>
                </c:pt>
                <c:pt idx="713">
                  <c:v>42.084516129032259</c:v>
                </c:pt>
                <c:pt idx="714">
                  <c:v>42.094193548387096</c:v>
                </c:pt>
                <c:pt idx="715">
                  <c:v>42.022903225806452</c:v>
                </c:pt>
                <c:pt idx="716">
                  <c:v>42.093225806451613</c:v>
                </c:pt>
                <c:pt idx="717">
                  <c:v>42.096129032258069</c:v>
                </c:pt>
                <c:pt idx="718">
                  <c:v>42.076774193548395</c:v>
                </c:pt>
                <c:pt idx="719">
                  <c:v>42.101935483870975</c:v>
                </c:pt>
                <c:pt idx="720">
                  <c:v>42.125161290322588</c:v>
                </c:pt>
                <c:pt idx="721">
                  <c:v>42.135483870967747</c:v>
                </c:pt>
                <c:pt idx="722">
                  <c:v>42.252903225806442</c:v>
                </c:pt>
                <c:pt idx="723">
                  <c:v>42.25967741935483</c:v>
                </c:pt>
                <c:pt idx="724">
                  <c:v>42.310645161290317</c:v>
                </c:pt>
                <c:pt idx="725">
                  <c:v>42.395483870967745</c:v>
                </c:pt>
                <c:pt idx="726">
                  <c:v>42.33064516129032</c:v>
                </c:pt>
                <c:pt idx="727">
                  <c:v>42.328064516129032</c:v>
                </c:pt>
                <c:pt idx="728">
                  <c:v>42.337419354838715</c:v>
                </c:pt>
                <c:pt idx="729">
                  <c:v>42.3241935483871</c:v>
                </c:pt>
                <c:pt idx="730">
                  <c:v>42.399677419354845</c:v>
                </c:pt>
                <c:pt idx="731">
                  <c:v>42.351935483870967</c:v>
                </c:pt>
                <c:pt idx="732">
                  <c:v>42.368064516129031</c:v>
                </c:pt>
                <c:pt idx="733">
                  <c:v>42.376774193548378</c:v>
                </c:pt>
                <c:pt idx="734">
                  <c:v>42.403870967741938</c:v>
                </c:pt>
                <c:pt idx="735">
                  <c:v>42.33709677419354</c:v>
                </c:pt>
                <c:pt idx="736">
                  <c:v>42.378387096774198</c:v>
                </c:pt>
                <c:pt idx="737">
                  <c:v>42.398387096774201</c:v>
                </c:pt>
                <c:pt idx="738">
                  <c:v>42.377419354838715</c:v>
                </c:pt>
                <c:pt idx="739">
                  <c:v>42.378387096774205</c:v>
                </c:pt>
                <c:pt idx="740">
                  <c:v>42.358709677419355</c:v>
                </c:pt>
                <c:pt idx="741">
                  <c:v>42.390967741935491</c:v>
                </c:pt>
                <c:pt idx="742">
                  <c:v>42.332580645161293</c:v>
                </c:pt>
                <c:pt idx="743">
                  <c:v>42.30193548387097</c:v>
                </c:pt>
                <c:pt idx="744">
                  <c:v>42.272258064516123</c:v>
                </c:pt>
                <c:pt idx="745">
                  <c:v>42.206774193548391</c:v>
                </c:pt>
                <c:pt idx="746">
                  <c:v>42.276129032258062</c:v>
                </c:pt>
                <c:pt idx="747">
                  <c:v>42.207741935483867</c:v>
                </c:pt>
                <c:pt idx="748">
                  <c:v>42.219032258064502</c:v>
                </c:pt>
                <c:pt idx="749">
                  <c:v>42.194516129032252</c:v>
                </c:pt>
                <c:pt idx="750">
                  <c:v>42.195806451612903</c:v>
                </c:pt>
                <c:pt idx="751">
                  <c:v>42.138709677419357</c:v>
                </c:pt>
                <c:pt idx="752">
                  <c:v>42.112903225806448</c:v>
                </c:pt>
                <c:pt idx="753">
                  <c:v>42.104838709677423</c:v>
                </c:pt>
                <c:pt idx="754">
                  <c:v>42.160000000000004</c:v>
                </c:pt>
                <c:pt idx="755">
                  <c:v>42.042903225806455</c:v>
                </c:pt>
                <c:pt idx="756">
                  <c:v>41.971935483870965</c:v>
                </c:pt>
                <c:pt idx="757">
                  <c:v>41.982258064516131</c:v>
                </c:pt>
                <c:pt idx="758">
                  <c:v>41.994516129032256</c:v>
                </c:pt>
                <c:pt idx="759">
                  <c:v>42.030322580645148</c:v>
                </c:pt>
                <c:pt idx="760">
                  <c:v>42.083225806451608</c:v>
                </c:pt>
                <c:pt idx="761">
                  <c:v>42.038709677419348</c:v>
                </c:pt>
                <c:pt idx="762">
                  <c:v>42.092580645161284</c:v>
                </c:pt>
                <c:pt idx="763">
                  <c:v>41.99258064516129</c:v>
                </c:pt>
                <c:pt idx="764">
                  <c:v>42.007741935483871</c:v>
                </c:pt>
                <c:pt idx="765">
                  <c:v>42.015806451612903</c:v>
                </c:pt>
                <c:pt idx="766">
                  <c:v>41.995806451612907</c:v>
                </c:pt>
                <c:pt idx="767">
                  <c:v>41.96387096774194</c:v>
                </c:pt>
                <c:pt idx="768">
                  <c:v>41.947741935483876</c:v>
                </c:pt>
                <c:pt idx="769">
                  <c:v>41.891290322580652</c:v>
                </c:pt>
                <c:pt idx="770">
                  <c:v>41.926451612903229</c:v>
                </c:pt>
                <c:pt idx="771">
                  <c:v>41.877096774193539</c:v>
                </c:pt>
                <c:pt idx="772">
                  <c:v>41.807096774193532</c:v>
                </c:pt>
                <c:pt idx="773">
                  <c:v>41.867741935483856</c:v>
                </c:pt>
                <c:pt idx="774">
                  <c:v>41.89709677419355</c:v>
                </c:pt>
                <c:pt idx="775">
                  <c:v>41.856774193548375</c:v>
                </c:pt>
                <c:pt idx="776">
                  <c:v>41.867741935483856</c:v>
                </c:pt>
                <c:pt idx="777">
                  <c:v>41.885161290322564</c:v>
                </c:pt>
                <c:pt idx="778">
                  <c:v>41.935806451612898</c:v>
                </c:pt>
                <c:pt idx="779">
                  <c:v>41.957419354838699</c:v>
                </c:pt>
                <c:pt idx="780">
                  <c:v>41.931290322580644</c:v>
                </c:pt>
                <c:pt idx="781">
                  <c:v>41.936129032258059</c:v>
                </c:pt>
                <c:pt idx="782">
                  <c:v>41.975483870967736</c:v>
                </c:pt>
                <c:pt idx="783">
                  <c:v>41.919032258064526</c:v>
                </c:pt>
                <c:pt idx="784">
                  <c:v>41.808387096774197</c:v>
                </c:pt>
                <c:pt idx="785">
                  <c:v>41.841290322580647</c:v>
                </c:pt>
                <c:pt idx="786">
                  <c:v>41.922903225806451</c:v>
                </c:pt>
                <c:pt idx="787">
                  <c:v>41.959032258064511</c:v>
                </c:pt>
                <c:pt idx="788">
                  <c:v>41.945806451612903</c:v>
                </c:pt>
                <c:pt idx="789">
                  <c:v>41.951612903225808</c:v>
                </c:pt>
                <c:pt idx="790">
                  <c:v>41.971612903225804</c:v>
                </c:pt>
                <c:pt idx="791">
                  <c:v>41.936129032258066</c:v>
                </c:pt>
                <c:pt idx="792">
                  <c:v>41.931612903225805</c:v>
                </c:pt>
                <c:pt idx="793">
                  <c:v>41.953225806451613</c:v>
                </c:pt>
                <c:pt idx="794">
                  <c:v>41.960645161290323</c:v>
                </c:pt>
                <c:pt idx="795">
                  <c:v>41.976451612903226</c:v>
                </c:pt>
                <c:pt idx="796">
                  <c:v>41.905161290322582</c:v>
                </c:pt>
                <c:pt idx="797">
                  <c:v>41.912258064516131</c:v>
                </c:pt>
                <c:pt idx="798">
                  <c:v>41.922903225806458</c:v>
                </c:pt>
                <c:pt idx="799">
                  <c:v>41.86032258064516</c:v>
                </c:pt>
                <c:pt idx="800">
                  <c:v>41.932258064516141</c:v>
                </c:pt>
                <c:pt idx="801">
                  <c:v>41.840967741935486</c:v>
                </c:pt>
                <c:pt idx="802">
                  <c:v>41.907741935483877</c:v>
                </c:pt>
                <c:pt idx="803">
                  <c:v>41.907096774193562</c:v>
                </c:pt>
                <c:pt idx="804">
                  <c:v>41.8725806451613</c:v>
                </c:pt>
                <c:pt idx="805">
                  <c:v>41.837096774193554</c:v>
                </c:pt>
                <c:pt idx="806">
                  <c:v>41.887419354838727</c:v>
                </c:pt>
                <c:pt idx="807">
                  <c:v>41.919354838709687</c:v>
                </c:pt>
                <c:pt idx="808">
                  <c:v>41.845161290322586</c:v>
                </c:pt>
                <c:pt idx="809">
                  <c:v>41.816451612903229</c:v>
                </c:pt>
                <c:pt idx="810">
                  <c:v>41.797096774193548</c:v>
                </c:pt>
                <c:pt idx="811">
                  <c:v>41.89806451612904</c:v>
                </c:pt>
                <c:pt idx="812">
                  <c:v>41.886774193548391</c:v>
                </c:pt>
                <c:pt idx="813">
                  <c:v>41.82741935483871</c:v>
                </c:pt>
                <c:pt idx="814">
                  <c:v>41.904193548387106</c:v>
                </c:pt>
                <c:pt idx="815">
                  <c:v>41.905483870967743</c:v>
                </c:pt>
                <c:pt idx="816">
                  <c:v>41.867419354838709</c:v>
                </c:pt>
                <c:pt idx="817">
                  <c:v>41.780645161290323</c:v>
                </c:pt>
                <c:pt idx="818">
                  <c:v>41.717419354838711</c:v>
                </c:pt>
                <c:pt idx="819">
                  <c:v>41.755483870967737</c:v>
                </c:pt>
                <c:pt idx="820">
                  <c:v>41.818387096774195</c:v>
                </c:pt>
                <c:pt idx="821">
                  <c:v>41.807096774193546</c:v>
                </c:pt>
                <c:pt idx="822">
                  <c:v>41.859032258064509</c:v>
                </c:pt>
                <c:pt idx="823">
                  <c:v>41.877096774193532</c:v>
                </c:pt>
                <c:pt idx="824">
                  <c:v>41.815806451612893</c:v>
                </c:pt>
                <c:pt idx="825">
                  <c:v>41.817419354838705</c:v>
                </c:pt>
                <c:pt idx="826">
                  <c:v>41.812580645161283</c:v>
                </c:pt>
                <c:pt idx="827">
                  <c:v>41.880967741935486</c:v>
                </c:pt>
                <c:pt idx="828">
                  <c:v>41.913548387096768</c:v>
                </c:pt>
                <c:pt idx="829">
                  <c:v>41.878709677419344</c:v>
                </c:pt>
                <c:pt idx="830">
                  <c:v>41.899354838709677</c:v>
                </c:pt>
                <c:pt idx="831">
                  <c:v>41.8732258064516</c:v>
                </c:pt>
                <c:pt idx="832">
                  <c:v>41.920322580645156</c:v>
                </c:pt>
                <c:pt idx="833">
                  <c:v>41.827741935483871</c:v>
                </c:pt>
                <c:pt idx="834">
                  <c:v>41.810322580645163</c:v>
                </c:pt>
                <c:pt idx="835">
                  <c:v>41.851290322580653</c:v>
                </c:pt>
                <c:pt idx="836">
                  <c:v>41.800322580645165</c:v>
                </c:pt>
                <c:pt idx="837">
                  <c:v>41.840322580645164</c:v>
                </c:pt>
                <c:pt idx="838">
                  <c:v>41.753225806451617</c:v>
                </c:pt>
                <c:pt idx="839">
                  <c:v>41.779032258064518</c:v>
                </c:pt>
                <c:pt idx="840">
                  <c:v>41.862258064516126</c:v>
                </c:pt>
                <c:pt idx="841">
                  <c:v>41.849354838709672</c:v>
                </c:pt>
                <c:pt idx="842">
                  <c:v>41.827419354838703</c:v>
                </c:pt>
                <c:pt idx="843">
                  <c:v>41.793870967741931</c:v>
                </c:pt>
                <c:pt idx="844">
                  <c:v>41.806451612903224</c:v>
                </c:pt>
                <c:pt idx="845">
                  <c:v>41.746451612903222</c:v>
                </c:pt>
                <c:pt idx="846">
                  <c:v>41.757419354838703</c:v>
                </c:pt>
                <c:pt idx="847">
                  <c:v>41.78387096774194</c:v>
                </c:pt>
                <c:pt idx="848">
                  <c:v>41.86</c:v>
                </c:pt>
                <c:pt idx="849">
                  <c:v>41.935806451612912</c:v>
                </c:pt>
                <c:pt idx="850">
                  <c:v>41.980322580645172</c:v>
                </c:pt>
                <c:pt idx="851">
                  <c:v>41.983548387096782</c:v>
                </c:pt>
                <c:pt idx="852">
                  <c:v>41.990645161290324</c:v>
                </c:pt>
                <c:pt idx="853">
                  <c:v>41.948387096774198</c:v>
                </c:pt>
                <c:pt idx="854">
                  <c:v>41.976451612903226</c:v>
                </c:pt>
                <c:pt idx="855">
                  <c:v>41.973548387096777</c:v>
                </c:pt>
                <c:pt idx="856">
                  <c:v>42.065483870967739</c:v>
                </c:pt>
                <c:pt idx="857">
                  <c:v>42.008064516129025</c:v>
                </c:pt>
                <c:pt idx="858">
                  <c:v>41.967419354838704</c:v>
                </c:pt>
                <c:pt idx="859">
                  <c:v>42.00967741935483</c:v>
                </c:pt>
                <c:pt idx="860">
                  <c:v>42.087419354838694</c:v>
                </c:pt>
                <c:pt idx="861">
                  <c:v>42.066451612903222</c:v>
                </c:pt>
                <c:pt idx="862">
                  <c:v>42.102580645161282</c:v>
                </c:pt>
                <c:pt idx="863">
                  <c:v>42.104516129032255</c:v>
                </c:pt>
                <c:pt idx="864">
                  <c:v>42.08806451612903</c:v>
                </c:pt>
                <c:pt idx="865">
                  <c:v>42.191935483870964</c:v>
                </c:pt>
                <c:pt idx="866">
                  <c:v>42.213225806451604</c:v>
                </c:pt>
                <c:pt idx="867">
                  <c:v>42.3</c:v>
                </c:pt>
                <c:pt idx="868">
                  <c:v>42.307741935483868</c:v>
                </c:pt>
                <c:pt idx="869">
                  <c:v>42.355161290322584</c:v>
                </c:pt>
                <c:pt idx="870">
                  <c:v>42.405806451612911</c:v>
                </c:pt>
                <c:pt idx="871">
                  <c:v>42.377096774193561</c:v>
                </c:pt>
                <c:pt idx="872">
                  <c:v>42.347741935483882</c:v>
                </c:pt>
                <c:pt idx="873">
                  <c:v>42.347096774193545</c:v>
                </c:pt>
                <c:pt idx="874">
                  <c:v>42.370967741935495</c:v>
                </c:pt>
                <c:pt idx="875">
                  <c:v>42.349032258064526</c:v>
                </c:pt>
                <c:pt idx="876">
                  <c:v>42.344838709677425</c:v>
                </c:pt>
                <c:pt idx="877">
                  <c:v>42.363870967741939</c:v>
                </c:pt>
                <c:pt idx="878">
                  <c:v>42.320645161290329</c:v>
                </c:pt>
                <c:pt idx="879">
                  <c:v>42.298064516129031</c:v>
                </c:pt>
                <c:pt idx="880">
                  <c:v>42.324516129032254</c:v>
                </c:pt>
                <c:pt idx="881">
                  <c:v>42.272258064516123</c:v>
                </c:pt>
                <c:pt idx="882">
                  <c:v>42.223870967741931</c:v>
                </c:pt>
                <c:pt idx="883">
                  <c:v>42.198064516129023</c:v>
                </c:pt>
                <c:pt idx="884">
                  <c:v>42.264193548387091</c:v>
                </c:pt>
                <c:pt idx="885">
                  <c:v>42.179677419354832</c:v>
                </c:pt>
                <c:pt idx="886">
                  <c:v>42.264516129032252</c:v>
                </c:pt>
                <c:pt idx="887">
                  <c:v>42.214838709677416</c:v>
                </c:pt>
                <c:pt idx="888">
                  <c:v>42.234193548387097</c:v>
                </c:pt>
                <c:pt idx="889">
                  <c:v>42.290645161290321</c:v>
                </c:pt>
                <c:pt idx="890">
                  <c:v>42.259999999999991</c:v>
                </c:pt>
                <c:pt idx="891">
                  <c:v>42.154838709677421</c:v>
                </c:pt>
                <c:pt idx="892">
                  <c:v>42.192903225806454</c:v>
                </c:pt>
                <c:pt idx="893">
                  <c:v>42.196129032258064</c:v>
                </c:pt>
                <c:pt idx="894">
                  <c:v>42.16193548387097</c:v>
                </c:pt>
                <c:pt idx="895">
                  <c:v>42.193225806451615</c:v>
                </c:pt>
                <c:pt idx="896">
                  <c:v>42.131612903225808</c:v>
                </c:pt>
                <c:pt idx="897">
                  <c:v>42.114838709677414</c:v>
                </c:pt>
                <c:pt idx="898">
                  <c:v>42.130645161290325</c:v>
                </c:pt>
                <c:pt idx="899">
                  <c:v>42.027741935483867</c:v>
                </c:pt>
                <c:pt idx="900">
                  <c:v>42.008387096774193</c:v>
                </c:pt>
                <c:pt idx="901">
                  <c:v>41.985483870967748</c:v>
                </c:pt>
                <c:pt idx="902">
                  <c:v>41.941290322580649</c:v>
                </c:pt>
                <c:pt idx="903">
                  <c:v>42.029032258064518</c:v>
                </c:pt>
                <c:pt idx="904">
                  <c:v>41.996451612903229</c:v>
                </c:pt>
                <c:pt idx="905">
                  <c:v>42.049032258064514</c:v>
                </c:pt>
                <c:pt idx="906">
                  <c:v>42.050322580645165</c:v>
                </c:pt>
                <c:pt idx="907">
                  <c:v>42.019677419354828</c:v>
                </c:pt>
                <c:pt idx="908">
                  <c:v>42.083548387096769</c:v>
                </c:pt>
                <c:pt idx="909">
                  <c:v>42.045806451612904</c:v>
                </c:pt>
                <c:pt idx="910">
                  <c:v>42.038387096774194</c:v>
                </c:pt>
                <c:pt idx="911">
                  <c:v>41.934516129032268</c:v>
                </c:pt>
                <c:pt idx="912">
                  <c:v>41.968387096774201</c:v>
                </c:pt>
                <c:pt idx="913">
                  <c:v>42.022903225806459</c:v>
                </c:pt>
                <c:pt idx="914">
                  <c:v>41.971290322580657</c:v>
                </c:pt>
                <c:pt idx="915">
                  <c:v>41.982580645161292</c:v>
                </c:pt>
                <c:pt idx="916">
                  <c:v>42.014193548387098</c:v>
                </c:pt>
                <c:pt idx="917">
                  <c:v>41.933225806451617</c:v>
                </c:pt>
                <c:pt idx="918">
                  <c:v>41.9341935483871</c:v>
                </c:pt>
                <c:pt idx="919">
                  <c:v>41.890967741935476</c:v>
                </c:pt>
                <c:pt idx="920">
                  <c:v>41.821612903225798</c:v>
                </c:pt>
                <c:pt idx="921">
                  <c:v>41.78193548387096</c:v>
                </c:pt>
                <c:pt idx="922">
                  <c:v>41.87903225806452</c:v>
                </c:pt>
                <c:pt idx="923">
                  <c:v>41.874516129032251</c:v>
                </c:pt>
                <c:pt idx="924">
                  <c:v>41.806774193548385</c:v>
                </c:pt>
                <c:pt idx="925">
                  <c:v>41.862258064516126</c:v>
                </c:pt>
                <c:pt idx="926">
                  <c:v>41.945806451612903</c:v>
                </c:pt>
                <c:pt idx="927">
                  <c:v>41.950645161290318</c:v>
                </c:pt>
                <c:pt idx="928">
                  <c:v>41.96709677419355</c:v>
                </c:pt>
                <c:pt idx="929">
                  <c:v>41.878064516129044</c:v>
                </c:pt>
                <c:pt idx="930">
                  <c:v>41.911290322580655</c:v>
                </c:pt>
                <c:pt idx="931">
                  <c:v>41.945483870967756</c:v>
                </c:pt>
                <c:pt idx="932">
                  <c:v>41.902903225806469</c:v>
                </c:pt>
                <c:pt idx="933">
                  <c:v>41.875161290322595</c:v>
                </c:pt>
                <c:pt idx="934">
                  <c:v>41.812580645161304</c:v>
                </c:pt>
                <c:pt idx="935">
                  <c:v>41.834516129032266</c:v>
                </c:pt>
                <c:pt idx="936">
                  <c:v>41.719677419354852</c:v>
                </c:pt>
                <c:pt idx="937">
                  <c:v>41.731935483870977</c:v>
                </c:pt>
                <c:pt idx="938">
                  <c:v>41.819677419354846</c:v>
                </c:pt>
                <c:pt idx="939">
                  <c:v>41.778064516129035</c:v>
                </c:pt>
                <c:pt idx="940">
                  <c:v>41.795161290322582</c:v>
                </c:pt>
                <c:pt idx="941">
                  <c:v>41.775806451612908</c:v>
                </c:pt>
                <c:pt idx="942">
                  <c:v>41.811612903225807</c:v>
                </c:pt>
                <c:pt idx="943">
                  <c:v>41.830322580645166</c:v>
                </c:pt>
                <c:pt idx="944">
                  <c:v>41.792903225806455</c:v>
                </c:pt>
                <c:pt idx="945">
                  <c:v>41.82741935483871</c:v>
                </c:pt>
                <c:pt idx="946">
                  <c:v>41.832258064516132</c:v>
                </c:pt>
                <c:pt idx="947">
                  <c:v>41.809354838709687</c:v>
                </c:pt>
                <c:pt idx="948">
                  <c:v>41.851935483870975</c:v>
                </c:pt>
                <c:pt idx="949">
                  <c:v>41.879354838709688</c:v>
                </c:pt>
                <c:pt idx="950">
                  <c:v>41.971290322580657</c:v>
                </c:pt>
                <c:pt idx="951">
                  <c:v>41.980967741935487</c:v>
                </c:pt>
                <c:pt idx="952">
                  <c:v>42.028709677419364</c:v>
                </c:pt>
                <c:pt idx="953">
                  <c:v>42.014516129032266</c:v>
                </c:pt>
                <c:pt idx="954">
                  <c:v>41.963548387096779</c:v>
                </c:pt>
                <c:pt idx="955">
                  <c:v>42.04451612903226</c:v>
                </c:pt>
                <c:pt idx="956">
                  <c:v>42.002580645161288</c:v>
                </c:pt>
                <c:pt idx="957">
                  <c:v>41.893870967741933</c:v>
                </c:pt>
                <c:pt idx="958">
                  <c:v>41.925483870967739</c:v>
                </c:pt>
                <c:pt idx="959">
                  <c:v>41.933548387096778</c:v>
                </c:pt>
                <c:pt idx="960">
                  <c:v>41.932580645161295</c:v>
                </c:pt>
                <c:pt idx="961">
                  <c:v>42.006774193548388</c:v>
                </c:pt>
                <c:pt idx="962">
                  <c:v>41.949032258064527</c:v>
                </c:pt>
                <c:pt idx="963">
                  <c:v>42.024516129032264</c:v>
                </c:pt>
                <c:pt idx="964">
                  <c:v>42.09</c:v>
                </c:pt>
                <c:pt idx="965">
                  <c:v>42.114838709677421</c:v>
                </c:pt>
                <c:pt idx="966">
                  <c:v>42.056774193548392</c:v>
                </c:pt>
                <c:pt idx="967">
                  <c:v>42.053225806451621</c:v>
                </c:pt>
                <c:pt idx="968">
                  <c:v>42.126451612903239</c:v>
                </c:pt>
                <c:pt idx="969">
                  <c:v>42.079999999999991</c:v>
                </c:pt>
                <c:pt idx="970">
                  <c:v>42.104838709677416</c:v>
                </c:pt>
                <c:pt idx="971">
                  <c:v>42.179999999999993</c:v>
                </c:pt>
                <c:pt idx="972">
                  <c:v>42.187096774193542</c:v>
                </c:pt>
                <c:pt idx="973">
                  <c:v>42.173870967741934</c:v>
                </c:pt>
                <c:pt idx="974">
                  <c:v>42.206129032258069</c:v>
                </c:pt>
                <c:pt idx="975">
                  <c:v>42.187741935483878</c:v>
                </c:pt>
                <c:pt idx="976">
                  <c:v>42.164193548387104</c:v>
                </c:pt>
                <c:pt idx="977">
                  <c:v>42.115806451612904</c:v>
                </c:pt>
                <c:pt idx="978">
                  <c:v>42.125483870967749</c:v>
                </c:pt>
                <c:pt idx="979">
                  <c:v>42.171612903225807</c:v>
                </c:pt>
                <c:pt idx="980">
                  <c:v>42.171612903225814</c:v>
                </c:pt>
                <c:pt idx="981">
                  <c:v>42.131612903225815</c:v>
                </c:pt>
                <c:pt idx="982">
                  <c:v>42.109354838709685</c:v>
                </c:pt>
                <c:pt idx="983">
                  <c:v>42.049677419354843</c:v>
                </c:pt>
                <c:pt idx="984">
                  <c:v>42.019677419354842</c:v>
                </c:pt>
                <c:pt idx="985">
                  <c:v>42.053548387096775</c:v>
                </c:pt>
                <c:pt idx="986">
                  <c:v>41.960967741935484</c:v>
                </c:pt>
                <c:pt idx="987">
                  <c:v>41.9874193548387</c:v>
                </c:pt>
                <c:pt idx="988">
                  <c:v>42.084516129032252</c:v>
                </c:pt>
                <c:pt idx="989">
                  <c:v>42.062258064516122</c:v>
                </c:pt>
                <c:pt idx="990">
                  <c:v>41.958387096774196</c:v>
                </c:pt>
                <c:pt idx="991">
                  <c:v>42.071290322580644</c:v>
                </c:pt>
                <c:pt idx="992">
                  <c:v>41.994838709677431</c:v>
                </c:pt>
                <c:pt idx="993">
                  <c:v>42.063225806451619</c:v>
                </c:pt>
                <c:pt idx="994">
                  <c:v>42.051935483870963</c:v>
                </c:pt>
                <c:pt idx="995">
                  <c:v>41.997096774193551</c:v>
                </c:pt>
                <c:pt idx="996">
                  <c:v>41.933870967741939</c:v>
                </c:pt>
                <c:pt idx="997">
                  <c:v>41.965161290322577</c:v>
                </c:pt>
                <c:pt idx="998">
                  <c:v>42.036451612903221</c:v>
                </c:pt>
                <c:pt idx="999">
                  <c:v>41.989032258064505</c:v>
                </c:pt>
                <c:pt idx="1000">
                  <c:v>41.976451612903219</c:v>
                </c:pt>
                <c:pt idx="1001">
                  <c:v>41.9216129032258</c:v>
                </c:pt>
                <c:pt idx="1002">
                  <c:v>41.929354838709678</c:v>
                </c:pt>
                <c:pt idx="1003">
                  <c:v>41.940322580645159</c:v>
                </c:pt>
                <c:pt idx="1004">
                  <c:v>41.905806451612904</c:v>
                </c:pt>
                <c:pt idx="1005">
                  <c:v>41.876774193548378</c:v>
                </c:pt>
                <c:pt idx="1006">
                  <c:v>41.879999999999988</c:v>
                </c:pt>
                <c:pt idx="1007">
                  <c:v>41.898709677419355</c:v>
                </c:pt>
                <c:pt idx="1008">
                  <c:v>41.952903225806452</c:v>
                </c:pt>
                <c:pt idx="1009">
                  <c:v>41.979677419354843</c:v>
                </c:pt>
                <c:pt idx="1010">
                  <c:v>41.929032258064517</c:v>
                </c:pt>
                <c:pt idx="1011">
                  <c:v>41.939677419354837</c:v>
                </c:pt>
                <c:pt idx="1012">
                  <c:v>41.938709677419361</c:v>
                </c:pt>
                <c:pt idx="1013">
                  <c:v>42.039677419354845</c:v>
                </c:pt>
                <c:pt idx="1014">
                  <c:v>42.129677419354849</c:v>
                </c:pt>
                <c:pt idx="1015">
                  <c:v>42.119032258064529</c:v>
                </c:pt>
                <c:pt idx="1016">
                  <c:v>42.149032258064523</c:v>
                </c:pt>
                <c:pt idx="1017">
                  <c:v>42.182580645161302</c:v>
                </c:pt>
                <c:pt idx="1018">
                  <c:v>42.244516129032263</c:v>
                </c:pt>
                <c:pt idx="1019">
                  <c:v>42.150967741935489</c:v>
                </c:pt>
                <c:pt idx="1020">
                  <c:v>42.1</c:v>
                </c:pt>
                <c:pt idx="1021">
                  <c:v>42.093225806451613</c:v>
                </c:pt>
                <c:pt idx="1022">
                  <c:v>42.07</c:v>
                </c:pt>
                <c:pt idx="1023">
                  <c:v>42.118709677419353</c:v>
                </c:pt>
                <c:pt idx="1024">
                  <c:v>42.098064516129035</c:v>
                </c:pt>
                <c:pt idx="1025">
                  <c:v>42.1</c:v>
                </c:pt>
                <c:pt idx="1026">
                  <c:v>42.081290322580649</c:v>
                </c:pt>
                <c:pt idx="1027">
                  <c:v>42.116451612903226</c:v>
                </c:pt>
                <c:pt idx="1028">
                  <c:v>42.096774193548384</c:v>
                </c:pt>
                <c:pt idx="1029">
                  <c:v>42.099032258064518</c:v>
                </c:pt>
                <c:pt idx="1030">
                  <c:v>42.046451612903226</c:v>
                </c:pt>
                <c:pt idx="1031">
                  <c:v>42.038709677419355</c:v>
                </c:pt>
                <c:pt idx="1032">
                  <c:v>42.020322580645157</c:v>
                </c:pt>
                <c:pt idx="1033">
                  <c:v>42.027419354838706</c:v>
                </c:pt>
                <c:pt idx="1034">
                  <c:v>41.992580645161297</c:v>
                </c:pt>
                <c:pt idx="1035">
                  <c:v>42.048064516129038</c:v>
                </c:pt>
                <c:pt idx="1036">
                  <c:v>42.010645161290334</c:v>
                </c:pt>
                <c:pt idx="1037">
                  <c:v>42.000000000000007</c:v>
                </c:pt>
                <c:pt idx="1038">
                  <c:v>41.986774193548399</c:v>
                </c:pt>
                <c:pt idx="1039">
                  <c:v>41.929677419354853</c:v>
                </c:pt>
                <c:pt idx="1040">
                  <c:v>41.945483870967756</c:v>
                </c:pt>
                <c:pt idx="1041">
                  <c:v>41.983548387096782</c:v>
                </c:pt>
                <c:pt idx="1042">
                  <c:v>42.002903225806456</c:v>
                </c:pt>
                <c:pt idx="1043">
                  <c:v>42.033225806451611</c:v>
                </c:pt>
                <c:pt idx="1044">
                  <c:v>42.055483870967741</c:v>
                </c:pt>
                <c:pt idx="1045">
                  <c:v>42.038064516129019</c:v>
                </c:pt>
                <c:pt idx="1046">
                  <c:v>42.078387096774179</c:v>
                </c:pt>
                <c:pt idx="1047">
                  <c:v>42.132580645161269</c:v>
                </c:pt>
                <c:pt idx="1048">
                  <c:v>42.206774193548384</c:v>
                </c:pt>
                <c:pt idx="1049">
                  <c:v>42.23419354838709</c:v>
                </c:pt>
                <c:pt idx="1050">
                  <c:v>42.341935483870969</c:v>
                </c:pt>
                <c:pt idx="1051">
                  <c:v>42.400322580645167</c:v>
                </c:pt>
                <c:pt idx="1052">
                  <c:v>42.470645161290342</c:v>
                </c:pt>
                <c:pt idx="1053">
                  <c:v>42.513870967741944</c:v>
                </c:pt>
                <c:pt idx="1054">
                  <c:v>42.586774193548393</c:v>
                </c:pt>
                <c:pt idx="1055">
                  <c:v>42.607419354838719</c:v>
                </c:pt>
                <c:pt idx="1056">
                  <c:v>42.634516129032264</c:v>
                </c:pt>
                <c:pt idx="1057">
                  <c:v>42.752258064516134</c:v>
                </c:pt>
                <c:pt idx="1058">
                  <c:v>42.822258064516134</c:v>
                </c:pt>
                <c:pt idx="1059">
                  <c:v>42.895161290322591</c:v>
                </c:pt>
                <c:pt idx="1060">
                  <c:v>42.914516129032265</c:v>
                </c:pt>
                <c:pt idx="1061">
                  <c:v>43.050645161290326</c:v>
                </c:pt>
                <c:pt idx="1062">
                  <c:v>43.132903225806459</c:v>
                </c:pt>
                <c:pt idx="1063">
                  <c:v>43.274838709677425</c:v>
                </c:pt>
                <c:pt idx="1064">
                  <c:v>43.284193548387094</c:v>
                </c:pt>
                <c:pt idx="1065">
                  <c:v>43.342258064516123</c:v>
                </c:pt>
                <c:pt idx="1066">
                  <c:v>43.38967741935484</c:v>
                </c:pt>
                <c:pt idx="1067">
                  <c:v>43.481935483870963</c:v>
                </c:pt>
                <c:pt idx="1068">
                  <c:v>43.516451612903218</c:v>
                </c:pt>
                <c:pt idx="1069">
                  <c:v>43.611935483870965</c:v>
                </c:pt>
                <c:pt idx="1070">
                  <c:v>43.615161290322575</c:v>
                </c:pt>
                <c:pt idx="1071">
                  <c:v>43.61677419354838</c:v>
                </c:pt>
                <c:pt idx="1072">
                  <c:v>43.655161290322575</c:v>
                </c:pt>
                <c:pt idx="1073">
                  <c:v>43.595806451612901</c:v>
                </c:pt>
                <c:pt idx="1074">
                  <c:v>43.590645161290318</c:v>
                </c:pt>
                <c:pt idx="1075">
                  <c:v>43.541935483870965</c:v>
                </c:pt>
                <c:pt idx="1076">
                  <c:v>43.514193548387098</c:v>
                </c:pt>
                <c:pt idx="1077">
                  <c:v>43.482258064516117</c:v>
                </c:pt>
                <c:pt idx="1078">
                  <c:v>43.4341935483871</c:v>
                </c:pt>
                <c:pt idx="1079">
                  <c:v>43.400967741935482</c:v>
                </c:pt>
                <c:pt idx="1080">
                  <c:v>43.410322580645158</c:v>
                </c:pt>
                <c:pt idx="1081">
                  <c:v>43.425806451612907</c:v>
                </c:pt>
                <c:pt idx="1082">
                  <c:v>43.465483870967745</c:v>
                </c:pt>
                <c:pt idx="1083">
                  <c:v>43.398709677419362</c:v>
                </c:pt>
                <c:pt idx="1084">
                  <c:v>43.348064516129035</c:v>
                </c:pt>
                <c:pt idx="1085">
                  <c:v>43.251290322580651</c:v>
                </c:pt>
                <c:pt idx="1086">
                  <c:v>43.247096774193558</c:v>
                </c:pt>
                <c:pt idx="1087">
                  <c:v>43.193548387096776</c:v>
                </c:pt>
                <c:pt idx="1088">
                  <c:v>43.088387096774198</c:v>
                </c:pt>
                <c:pt idx="1089">
                  <c:v>42.98</c:v>
                </c:pt>
                <c:pt idx="1090">
                  <c:v>42.905483870967743</c:v>
                </c:pt>
                <c:pt idx="1091">
                  <c:v>42.834516129032259</c:v>
                </c:pt>
                <c:pt idx="1092">
                  <c:v>42.689677419354844</c:v>
                </c:pt>
                <c:pt idx="1093">
                  <c:v>42.635161290322579</c:v>
                </c:pt>
                <c:pt idx="1094">
                  <c:v>42.504838709677408</c:v>
                </c:pt>
                <c:pt idx="1095">
                  <c:v>42.385483870967725</c:v>
                </c:pt>
                <c:pt idx="1096">
                  <c:v>42.32548387096773</c:v>
                </c:pt>
                <c:pt idx="1097">
                  <c:v>42.220322580645153</c:v>
                </c:pt>
                <c:pt idx="1098">
                  <c:v>42.162258064516116</c:v>
                </c:pt>
                <c:pt idx="1099">
                  <c:v>42.154193548387092</c:v>
                </c:pt>
                <c:pt idx="1100">
                  <c:v>42.039677419354831</c:v>
                </c:pt>
                <c:pt idx="1101">
                  <c:v>42.029677419354833</c:v>
                </c:pt>
                <c:pt idx="1102">
                  <c:v>42.04677419354838</c:v>
                </c:pt>
                <c:pt idx="1103">
                  <c:v>41.958387096774189</c:v>
                </c:pt>
                <c:pt idx="1104">
                  <c:v>41.909354838709682</c:v>
                </c:pt>
                <c:pt idx="1105">
                  <c:v>41.86354838709677</c:v>
                </c:pt>
                <c:pt idx="1106">
                  <c:v>41.844516129032257</c:v>
                </c:pt>
                <c:pt idx="1107">
                  <c:v>41.790645161290321</c:v>
                </c:pt>
                <c:pt idx="1108">
                  <c:v>41.78709677419355</c:v>
                </c:pt>
                <c:pt idx="1109">
                  <c:v>41.778387096774203</c:v>
                </c:pt>
                <c:pt idx="1110">
                  <c:v>41.69483870967742</c:v>
                </c:pt>
                <c:pt idx="1111">
                  <c:v>41.540000000000006</c:v>
                </c:pt>
                <c:pt idx="1112">
                  <c:v>41.428064516129034</c:v>
                </c:pt>
                <c:pt idx="1113">
                  <c:v>41.320322580645168</c:v>
                </c:pt>
                <c:pt idx="1114">
                  <c:v>41.401612903225818</c:v>
                </c:pt>
                <c:pt idx="1115">
                  <c:v>41.433870967741946</c:v>
                </c:pt>
                <c:pt idx="1116">
                  <c:v>41.427741935483887</c:v>
                </c:pt>
                <c:pt idx="1117">
                  <c:v>41.460322580645176</c:v>
                </c:pt>
                <c:pt idx="1118">
                  <c:v>41.421612903225821</c:v>
                </c:pt>
                <c:pt idx="1119">
                  <c:v>41.454838709677432</c:v>
                </c:pt>
                <c:pt idx="1120">
                  <c:v>41.453548387096781</c:v>
                </c:pt>
                <c:pt idx="1121">
                  <c:v>41.549354838709682</c:v>
                </c:pt>
                <c:pt idx="1122">
                  <c:v>41.647096774193557</c:v>
                </c:pt>
                <c:pt idx="1123">
                  <c:v>41.749032258064517</c:v>
                </c:pt>
                <c:pt idx="1124">
                  <c:v>41.73</c:v>
                </c:pt>
                <c:pt idx="1125">
                  <c:v>41.779999999999994</c:v>
                </c:pt>
                <c:pt idx="1126">
                  <c:v>41.822580645161288</c:v>
                </c:pt>
                <c:pt idx="1127">
                  <c:v>41.842580645161284</c:v>
                </c:pt>
                <c:pt idx="1128">
                  <c:v>41.85935483870967</c:v>
                </c:pt>
                <c:pt idx="1129">
                  <c:v>41.857419354838704</c:v>
                </c:pt>
                <c:pt idx="1130">
                  <c:v>41.883548387096781</c:v>
                </c:pt>
                <c:pt idx="1131">
                  <c:v>41.924193548387095</c:v>
                </c:pt>
                <c:pt idx="1132">
                  <c:v>41.882258064516115</c:v>
                </c:pt>
                <c:pt idx="1133">
                  <c:v>41.774838709677411</c:v>
                </c:pt>
                <c:pt idx="1134">
                  <c:v>41.834193548387077</c:v>
                </c:pt>
                <c:pt idx="1135">
                  <c:v>41.878064516129015</c:v>
                </c:pt>
                <c:pt idx="1136">
                  <c:v>41.909677419354828</c:v>
                </c:pt>
                <c:pt idx="1137">
                  <c:v>41.905483870967736</c:v>
                </c:pt>
                <c:pt idx="1138">
                  <c:v>41.993225806451598</c:v>
                </c:pt>
                <c:pt idx="1139">
                  <c:v>41.968387096774187</c:v>
                </c:pt>
                <c:pt idx="1140">
                  <c:v>41.986774193548378</c:v>
                </c:pt>
                <c:pt idx="1141">
                  <c:v>42.019032258064506</c:v>
                </c:pt>
                <c:pt idx="1142">
                  <c:v>42.070967741935476</c:v>
                </c:pt>
                <c:pt idx="1143">
                  <c:v>42.166774193548392</c:v>
                </c:pt>
                <c:pt idx="1144">
                  <c:v>42.163225806451621</c:v>
                </c:pt>
                <c:pt idx="1145">
                  <c:v>42.127419354838715</c:v>
                </c:pt>
                <c:pt idx="1146">
                  <c:v>42.071290322580637</c:v>
                </c:pt>
                <c:pt idx="1147">
                  <c:v>42.020645161290332</c:v>
                </c:pt>
                <c:pt idx="1148">
                  <c:v>41.922258064516136</c:v>
                </c:pt>
                <c:pt idx="1149">
                  <c:v>42.007096774193549</c:v>
                </c:pt>
                <c:pt idx="1150">
                  <c:v>42.073870967741939</c:v>
                </c:pt>
                <c:pt idx="1151">
                  <c:v>42.073548387096764</c:v>
                </c:pt>
                <c:pt idx="1152">
                  <c:v>42.011612903225803</c:v>
                </c:pt>
                <c:pt idx="1153">
                  <c:v>41.897419354838703</c:v>
                </c:pt>
                <c:pt idx="1154">
                  <c:v>41.799999999999983</c:v>
                </c:pt>
                <c:pt idx="1155">
                  <c:v>41.839677419354828</c:v>
                </c:pt>
                <c:pt idx="1156">
                  <c:v>41.866774193548373</c:v>
                </c:pt>
                <c:pt idx="1157">
                  <c:v>41.829999999999991</c:v>
                </c:pt>
                <c:pt idx="1158">
                  <c:v>41.895161290322584</c:v>
                </c:pt>
                <c:pt idx="1159">
                  <c:v>41.906774193548394</c:v>
                </c:pt>
                <c:pt idx="1160">
                  <c:v>41.92</c:v>
                </c:pt>
                <c:pt idx="1161">
                  <c:v>41.962580645161289</c:v>
                </c:pt>
                <c:pt idx="1162">
                  <c:v>41.909032258064521</c:v>
                </c:pt>
                <c:pt idx="1163">
                  <c:v>42.005161290322583</c:v>
                </c:pt>
                <c:pt idx="1164">
                  <c:v>42.093548387096774</c:v>
                </c:pt>
                <c:pt idx="1165">
                  <c:v>42.029354838709679</c:v>
                </c:pt>
                <c:pt idx="1166">
                  <c:v>42.068387096774195</c:v>
                </c:pt>
                <c:pt idx="1167">
                  <c:v>42.039354838709684</c:v>
                </c:pt>
                <c:pt idx="1168">
                  <c:v>41.965161290322584</c:v>
                </c:pt>
                <c:pt idx="1169">
                  <c:v>41.892580645161296</c:v>
                </c:pt>
                <c:pt idx="1170">
                  <c:v>41.983548387096775</c:v>
                </c:pt>
                <c:pt idx="1171">
                  <c:v>42.000967741935483</c:v>
                </c:pt>
                <c:pt idx="1172">
                  <c:v>42.005161290322576</c:v>
                </c:pt>
                <c:pt idx="1173">
                  <c:v>41.962258064516128</c:v>
                </c:pt>
                <c:pt idx="1174">
                  <c:v>41.944838709677413</c:v>
                </c:pt>
                <c:pt idx="1175">
                  <c:v>42.037741935483865</c:v>
                </c:pt>
                <c:pt idx="1176">
                  <c:v>42.043870967741931</c:v>
                </c:pt>
                <c:pt idx="1177">
                  <c:v>41.995161290322578</c:v>
                </c:pt>
                <c:pt idx="1178">
                  <c:v>42.090322580645157</c:v>
                </c:pt>
                <c:pt idx="1179">
                  <c:v>42.085161290322574</c:v>
                </c:pt>
                <c:pt idx="1180">
                  <c:v>42.085806451612903</c:v>
                </c:pt>
                <c:pt idx="1181">
                  <c:v>42.022903225806452</c:v>
                </c:pt>
                <c:pt idx="1182">
                  <c:v>42.082258064516125</c:v>
                </c:pt>
                <c:pt idx="1183">
                  <c:v>42.040967741935475</c:v>
                </c:pt>
                <c:pt idx="1184">
                  <c:v>42.138064516129035</c:v>
                </c:pt>
                <c:pt idx="1185">
                  <c:v>42.149032258064523</c:v>
                </c:pt>
                <c:pt idx="1186">
                  <c:v>42.073225806451617</c:v>
                </c:pt>
                <c:pt idx="1187">
                  <c:v>42.080645161290327</c:v>
                </c:pt>
                <c:pt idx="1188">
                  <c:v>42.082903225806454</c:v>
                </c:pt>
                <c:pt idx="1189">
                  <c:v>42.044193548387099</c:v>
                </c:pt>
                <c:pt idx="1190">
                  <c:v>42.102258064516128</c:v>
                </c:pt>
                <c:pt idx="1191">
                  <c:v>42.056774193548378</c:v>
                </c:pt>
                <c:pt idx="1192">
                  <c:v>42.058709677419351</c:v>
                </c:pt>
                <c:pt idx="1193">
                  <c:v>42.132580645161276</c:v>
                </c:pt>
                <c:pt idx="1194">
                  <c:v>42.088387096774191</c:v>
                </c:pt>
                <c:pt idx="1195">
                  <c:v>42.074838709677415</c:v>
                </c:pt>
                <c:pt idx="1196">
                  <c:v>42.165161290322587</c:v>
                </c:pt>
                <c:pt idx="1197">
                  <c:v>42.070645161290315</c:v>
                </c:pt>
                <c:pt idx="1198">
                  <c:v>42.073548387096771</c:v>
                </c:pt>
                <c:pt idx="1199">
                  <c:v>42.16516129032258</c:v>
                </c:pt>
                <c:pt idx="1200">
                  <c:v>42.226451612903226</c:v>
                </c:pt>
                <c:pt idx="1201">
                  <c:v>42.192580645161293</c:v>
                </c:pt>
                <c:pt idx="1202">
                  <c:v>42.119677419354851</c:v>
                </c:pt>
                <c:pt idx="1203">
                  <c:v>42.13000000000001</c:v>
                </c:pt>
                <c:pt idx="1204">
                  <c:v>42.116451612903241</c:v>
                </c:pt>
                <c:pt idx="1205">
                  <c:v>42.130967741935493</c:v>
                </c:pt>
                <c:pt idx="1206">
                  <c:v>42.127096774193539</c:v>
                </c:pt>
                <c:pt idx="1207">
                  <c:v>42.079999999999991</c:v>
                </c:pt>
                <c:pt idx="1208">
                  <c:v>42.133548387096781</c:v>
                </c:pt>
                <c:pt idx="1209">
                  <c:v>42.044193548387099</c:v>
                </c:pt>
                <c:pt idx="1210">
                  <c:v>42.134838709677425</c:v>
                </c:pt>
                <c:pt idx="1211">
                  <c:v>42.110322580645153</c:v>
                </c:pt>
                <c:pt idx="1212">
                  <c:v>42.15032258064516</c:v>
                </c:pt>
                <c:pt idx="1213">
                  <c:v>42.129999999999988</c:v>
                </c:pt>
                <c:pt idx="1214">
                  <c:v>42.155161290322575</c:v>
                </c:pt>
                <c:pt idx="1215">
                  <c:v>42.110645161290314</c:v>
                </c:pt>
                <c:pt idx="1216">
                  <c:v>42.101290322580645</c:v>
                </c:pt>
                <c:pt idx="1217">
                  <c:v>42.138064516129035</c:v>
                </c:pt>
                <c:pt idx="1218">
                  <c:v>42.035161290322577</c:v>
                </c:pt>
                <c:pt idx="1219">
                  <c:v>42.111612903225804</c:v>
                </c:pt>
                <c:pt idx="1220">
                  <c:v>42.103225806451604</c:v>
                </c:pt>
                <c:pt idx="1221">
                  <c:v>42.029999999999994</c:v>
                </c:pt>
                <c:pt idx="1222">
                  <c:v>42.07322580645161</c:v>
                </c:pt>
                <c:pt idx="1223">
                  <c:v>42.004838709677415</c:v>
                </c:pt>
                <c:pt idx="1224">
                  <c:v>41.934838709677422</c:v>
                </c:pt>
                <c:pt idx="1225">
                  <c:v>41.887419354838705</c:v>
                </c:pt>
                <c:pt idx="1226">
                  <c:v>41.908387096774199</c:v>
                </c:pt>
                <c:pt idx="1227">
                  <c:v>41.904193548387099</c:v>
                </c:pt>
                <c:pt idx="1228">
                  <c:v>41.924838709677417</c:v>
                </c:pt>
                <c:pt idx="1229">
                  <c:v>41.930967741935483</c:v>
                </c:pt>
                <c:pt idx="1230">
                  <c:v>41.853225806451611</c:v>
                </c:pt>
                <c:pt idx="1231">
                  <c:v>41.873225806451607</c:v>
                </c:pt>
                <c:pt idx="1232">
                  <c:v>41.849677419354826</c:v>
                </c:pt>
                <c:pt idx="1233">
                  <c:v>41.963548387096772</c:v>
                </c:pt>
                <c:pt idx="1234">
                  <c:v>41.970322580645146</c:v>
                </c:pt>
                <c:pt idx="1235">
                  <c:v>42.035806451612892</c:v>
                </c:pt>
                <c:pt idx="1236">
                  <c:v>42.073225806451603</c:v>
                </c:pt>
                <c:pt idx="1237">
                  <c:v>42.072903225806442</c:v>
                </c:pt>
                <c:pt idx="1238">
                  <c:v>42.194838709677413</c:v>
                </c:pt>
                <c:pt idx="1239">
                  <c:v>42.185483870967737</c:v>
                </c:pt>
                <c:pt idx="1240">
                  <c:v>42.247741935483866</c:v>
                </c:pt>
                <c:pt idx="1241">
                  <c:v>42.278064516129028</c:v>
                </c:pt>
                <c:pt idx="1242">
                  <c:v>42.343548387096767</c:v>
                </c:pt>
                <c:pt idx="1243">
                  <c:v>42.339354838709674</c:v>
                </c:pt>
                <c:pt idx="1244">
                  <c:v>42.434516129032261</c:v>
                </c:pt>
                <c:pt idx="1245">
                  <c:v>42.492258064516122</c:v>
                </c:pt>
                <c:pt idx="1246">
                  <c:v>42.528387096774196</c:v>
                </c:pt>
                <c:pt idx="1247">
                  <c:v>42.643870967741933</c:v>
                </c:pt>
                <c:pt idx="1248">
                  <c:v>42.720000000000006</c:v>
                </c:pt>
                <c:pt idx="1249">
                  <c:v>42.864838709677421</c:v>
                </c:pt>
                <c:pt idx="1250">
                  <c:v>42.930322580645161</c:v>
                </c:pt>
                <c:pt idx="1251">
                  <c:v>42.959032258064518</c:v>
                </c:pt>
                <c:pt idx="1252">
                  <c:v>43.016774193548393</c:v>
                </c:pt>
                <c:pt idx="1253">
                  <c:v>43.070000000000007</c:v>
                </c:pt>
                <c:pt idx="1254">
                  <c:v>43.095161290322586</c:v>
                </c:pt>
                <c:pt idx="1255">
                  <c:v>43.158064516129045</c:v>
                </c:pt>
                <c:pt idx="1256">
                  <c:v>43.278709677419364</c:v>
                </c:pt>
                <c:pt idx="1257">
                  <c:v>43.315161290322578</c:v>
                </c:pt>
                <c:pt idx="1258">
                  <c:v>43.282580645161289</c:v>
                </c:pt>
                <c:pt idx="1259">
                  <c:v>43.376451612903239</c:v>
                </c:pt>
                <c:pt idx="1260">
                  <c:v>43.437096774193556</c:v>
                </c:pt>
                <c:pt idx="1261">
                  <c:v>43.555483870967741</c:v>
                </c:pt>
                <c:pt idx="1262">
                  <c:v>43.543870967741931</c:v>
                </c:pt>
                <c:pt idx="1263">
                  <c:v>43.570645161290322</c:v>
                </c:pt>
                <c:pt idx="1264">
                  <c:v>43.566129032258061</c:v>
                </c:pt>
                <c:pt idx="1265">
                  <c:v>43.61935483870969</c:v>
                </c:pt>
                <c:pt idx="1266">
                  <c:v>43.675806451612907</c:v>
                </c:pt>
                <c:pt idx="1267">
                  <c:v>43.675806451612907</c:v>
                </c:pt>
                <c:pt idx="1268">
                  <c:v>43.671612903225814</c:v>
                </c:pt>
                <c:pt idx="1269">
                  <c:v>43.597741935483867</c:v>
                </c:pt>
                <c:pt idx="1270">
                  <c:v>43.602580645161289</c:v>
                </c:pt>
                <c:pt idx="1271">
                  <c:v>43.657741935483877</c:v>
                </c:pt>
                <c:pt idx="1272">
                  <c:v>43.59548387096774</c:v>
                </c:pt>
                <c:pt idx="1273">
                  <c:v>43.582580645161293</c:v>
                </c:pt>
                <c:pt idx="1274">
                  <c:v>43.564516129032256</c:v>
                </c:pt>
                <c:pt idx="1275">
                  <c:v>43.438064516129032</c:v>
                </c:pt>
                <c:pt idx="1276">
                  <c:v>43.336774193548379</c:v>
                </c:pt>
                <c:pt idx="1277">
                  <c:v>43.266129032258057</c:v>
                </c:pt>
                <c:pt idx="1278">
                  <c:v>43.155161290322575</c:v>
                </c:pt>
                <c:pt idx="1279">
                  <c:v>43.040967741935475</c:v>
                </c:pt>
                <c:pt idx="1280">
                  <c:v>42.968709677419348</c:v>
                </c:pt>
                <c:pt idx="1281">
                  <c:v>42.813870967741927</c:v>
                </c:pt>
                <c:pt idx="1282">
                  <c:v>42.76709677419354</c:v>
                </c:pt>
                <c:pt idx="1283">
                  <c:v>42.802258064516124</c:v>
                </c:pt>
                <c:pt idx="1284">
                  <c:v>42.700967741935479</c:v>
                </c:pt>
                <c:pt idx="1285">
                  <c:v>42.706451612903223</c:v>
                </c:pt>
                <c:pt idx="1286">
                  <c:v>42.706774193548384</c:v>
                </c:pt>
                <c:pt idx="1287">
                  <c:v>42.59967741935484</c:v>
                </c:pt>
                <c:pt idx="1288">
                  <c:v>42.522903225806452</c:v>
                </c:pt>
                <c:pt idx="1289">
                  <c:v>42.543870967741938</c:v>
                </c:pt>
                <c:pt idx="1290">
                  <c:v>42.535806451612906</c:v>
                </c:pt>
                <c:pt idx="1291">
                  <c:v>42.490645161290331</c:v>
                </c:pt>
                <c:pt idx="1292">
                  <c:v>42.426774193548397</c:v>
                </c:pt>
                <c:pt idx="1293">
                  <c:v>42.359677419354846</c:v>
                </c:pt>
                <c:pt idx="1294">
                  <c:v>42.344193548387096</c:v>
                </c:pt>
                <c:pt idx="1295">
                  <c:v>42.295483870967743</c:v>
                </c:pt>
                <c:pt idx="1296">
                  <c:v>42.177096774193558</c:v>
                </c:pt>
                <c:pt idx="1297">
                  <c:v>42.065161290322585</c:v>
                </c:pt>
                <c:pt idx="1298">
                  <c:v>42.008709677419361</c:v>
                </c:pt>
                <c:pt idx="1299">
                  <c:v>41.91096774193548</c:v>
                </c:pt>
                <c:pt idx="1300">
                  <c:v>41.862903225806441</c:v>
                </c:pt>
                <c:pt idx="1301">
                  <c:v>41.801612903225795</c:v>
                </c:pt>
                <c:pt idx="1302">
                  <c:v>41.787419354838697</c:v>
                </c:pt>
                <c:pt idx="1303">
                  <c:v>41.765161290322567</c:v>
                </c:pt>
                <c:pt idx="1304">
                  <c:v>41.643548387096764</c:v>
                </c:pt>
                <c:pt idx="1305">
                  <c:v>41.639354838709679</c:v>
                </c:pt>
                <c:pt idx="1306">
                  <c:v>41.733225806451614</c:v>
                </c:pt>
                <c:pt idx="1307">
                  <c:v>41.810322580645156</c:v>
                </c:pt>
                <c:pt idx="1308">
                  <c:v>41.905161290322589</c:v>
                </c:pt>
                <c:pt idx="1309">
                  <c:v>41.96806451612904</c:v>
                </c:pt>
                <c:pt idx="1310">
                  <c:v>42.067419354838712</c:v>
                </c:pt>
                <c:pt idx="1311">
                  <c:v>42.080645161290327</c:v>
                </c:pt>
                <c:pt idx="1312">
                  <c:v>42.116774193548387</c:v>
                </c:pt>
                <c:pt idx="1313">
                  <c:v>42.118387096774192</c:v>
                </c:pt>
                <c:pt idx="1314">
                  <c:v>42.137741935483881</c:v>
                </c:pt>
                <c:pt idx="1315">
                  <c:v>42.176129032258075</c:v>
                </c:pt>
                <c:pt idx="1316">
                  <c:v>42.121290322580656</c:v>
                </c:pt>
                <c:pt idx="1317">
                  <c:v>42.083548387096769</c:v>
                </c:pt>
                <c:pt idx="1318">
                  <c:v>42.146451612903235</c:v>
                </c:pt>
                <c:pt idx="1319">
                  <c:v>42.19161290322581</c:v>
                </c:pt>
                <c:pt idx="1320">
                  <c:v>42.118387096774192</c:v>
                </c:pt>
                <c:pt idx="1321">
                  <c:v>42.051612903225802</c:v>
                </c:pt>
                <c:pt idx="1322">
                  <c:v>42.058064516129029</c:v>
                </c:pt>
                <c:pt idx="1323">
                  <c:v>41.992903225806451</c:v>
                </c:pt>
                <c:pt idx="1324">
                  <c:v>42.054516129032251</c:v>
                </c:pt>
                <c:pt idx="1325">
                  <c:v>42.048064516129024</c:v>
                </c:pt>
                <c:pt idx="1326">
                  <c:v>41.991935483870961</c:v>
                </c:pt>
                <c:pt idx="1327">
                  <c:v>42.058387096774183</c:v>
                </c:pt>
                <c:pt idx="1328">
                  <c:v>42.069677419354832</c:v>
                </c:pt>
                <c:pt idx="1329">
                  <c:v>42.096451612903223</c:v>
                </c:pt>
                <c:pt idx="1330">
                  <c:v>42.219032258064516</c:v>
                </c:pt>
                <c:pt idx="1331">
                  <c:v>42.218709677419355</c:v>
                </c:pt>
                <c:pt idx="1332">
                  <c:v>42.265483870967742</c:v>
                </c:pt>
                <c:pt idx="1333">
                  <c:v>42.273870967741935</c:v>
                </c:pt>
                <c:pt idx="1334">
                  <c:v>42.294193548387092</c:v>
                </c:pt>
                <c:pt idx="1335">
                  <c:v>42.322580645161281</c:v>
                </c:pt>
                <c:pt idx="1336">
                  <c:v>42.348387096774182</c:v>
                </c:pt>
                <c:pt idx="1337">
                  <c:v>42.287741935483851</c:v>
                </c:pt>
                <c:pt idx="1338">
                  <c:v>42.296451612903212</c:v>
                </c:pt>
                <c:pt idx="1339">
                  <c:v>42.180967741935483</c:v>
                </c:pt>
                <c:pt idx="1340">
                  <c:v>42.201935483870969</c:v>
                </c:pt>
                <c:pt idx="1341">
                  <c:v>42.090967741935486</c:v>
                </c:pt>
                <c:pt idx="1342">
                  <c:v>42.123225806451622</c:v>
                </c:pt>
                <c:pt idx="1343">
                  <c:v>42.094838709677425</c:v>
                </c:pt>
                <c:pt idx="1344">
                  <c:v>42.174193548387109</c:v>
                </c:pt>
                <c:pt idx="1345">
                  <c:v>42.131612903225822</c:v>
                </c:pt>
                <c:pt idx="1346">
                  <c:v>42.088387096774206</c:v>
                </c:pt>
                <c:pt idx="1347">
                  <c:v>42.150645161290335</c:v>
                </c:pt>
                <c:pt idx="1348">
                  <c:v>42.1309677419355</c:v>
                </c:pt>
                <c:pt idx="1349">
                  <c:v>42.077419354838717</c:v>
                </c:pt>
                <c:pt idx="1350">
                  <c:v>42.001612903225812</c:v>
                </c:pt>
                <c:pt idx="1351">
                  <c:v>42.059677419354848</c:v>
                </c:pt>
                <c:pt idx="1352">
                  <c:v>42.131612903225808</c:v>
                </c:pt>
                <c:pt idx="1353">
                  <c:v>42.068387096774181</c:v>
                </c:pt>
                <c:pt idx="1354">
                  <c:v>42.164193548387097</c:v>
                </c:pt>
                <c:pt idx="1355">
                  <c:v>42.199677419354842</c:v>
                </c:pt>
                <c:pt idx="1356">
                  <c:v>42.228709677419353</c:v>
                </c:pt>
                <c:pt idx="1357">
                  <c:v>42.238387096774197</c:v>
                </c:pt>
                <c:pt idx="1358">
                  <c:v>42.267096774193547</c:v>
                </c:pt>
                <c:pt idx="1359">
                  <c:v>42.331290322580649</c:v>
                </c:pt>
                <c:pt idx="1360">
                  <c:v>42.244838709677431</c:v>
                </c:pt>
                <c:pt idx="1361">
                  <c:v>42.239032258064519</c:v>
                </c:pt>
                <c:pt idx="1362">
                  <c:v>42.308064516129036</c:v>
                </c:pt>
                <c:pt idx="1363">
                  <c:v>42.354193548387094</c:v>
                </c:pt>
                <c:pt idx="1364">
                  <c:v>42.306129032258063</c:v>
                </c:pt>
                <c:pt idx="1365">
                  <c:v>42.352258064516121</c:v>
                </c:pt>
                <c:pt idx="1366">
                  <c:v>42.419032258064512</c:v>
                </c:pt>
                <c:pt idx="1367">
                  <c:v>42.444516129032252</c:v>
                </c:pt>
                <c:pt idx="1368">
                  <c:v>42.424193548387095</c:v>
                </c:pt>
                <c:pt idx="1369">
                  <c:v>42.426451612903229</c:v>
                </c:pt>
                <c:pt idx="1370">
                  <c:v>42.521290322580647</c:v>
                </c:pt>
                <c:pt idx="1371">
                  <c:v>42.428064516129034</c:v>
                </c:pt>
                <c:pt idx="1372">
                  <c:v>42.529032258064518</c:v>
                </c:pt>
                <c:pt idx="1373">
                  <c:v>42.45</c:v>
                </c:pt>
                <c:pt idx="1374">
                  <c:v>42.49258064516129</c:v>
                </c:pt>
                <c:pt idx="1375">
                  <c:v>42.458064516129035</c:v>
                </c:pt>
                <c:pt idx="1376">
                  <c:v>42.377741935483883</c:v>
                </c:pt>
                <c:pt idx="1377">
                  <c:v>42.346774193548391</c:v>
                </c:pt>
                <c:pt idx="1378">
                  <c:v>42.347741935483874</c:v>
                </c:pt>
                <c:pt idx="1379">
                  <c:v>42.32096774193549</c:v>
                </c:pt>
                <c:pt idx="1380">
                  <c:v>42.300000000000011</c:v>
                </c:pt>
                <c:pt idx="1381">
                  <c:v>42.307096774193553</c:v>
                </c:pt>
                <c:pt idx="1382">
                  <c:v>42.328709677419361</c:v>
                </c:pt>
                <c:pt idx="1383">
                  <c:v>42.290967741935489</c:v>
                </c:pt>
                <c:pt idx="1384">
                  <c:v>42.388387096774196</c:v>
                </c:pt>
                <c:pt idx="1385">
                  <c:v>42.32</c:v>
                </c:pt>
                <c:pt idx="1386">
                  <c:v>42.205161290322579</c:v>
                </c:pt>
                <c:pt idx="1387">
                  <c:v>42.218709677419355</c:v>
                </c:pt>
                <c:pt idx="1388">
                  <c:v>42.225161290322582</c:v>
                </c:pt>
                <c:pt idx="1389">
                  <c:v>42.211612903225806</c:v>
                </c:pt>
                <c:pt idx="1390">
                  <c:v>42.234838709677419</c:v>
                </c:pt>
                <c:pt idx="1391">
                  <c:v>42.21</c:v>
                </c:pt>
                <c:pt idx="1392">
                  <c:v>42.128709677419359</c:v>
                </c:pt>
                <c:pt idx="1393">
                  <c:v>42.097419354838706</c:v>
                </c:pt>
                <c:pt idx="1394">
                  <c:v>42.056774193548385</c:v>
                </c:pt>
                <c:pt idx="1395">
                  <c:v>41.98193548387097</c:v>
                </c:pt>
                <c:pt idx="1396">
                  <c:v>41.944516129032259</c:v>
                </c:pt>
                <c:pt idx="1397">
                  <c:v>41.863870967741924</c:v>
                </c:pt>
                <c:pt idx="1398">
                  <c:v>41.837741935483862</c:v>
                </c:pt>
                <c:pt idx="1399">
                  <c:v>41.916451612903231</c:v>
                </c:pt>
                <c:pt idx="1400">
                  <c:v>41.91935483870968</c:v>
                </c:pt>
                <c:pt idx="1401">
                  <c:v>41.888064516129042</c:v>
                </c:pt>
                <c:pt idx="1402">
                  <c:v>41.904193548387099</c:v>
                </c:pt>
                <c:pt idx="1403">
                  <c:v>41.82741935483871</c:v>
                </c:pt>
                <c:pt idx="1404">
                  <c:v>41.879677419354842</c:v>
                </c:pt>
                <c:pt idx="1405">
                  <c:v>41.861612903225804</c:v>
                </c:pt>
                <c:pt idx="1406">
                  <c:v>41.797096774193555</c:v>
                </c:pt>
                <c:pt idx="1407">
                  <c:v>41.840645161290325</c:v>
                </c:pt>
                <c:pt idx="1408">
                  <c:v>41.926774193548383</c:v>
                </c:pt>
                <c:pt idx="1409">
                  <c:v>41.927096774193544</c:v>
                </c:pt>
                <c:pt idx="1410">
                  <c:v>41.92258064516129</c:v>
                </c:pt>
                <c:pt idx="1411">
                  <c:v>41.941612903225803</c:v>
                </c:pt>
                <c:pt idx="1412">
                  <c:v>41.972258064516126</c:v>
                </c:pt>
                <c:pt idx="1413">
                  <c:v>41.949677419354842</c:v>
                </c:pt>
                <c:pt idx="1414">
                  <c:v>41.912903225806453</c:v>
                </c:pt>
                <c:pt idx="1415">
                  <c:v>41.890000000000015</c:v>
                </c:pt>
                <c:pt idx="1416">
                  <c:v>41.949677419354849</c:v>
                </c:pt>
                <c:pt idx="1417">
                  <c:v>42.061935483870975</c:v>
                </c:pt>
                <c:pt idx="1418">
                  <c:v>42.062258064516129</c:v>
                </c:pt>
                <c:pt idx="1419">
                  <c:v>42.067741935483866</c:v>
                </c:pt>
                <c:pt idx="1420">
                  <c:v>41.986774193548385</c:v>
                </c:pt>
                <c:pt idx="1421">
                  <c:v>41.988709677419358</c:v>
                </c:pt>
                <c:pt idx="1422">
                  <c:v>42.084838709677413</c:v>
                </c:pt>
                <c:pt idx="1423">
                  <c:v>42.103870967741926</c:v>
                </c:pt>
                <c:pt idx="1424">
                  <c:v>42.111290322580636</c:v>
                </c:pt>
                <c:pt idx="1425">
                  <c:v>42.078709677419354</c:v>
                </c:pt>
                <c:pt idx="1426">
                  <c:v>42.092580645161291</c:v>
                </c:pt>
                <c:pt idx="1427">
                  <c:v>42.082580645161293</c:v>
                </c:pt>
                <c:pt idx="1428">
                  <c:v>42.056451612903224</c:v>
                </c:pt>
                <c:pt idx="1429">
                  <c:v>42.05709677419356</c:v>
                </c:pt>
                <c:pt idx="1430">
                  <c:v>42.06032258064517</c:v>
                </c:pt>
                <c:pt idx="1431">
                  <c:v>42.037419354838711</c:v>
                </c:pt>
                <c:pt idx="1432">
                  <c:v>42.077741935483878</c:v>
                </c:pt>
                <c:pt idx="1433">
                  <c:v>42.067741935483873</c:v>
                </c:pt>
                <c:pt idx="1434">
                  <c:v>42.089354838709681</c:v>
                </c:pt>
                <c:pt idx="1435">
                  <c:v>42.094516129032257</c:v>
                </c:pt>
                <c:pt idx="1436">
                  <c:v>42.078064516129039</c:v>
                </c:pt>
                <c:pt idx="1437">
                  <c:v>42.146129032258074</c:v>
                </c:pt>
                <c:pt idx="1438">
                  <c:v>42.188709677419361</c:v>
                </c:pt>
                <c:pt idx="1439">
                  <c:v>42.137741935483874</c:v>
                </c:pt>
                <c:pt idx="1440">
                  <c:v>42.129999999999981</c:v>
                </c:pt>
                <c:pt idx="1441">
                  <c:v>42.220645161290307</c:v>
                </c:pt>
                <c:pt idx="1442">
                  <c:v>42.260967741935467</c:v>
                </c:pt>
                <c:pt idx="1443">
                  <c:v>42.212258064516114</c:v>
                </c:pt>
                <c:pt idx="1444">
                  <c:v>42.149032258064508</c:v>
                </c:pt>
                <c:pt idx="1445">
                  <c:v>42.136129032258061</c:v>
                </c:pt>
                <c:pt idx="1446">
                  <c:v>42.166774193548385</c:v>
                </c:pt>
                <c:pt idx="1447">
                  <c:v>42.12</c:v>
                </c:pt>
                <c:pt idx="1448">
                  <c:v>42.099032258064518</c:v>
                </c:pt>
                <c:pt idx="1449">
                  <c:v>42.068387096774188</c:v>
                </c:pt>
                <c:pt idx="1450">
                  <c:v>42.012580645161279</c:v>
                </c:pt>
                <c:pt idx="1451">
                  <c:v>42.074193548387093</c:v>
                </c:pt>
                <c:pt idx="1452">
                  <c:v>42.015161290322581</c:v>
                </c:pt>
                <c:pt idx="1453">
                  <c:v>41.944516129032259</c:v>
                </c:pt>
                <c:pt idx="1454">
                  <c:v>41.973870967741938</c:v>
                </c:pt>
                <c:pt idx="1455">
                  <c:v>41.984516129032258</c:v>
                </c:pt>
                <c:pt idx="1456">
                  <c:v>42.012903225806447</c:v>
                </c:pt>
                <c:pt idx="1457">
                  <c:v>42.004516129032261</c:v>
                </c:pt>
                <c:pt idx="1458">
                  <c:v>42.029032258064518</c:v>
                </c:pt>
                <c:pt idx="1459">
                  <c:v>42.119677419354836</c:v>
                </c:pt>
                <c:pt idx="1460">
                  <c:v>42.079999999999991</c:v>
                </c:pt>
                <c:pt idx="1461">
                  <c:v>41.99483870967741</c:v>
                </c:pt>
                <c:pt idx="1462">
                  <c:v>41.96935483870967</c:v>
                </c:pt>
                <c:pt idx="1463">
                  <c:v>41.973870967741924</c:v>
                </c:pt>
                <c:pt idx="1464">
                  <c:v>42.054193548387083</c:v>
                </c:pt>
                <c:pt idx="1465">
                  <c:v>42.013225806451608</c:v>
                </c:pt>
                <c:pt idx="1466">
                  <c:v>41.997096774193551</c:v>
                </c:pt>
                <c:pt idx="1467">
                  <c:v>41.980000000000004</c:v>
                </c:pt>
                <c:pt idx="1468">
                  <c:v>41.91290322580646</c:v>
                </c:pt>
                <c:pt idx="1469">
                  <c:v>41.858387096774202</c:v>
                </c:pt>
                <c:pt idx="1470">
                  <c:v>41.891612903225813</c:v>
                </c:pt>
                <c:pt idx="1471">
                  <c:v>41.880645161290325</c:v>
                </c:pt>
                <c:pt idx="1472">
                  <c:v>41.837096774193547</c:v>
                </c:pt>
                <c:pt idx="1473">
                  <c:v>41.79032258064516</c:v>
                </c:pt>
                <c:pt idx="1474">
                  <c:v>41.874838709677405</c:v>
                </c:pt>
                <c:pt idx="1475">
                  <c:v>41.912258064516131</c:v>
                </c:pt>
                <c:pt idx="1476">
                  <c:v>41.918064516129029</c:v>
                </c:pt>
                <c:pt idx="1477">
                  <c:v>41.794516129032253</c:v>
                </c:pt>
                <c:pt idx="1478">
                  <c:v>41.774838709677411</c:v>
                </c:pt>
                <c:pt idx="1479">
                  <c:v>41.755806451612891</c:v>
                </c:pt>
                <c:pt idx="1480">
                  <c:v>41.748387096774188</c:v>
                </c:pt>
                <c:pt idx="1481">
                  <c:v>41.86258064516128</c:v>
                </c:pt>
                <c:pt idx="1482">
                  <c:v>41.8</c:v>
                </c:pt>
                <c:pt idx="1483">
                  <c:v>41.802580645161292</c:v>
                </c:pt>
                <c:pt idx="1484">
                  <c:v>41.894193548387101</c:v>
                </c:pt>
                <c:pt idx="1485">
                  <c:v>41.807419354838707</c:v>
                </c:pt>
                <c:pt idx="1486">
                  <c:v>41.791612903225811</c:v>
                </c:pt>
                <c:pt idx="1487">
                  <c:v>41.841935483870969</c:v>
                </c:pt>
                <c:pt idx="1488">
                  <c:v>41.894193548387101</c:v>
                </c:pt>
                <c:pt idx="1489">
                  <c:v>41.910000000000004</c:v>
                </c:pt>
                <c:pt idx="1490">
                  <c:v>41.840967741935479</c:v>
                </c:pt>
                <c:pt idx="1491">
                  <c:v>41.900645161290328</c:v>
                </c:pt>
                <c:pt idx="1492">
                  <c:v>41.959032258064518</c:v>
                </c:pt>
                <c:pt idx="1493">
                  <c:v>41.961935483870967</c:v>
                </c:pt>
                <c:pt idx="1494">
                  <c:v>41.939032258064515</c:v>
                </c:pt>
                <c:pt idx="1495">
                  <c:v>41.90774193548387</c:v>
                </c:pt>
                <c:pt idx="1496">
                  <c:v>42.022258064516123</c:v>
                </c:pt>
                <c:pt idx="1497">
                  <c:v>41.947419354838715</c:v>
                </c:pt>
                <c:pt idx="1498">
                  <c:v>41.969032258064516</c:v>
                </c:pt>
                <c:pt idx="1499">
                  <c:v>42.065483870967739</c:v>
                </c:pt>
                <c:pt idx="1500">
                  <c:v>42.052258064516124</c:v>
                </c:pt>
                <c:pt idx="1501">
                  <c:v>42.039677419354838</c:v>
                </c:pt>
                <c:pt idx="1502">
                  <c:v>42.024838709677411</c:v>
                </c:pt>
                <c:pt idx="1503">
                  <c:v>42.04677419354838</c:v>
                </c:pt>
                <c:pt idx="1504">
                  <c:v>42.025161290322579</c:v>
                </c:pt>
                <c:pt idx="1505">
                  <c:v>41.954193548387096</c:v>
                </c:pt>
                <c:pt idx="1506">
                  <c:v>41.926451612903236</c:v>
                </c:pt>
                <c:pt idx="1507">
                  <c:v>41.946774193548393</c:v>
                </c:pt>
                <c:pt idx="1508">
                  <c:v>42.022903225806459</c:v>
                </c:pt>
                <c:pt idx="1509">
                  <c:v>42.010967741935488</c:v>
                </c:pt>
                <c:pt idx="1510">
                  <c:v>41.928387096774202</c:v>
                </c:pt>
                <c:pt idx="1511">
                  <c:v>41.936451612903234</c:v>
                </c:pt>
                <c:pt idx="1512">
                  <c:v>41.863870967741939</c:v>
                </c:pt>
                <c:pt idx="1513">
                  <c:v>41.849032258064518</c:v>
                </c:pt>
                <c:pt idx="1514">
                  <c:v>41.87419354838709</c:v>
                </c:pt>
                <c:pt idx="1515">
                  <c:v>41.799677419354836</c:v>
                </c:pt>
                <c:pt idx="1516">
                  <c:v>41.870645161290319</c:v>
                </c:pt>
                <c:pt idx="1517">
                  <c:v>41.86032258064516</c:v>
                </c:pt>
                <c:pt idx="1518">
                  <c:v>41.821290322580637</c:v>
                </c:pt>
                <c:pt idx="1519">
                  <c:v>41.838064516129023</c:v>
                </c:pt>
                <c:pt idx="1520">
                  <c:v>41.828709677419347</c:v>
                </c:pt>
                <c:pt idx="1521">
                  <c:v>41.849677419354826</c:v>
                </c:pt>
                <c:pt idx="1522">
                  <c:v>41.794193548387085</c:v>
                </c:pt>
                <c:pt idx="1523">
                  <c:v>41.761612903225803</c:v>
                </c:pt>
                <c:pt idx="1524">
                  <c:v>41.743870967741934</c:v>
                </c:pt>
                <c:pt idx="1525">
                  <c:v>41.743225806451612</c:v>
                </c:pt>
                <c:pt idx="1526">
                  <c:v>41.699677419354842</c:v>
                </c:pt>
                <c:pt idx="1527">
                  <c:v>41.688064516129032</c:v>
                </c:pt>
                <c:pt idx="1528">
                  <c:v>41.777741935483867</c:v>
                </c:pt>
                <c:pt idx="1529">
                  <c:v>41.780322580645155</c:v>
                </c:pt>
                <c:pt idx="1530">
                  <c:v>41.727419354838702</c:v>
                </c:pt>
                <c:pt idx="1531">
                  <c:v>41.832258064516125</c:v>
                </c:pt>
                <c:pt idx="1532">
                  <c:v>41.818387096774188</c:v>
                </c:pt>
                <c:pt idx="1533">
                  <c:v>41.828387096774193</c:v>
                </c:pt>
                <c:pt idx="1534">
                  <c:v>41.833870967741937</c:v>
                </c:pt>
                <c:pt idx="1535">
                  <c:v>41.844516129032257</c:v>
                </c:pt>
                <c:pt idx="1536">
                  <c:v>41.843548387096767</c:v>
                </c:pt>
                <c:pt idx="1537">
                  <c:v>41.893225806451611</c:v>
                </c:pt>
                <c:pt idx="1538">
                  <c:v>41.957419354838706</c:v>
                </c:pt>
                <c:pt idx="1539">
                  <c:v>41.927419354838712</c:v>
                </c:pt>
                <c:pt idx="1540">
                  <c:v>41.957419354838706</c:v>
                </c:pt>
                <c:pt idx="1541">
                  <c:v>42</c:v>
                </c:pt>
                <c:pt idx="1542">
                  <c:v>41.958709677419357</c:v>
                </c:pt>
                <c:pt idx="1543">
                  <c:v>42.029032258064518</c:v>
                </c:pt>
                <c:pt idx="1544">
                  <c:v>42.139032258064525</c:v>
                </c:pt>
                <c:pt idx="1545">
                  <c:v>42.177096774193551</c:v>
                </c:pt>
                <c:pt idx="1546">
                  <c:v>42.229032258064521</c:v>
                </c:pt>
                <c:pt idx="1547">
                  <c:v>42.253225806451624</c:v>
                </c:pt>
                <c:pt idx="1548">
                  <c:v>42.241612903225814</c:v>
                </c:pt>
                <c:pt idx="1549">
                  <c:v>42.193548387096783</c:v>
                </c:pt>
                <c:pt idx="1550">
                  <c:v>42.178709677419363</c:v>
                </c:pt>
                <c:pt idx="1551">
                  <c:v>42.178064516129034</c:v>
                </c:pt>
                <c:pt idx="1552">
                  <c:v>42.216774193548389</c:v>
                </c:pt>
                <c:pt idx="1553">
                  <c:v>42.267096774193547</c:v>
                </c:pt>
                <c:pt idx="1554">
                  <c:v>42.247096774193544</c:v>
                </c:pt>
                <c:pt idx="1555">
                  <c:v>42.246774193548376</c:v>
                </c:pt>
                <c:pt idx="1556">
                  <c:v>42.203870967741935</c:v>
                </c:pt>
                <c:pt idx="1557">
                  <c:v>42.279677419354833</c:v>
                </c:pt>
                <c:pt idx="1558">
                  <c:v>42.228709677419353</c:v>
                </c:pt>
                <c:pt idx="1559">
                  <c:v>42.23838709677419</c:v>
                </c:pt>
                <c:pt idx="1560">
                  <c:v>42.256129032258066</c:v>
                </c:pt>
                <c:pt idx="1561">
                  <c:v>42.238064516129036</c:v>
                </c:pt>
                <c:pt idx="1562">
                  <c:v>42.228064516129038</c:v>
                </c:pt>
                <c:pt idx="1563">
                  <c:v>42.247096774193551</c:v>
                </c:pt>
                <c:pt idx="1564">
                  <c:v>42.198064516129037</c:v>
                </c:pt>
                <c:pt idx="1565">
                  <c:v>42.150000000000006</c:v>
                </c:pt>
                <c:pt idx="1566">
                  <c:v>42.181612903225805</c:v>
                </c:pt>
                <c:pt idx="1567">
                  <c:v>42.253870967741939</c:v>
                </c:pt>
                <c:pt idx="1568">
                  <c:v>42.195161290322581</c:v>
                </c:pt>
                <c:pt idx="1569">
                  <c:v>42.089032258064506</c:v>
                </c:pt>
                <c:pt idx="1570">
                  <c:v>42.158064516129031</c:v>
                </c:pt>
                <c:pt idx="1571">
                  <c:v>42.123870967741922</c:v>
                </c:pt>
                <c:pt idx="1572">
                  <c:v>42.2</c:v>
                </c:pt>
                <c:pt idx="1573">
                  <c:v>42.187741935483871</c:v>
                </c:pt>
                <c:pt idx="1574">
                  <c:v>42.154193548387092</c:v>
                </c:pt>
                <c:pt idx="1575">
                  <c:v>42.04580645161289</c:v>
                </c:pt>
                <c:pt idx="1576">
                  <c:v>42.022903225806452</c:v>
                </c:pt>
                <c:pt idx="1577">
                  <c:v>41.95967741935484</c:v>
                </c:pt>
                <c:pt idx="1578">
                  <c:v>41.98</c:v>
                </c:pt>
                <c:pt idx="1579">
                  <c:v>41.959354838709672</c:v>
                </c:pt>
                <c:pt idx="1580">
                  <c:v>41.943548387096776</c:v>
                </c:pt>
                <c:pt idx="1581">
                  <c:v>41.883870967741935</c:v>
                </c:pt>
                <c:pt idx="1582">
                  <c:v>41.90870967741936</c:v>
                </c:pt>
                <c:pt idx="1583">
                  <c:v>41.908064516129031</c:v>
                </c:pt>
                <c:pt idx="1584">
                  <c:v>41.804516129032265</c:v>
                </c:pt>
                <c:pt idx="1585">
                  <c:v>41.782258064516128</c:v>
                </c:pt>
                <c:pt idx="1586">
                  <c:v>41.788064516129033</c:v>
                </c:pt>
                <c:pt idx="1587">
                  <c:v>41.766129032258071</c:v>
                </c:pt>
                <c:pt idx="1588">
                  <c:v>41.782258064516128</c:v>
                </c:pt>
                <c:pt idx="1589">
                  <c:v>41.84129032258064</c:v>
                </c:pt>
                <c:pt idx="1590">
                  <c:v>41.858064516129026</c:v>
                </c:pt>
                <c:pt idx="1591">
                  <c:v>41.860645161290314</c:v>
                </c:pt>
                <c:pt idx="1592">
                  <c:v>41.873870967741944</c:v>
                </c:pt>
                <c:pt idx="1593">
                  <c:v>41.796129032258065</c:v>
                </c:pt>
                <c:pt idx="1594">
                  <c:v>41.837741935483869</c:v>
                </c:pt>
                <c:pt idx="1595">
                  <c:v>41.813548387096766</c:v>
                </c:pt>
                <c:pt idx="1596">
                  <c:v>41.834193548387098</c:v>
                </c:pt>
                <c:pt idx="1597">
                  <c:v>41.87</c:v>
                </c:pt>
                <c:pt idx="1598">
                  <c:v>41.86677419354838</c:v>
                </c:pt>
                <c:pt idx="1599">
                  <c:v>41.95225806451613</c:v>
                </c:pt>
                <c:pt idx="1600">
                  <c:v>41.936129032258066</c:v>
                </c:pt>
                <c:pt idx="1601">
                  <c:v>41.900322580645167</c:v>
                </c:pt>
                <c:pt idx="1602">
                  <c:v>41.930645161290329</c:v>
                </c:pt>
                <c:pt idx="1603">
                  <c:v>41.931935483870973</c:v>
                </c:pt>
                <c:pt idx="1604">
                  <c:v>41.931290322580651</c:v>
                </c:pt>
                <c:pt idx="1605">
                  <c:v>41.869032258064507</c:v>
                </c:pt>
                <c:pt idx="1606">
                  <c:v>41.880322580645164</c:v>
                </c:pt>
                <c:pt idx="1607">
                  <c:v>41.8</c:v>
                </c:pt>
                <c:pt idx="1608">
                  <c:v>41.838709677419352</c:v>
                </c:pt>
                <c:pt idx="1609">
                  <c:v>41.740322580645156</c:v>
                </c:pt>
                <c:pt idx="1610">
                  <c:v>41.829354838709676</c:v>
                </c:pt>
                <c:pt idx="1611">
                  <c:v>41.85032258064517</c:v>
                </c:pt>
                <c:pt idx="1612">
                  <c:v>41.975483870967757</c:v>
                </c:pt>
                <c:pt idx="1613">
                  <c:v>41.884516129032271</c:v>
                </c:pt>
                <c:pt idx="1614">
                  <c:v>41.899354838709691</c:v>
                </c:pt>
                <c:pt idx="1615">
                  <c:v>41.980322580645172</c:v>
                </c:pt>
                <c:pt idx="1616">
                  <c:v>42.027096774193552</c:v>
                </c:pt>
                <c:pt idx="1617">
                  <c:v>42.090645161290325</c:v>
                </c:pt>
                <c:pt idx="1618">
                  <c:v>42.178064516129034</c:v>
                </c:pt>
                <c:pt idx="1619">
                  <c:v>42.181935483870966</c:v>
                </c:pt>
                <c:pt idx="1620">
                  <c:v>42.169354838709673</c:v>
                </c:pt>
                <c:pt idx="1621">
                  <c:v>42.122580645161278</c:v>
                </c:pt>
                <c:pt idx="1622">
                  <c:v>42.177741935483866</c:v>
                </c:pt>
                <c:pt idx="1623">
                  <c:v>42.189354838709676</c:v>
                </c:pt>
                <c:pt idx="1624">
                  <c:v>42.268709677419352</c:v>
                </c:pt>
                <c:pt idx="1625">
                  <c:v>42.201935483870962</c:v>
                </c:pt>
                <c:pt idx="1626">
                  <c:v>42.21290322580645</c:v>
                </c:pt>
                <c:pt idx="1627">
                  <c:v>42.199677419354835</c:v>
                </c:pt>
                <c:pt idx="1628">
                  <c:v>42.157419354838716</c:v>
                </c:pt>
                <c:pt idx="1629">
                  <c:v>42.1225806451613</c:v>
                </c:pt>
                <c:pt idx="1630">
                  <c:v>42.116451612903226</c:v>
                </c:pt>
                <c:pt idx="1631">
                  <c:v>42.211612903225813</c:v>
                </c:pt>
                <c:pt idx="1632">
                  <c:v>42.223548387096777</c:v>
                </c:pt>
                <c:pt idx="1633">
                  <c:v>42.263870967741937</c:v>
                </c:pt>
                <c:pt idx="1634">
                  <c:v>42.259677419354837</c:v>
                </c:pt>
                <c:pt idx="1635">
                  <c:v>42.335806451612889</c:v>
                </c:pt>
                <c:pt idx="1636">
                  <c:v>42.396451612903221</c:v>
                </c:pt>
                <c:pt idx="1637">
                  <c:v>42.413548387096768</c:v>
                </c:pt>
                <c:pt idx="1638">
                  <c:v>42.490967741935478</c:v>
                </c:pt>
                <c:pt idx="1639">
                  <c:v>42.510322580645152</c:v>
                </c:pt>
                <c:pt idx="1640">
                  <c:v>42.541935483870958</c:v>
                </c:pt>
                <c:pt idx="1641">
                  <c:v>42.452903225806445</c:v>
                </c:pt>
                <c:pt idx="1642">
                  <c:v>42.510322580645152</c:v>
                </c:pt>
                <c:pt idx="1643">
                  <c:v>42.396451612903221</c:v>
                </c:pt>
                <c:pt idx="1644">
                  <c:v>42.453225806451599</c:v>
                </c:pt>
                <c:pt idx="1645">
                  <c:v>42.361290322580643</c:v>
                </c:pt>
                <c:pt idx="1646">
                  <c:v>42.32</c:v>
                </c:pt>
                <c:pt idx="1647">
                  <c:v>42.327741935483871</c:v>
                </c:pt>
                <c:pt idx="1648">
                  <c:v>42.266451612903225</c:v>
                </c:pt>
                <c:pt idx="1649">
                  <c:v>42.27</c:v>
                </c:pt>
                <c:pt idx="1650">
                  <c:v>42.22870967741936</c:v>
                </c:pt>
                <c:pt idx="1651">
                  <c:v>42.22870967741936</c:v>
                </c:pt>
                <c:pt idx="1652">
                  <c:v>42.206129032258069</c:v>
                </c:pt>
                <c:pt idx="1653">
                  <c:v>42.18935483870969</c:v>
                </c:pt>
                <c:pt idx="1654">
                  <c:v>42.177419354838726</c:v>
                </c:pt>
                <c:pt idx="1655">
                  <c:v>42.184838709677436</c:v>
                </c:pt>
                <c:pt idx="1656">
                  <c:v>42.169032258064526</c:v>
                </c:pt>
                <c:pt idx="1657">
                  <c:v>42.264193548387105</c:v>
                </c:pt>
                <c:pt idx="1658">
                  <c:v>42.245161290322585</c:v>
                </c:pt>
                <c:pt idx="1659">
                  <c:v>42.277096774193552</c:v>
                </c:pt>
                <c:pt idx="1660">
                  <c:v>42.299677419354843</c:v>
                </c:pt>
                <c:pt idx="1661">
                  <c:v>42.305806451612902</c:v>
                </c:pt>
                <c:pt idx="1662">
                  <c:v>42.262258064516139</c:v>
                </c:pt>
                <c:pt idx="1663">
                  <c:v>42.221935483870972</c:v>
                </c:pt>
                <c:pt idx="1664">
                  <c:v>42.208064516129028</c:v>
                </c:pt>
                <c:pt idx="1665">
                  <c:v>42.194516129032259</c:v>
                </c:pt>
                <c:pt idx="1666">
                  <c:v>42.145161290322584</c:v>
                </c:pt>
                <c:pt idx="1667">
                  <c:v>42.079354838709676</c:v>
                </c:pt>
                <c:pt idx="1668">
                  <c:v>42.089354838709674</c:v>
                </c:pt>
                <c:pt idx="1669">
                  <c:v>42.067741935483873</c:v>
                </c:pt>
                <c:pt idx="1670">
                  <c:v>42.023870967741942</c:v>
                </c:pt>
                <c:pt idx="1671">
                  <c:v>42.009032258064522</c:v>
                </c:pt>
                <c:pt idx="1672">
                  <c:v>42.069677419354846</c:v>
                </c:pt>
                <c:pt idx="1673">
                  <c:v>41.989032258064519</c:v>
                </c:pt>
                <c:pt idx="1674">
                  <c:v>42.042580645161287</c:v>
                </c:pt>
                <c:pt idx="1675">
                  <c:v>41.995161290322585</c:v>
                </c:pt>
                <c:pt idx="1676">
                  <c:v>42.071935483870966</c:v>
                </c:pt>
                <c:pt idx="1677">
                  <c:v>42.046451612903226</c:v>
                </c:pt>
                <c:pt idx="1678">
                  <c:v>42.085806451612896</c:v>
                </c:pt>
                <c:pt idx="1679">
                  <c:v>42.136774193548391</c:v>
                </c:pt>
                <c:pt idx="1680">
                  <c:v>42.141612903225806</c:v>
                </c:pt>
                <c:pt idx="1681">
                  <c:v>42.091612903225801</c:v>
                </c:pt>
                <c:pt idx="1682">
                  <c:v>42.075483870967744</c:v>
                </c:pt>
                <c:pt idx="1683">
                  <c:v>42.072258064516127</c:v>
                </c:pt>
                <c:pt idx="1684">
                  <c:v>42.106451612903221</c:v>
                </c:pt>
                <c:pt idx="1685">
                  <c:v>42.162903225806453</c:v>
                </c:pt>
                <c:pt idx="1686">
                  <c:v>42.071935483870973</c:v>
                </c:pt>
                <c:pt idx="1687">
                  <c:v>42.14806451612904</c:v>
                </c:pt>
                <c:pt idx="1688">
                  <c:v>42.044838709677421</c:v>
                </c:pt>
                <c:pt idx="1689">
                  <c:v>42.131612903225815</c:v>
                </c:pt>
                <c:pt idx="1690">
                  <c:v>42.106451612903221</c:v>
                </c:pt>
                <c:pt idx="1691">
                  <c:v>42.071935483870966</c:v>
                </c:pt>
                <c:pt idx="1692">
                  <c:v>42.075483870967737</c:v>
                </c:pt>
                <c:pt idx="1693">
                  <c:v>42.027741935483867</c:v>
                </c:pt>
                <c:pt idx="1694">
                  <c:v>41.995806451612886</c:v>
                </c:pt>
                <c:pt idx="1695">
                  <c:v>41.939999999999991</c:v>
                </c:pt>
                <c:pt idx="1696">
                  <c:v>41.917096774193539</c:v>
                </c:pt>
                <c:pt idx="1697">
                  <c:v>41.897096774193535</c:v>
                </c:pt>
                <c:pt idx="1698">
                  <c:v>41.928709677419349</c:v>
                </c:pt>
                <c:pt idx="1699">
                  <c:v>42.029999999999987</c:v>
                </c:pt>
                <c:pt idx="1700">
                  <c:v>42.11258064516128</c:v>
                </c:pt>
                <c:pt idx="1701">
                  <c:v>42.134516129032264</c:v>
                </c:pt>
                <c:pt idx="1702">
                  <c:v>42.223225806451616</c:v>
                </c:pt>
                <c:pt idx="1703">
                  <c:v>42.22870967741936</c:v>
                </c:pt>
                <c:pt idx="1704">
                  <c:v>42.373225806451629</c:v>
                </c:pt>
                <c:pt idx="1705">
                  <c:v>42.43096774193549</c:v>
                </c:pt>
                <c:pt idx="1706">
                  <c:v>42.470967741935482</c:v>
                </c:pt>
                <c:pt idx="1707">
                  <c:v>42.480645161290319</c:v>
                </c:pt>
                <c:pt idx="1708">
                  <c:v>42.583225806451601</c:v>
                </c:pt>
                <c:pt idx="1709">
                  <c:v>42.628387096774183</c:v>
                </c:pt>
                <c:pt idx="1710">
                  <c:v>42.626129032258056</c:v>
                </c:pt>
                <c:pt idx="1711">
                  <c:v>42.573548387096771</c:v>
                </c:pt>
                <c:pt idx="1712">
                  <c:v>42.683225806451617</c:v>
                </c:pt>
                <c:pt idx="1713">
                  <c:v>42.671612903225807</c:v>
                </c:pt>
                <c:pt idx="1714">
                  <c:v>42.744193548387095</c:v>
                </c:pt>
                <c:pt idx="1715">
                  <c:v>42.732258064516131</c:v>
                </c:pt>
                <c:pt idx="1716">
                  <c:v>42.70000000000001</c:v>
                </c:pt>
                <c:pt idx="1717">
                  <c:v>42.780322580645176</c:v>
                </c:pt>
                <c:pt idx="1718">
                  <c:v>42.826129032258066</c:v>
                </c:pt>
                <c:pt idx="1719">
                  <c:v>42.912580645161292</c:v>
                </c:pt>
                <c:pt idx="1720">
                  <c:v>42.931935483870973</c:v>
                </c:pt>
                <c:pt idx="1721">
                  <c:v>43.008064516129032</c:v>
                </c:pt>
                <c:pt idx="1722">
                  <c:v>43.038709677419355</c:v>
                </c:pt>
                <c:pt idx="1723">
                  <c:v>43.011612903225803</c:v>
                </c:pt>
                <c:pt idx="1724">
                  <c:v>43.12903225806452</c:v>
                </c:pt>
                <c:pt idx="1725">
                  <c:v>43.233548387096775</c:v>
                </c:pt>
                <c:pt idx="1726">
                  <c:v>43.292903225806455</c:v>
                </c:pt>
                <c:pt idx="1727">
                  <c:v>43.336774193548386</c:v>
                </c:pt>
                <c:pt idx="1728">
                  <c:v>43.376129032258071</c:v>
                </c:pt>
                <c:pt idx="1729">
                  <c:v>43.466129032258067</c:v>
                </c:pt>
                <c:pt idx="1730">
                  <c:v>43.470000000000006</c:v>
                </c:pt>
                <c:pt idx="1731">
                  <c:v>43.399032258064516</c:v>
                </c:pt>
                <c:pt idx="1732">
                  <c:v>43.389354838709679</c:v>
                </c:pt>
                <c:pt idx="1733">
                  <c:v>43.340967741935472</c:v>
                </c:pt>
                <c:pt idx="1734">
                  <c:v>43.360967741935475</c:v>
                </c:pt>
                <c:pt idx="1735">
                  <c:v>43.282903225806457</c:v>
                </c:pt>
                <c:pt idx="1736">
                  <c:v>43.3</c:v>
                </c:pt>
                <c:pt idx="1737">
                  <c:v>43.3158064516129</c:v>
                </c:pt>
                <c:pt idx="1738">
                  <c:v>43.361935483870958</c:v>
                </c:pt>
                <c:pt idx="1739">
                  <c:v>43.308064516129029</c:v>
                </c:pt>
                <c:pt idx="1740">
                  <c:v>43.288064516129019</c:v>
                </c:pt>
                <c:pt idx="1741">
                  <c:v>43.290645161290321</c:v>
                </c:pt>
                <c:pt idx="1742">
                  <c:v>43.239354838709673</c:v>
                </c:pt>
                <c:pt idx="1743">
                  <c:v>43.11354838709677</c:v>
                </c:pt>
                <c:pt idx="1744">
                  <c:v>43.143548387096779</c:v>
                </c:pt>
                <c:pt idx="1745">
                  <c:v>43.12903225806452</c:v>
                </c:pt>
                <c:pt idx="1746">
                  <c:v>43.1274193548387</c:v>
                </c:pt>
                <c:pt idx="1747">
                  <c:v>43.085161290322574</c:v>
                </c:pt>
                <c:pt idx="1748">
                  <c:v>43.086129032258057</c:v>
                </c:pt>
                <c:pt idx="1749">
                  <c:v>42.965161290322577</c:v>
                </c:pt>
                <c:pt idx="1750">
                  <c:v>42.95129032258064</c:v>
                </c:pt>
                <c:pt idx="1751">
                  <c:v>42.94161290322581</c:v>
                </c:pt>
                <c:pt idx="1752">
                  <c:v>42.825806451612898</c:v>
                </c:pt>
                <c:pt idx="1753">
                  <c:v>42.748387096774195</c:v>
                </c:pt>
                <c:pt idx="1754">
                  <c:v>42.694838709677427</c:v>
                </c:pt>
                <c:pt idx="1755">
                  <c:v>42.646451612903235</c:v>
                </c:pt>
                <c:pt idx="1756">
                  <c:v>42.624193548387105</c:v>
                </c:pt>
                <c:pt idx="1757">
                  <c:v>42.62354838709679</c:v>
                </c:pt>
                <c:pt idx="1758">
                  <c:v>42.600322580645162</c:v>
                </c:pt>
                <c:pt idx="1759">
                  <c:v>42.644193548387108</c:v>
                </c:pt>
                <c:pt idx="1760">
                  <c:v>42.51580645161291</c:v>
                </c:pt>
                <c:pt idx="1761">
                  <c:v>42.370322580645173</c:v>
                </c:pt>
                <c:pt idx="1762">
                  <c:v>42.37</c:v>
                </c:pt>
                <c:pt idx="1763">
                  <c:v>42.338064516129037</c:v>
                </c:pt>
                <c:pt idx="1764">
                  <c:v>42.371290322580656</c:v>
                </c:pt>
                <c:pt idx="1765">
                  <c:v>42.33903225806452</c:v>
                </c:pt>
                <c:pt idx="1766">
                  <c:v>42.332903225806447</c:v>
                </c:pt>
                <c:pt idx="1767">
                  <c:v>42.306451612903217</c:v>
                </c:pt>
                <c:pt idx="1768">
                  <c:v>42.316129032258068</c:v>
                </c:pt>
                <c:pt idx="1769">
                  <c:v>42.186451612903227</c:v>
                </c:pt>
                <c:pt idx="1770">
                  <c:v>42.120322580645158</c:v>
                </c:pt>
                <c:pt idx="1771">
                  <c:v>42.004838709677422</c:v>
                </c:pt>
                <c:pt idx="1772">
                  <c:v>41.941612903225817</c:v>
                </c:pt>
                <c:pt idx="1773">
                  <c:v>41.944193548387105</c:v>
                </c:pt>
                <c:pt idx="1774">
                  <c:v>42.000322580645168</c:v>
                </c:pt>
                <c:pt idx="1775">
                  <c:v>41.973225806451623</c:v>
                </c:pt>
                <c:pt idx="1776">
                  <c:v>41.967419354838718</c:v>
                </c:pt>
                <c:pt idx="1777">
                  <c:v>41.919677419354848</c:v>
                </c:pt>
                <c:pt idx="1778">
                  <c:v>41.965161290322591</c:v>
                </c:pt>
                <c:pt idx="1779">
                  <c:v>41.900967741935496</c:v>
                </c:pt>
                <c:pt idx="1780">
                  <c:v>41.905161290322589</c:v>
                </c:pt>
                <c:pt idx="1781">
                  <c:v>41.859677419354846</c:v>
                </c:pt>
                <c:pt idx="1782">
                  <c:v>41.742903225806451</c:v>
                </c:pt>
                <c:pt idx="1783">
                  <c:v>41.801290322580648</c:v>
                </c:pt>
                <c:pt idx="1784">
                  <c:v>41.83</c:v>
                </c:pt>
                <c:pt idx="1785">
                  <c:v>41.832580645161286</c:v>
                </c:pt>
                <c:pt idx="1786">
                  <c:v>41.779032258064511</c:v>
                </c:pt>
                <c:pt idx="1787">
                  <c:v>41.725483870967743</c:v>
                </c:pt>
                <c:pt idx="1788">
                  <c:v>41.69064516129032</c:v>
                </c:pt>
                <c:pt idx="1789">
                  <c:v>41.67677419354839</c:v>
                </c:pt>
                <c:pt idx="1790">
                  <c:v>41.579032258064508</c:v>
                </c:pt>
                <c:pt idx="1791">
                  <c:v>41.684516129032254</c:v>
                </c:pt>
                <c:pt idx="1792">
                  <c:v>41.769032258064506</c:v>
                </c:pt>
                <c:pt idx="1793">
                  <c:v>41.786774193548375</c:v>
                </c:pt>
                <c:pt idx="1794">
                  <c:v>41.828387096774186</c:v>
                </c:pt>
                <c:pt idx="1795">
                  <c:v>41.738709677419351</c:v>
                </c:pt>
                <c:pt idx="1796">
                  <c:v>41.739032258064512</c:v>
                </c:pt>
                <c:pt idx="1797">
                  <c:v>41.749354838709678</c:v>
                </c:pt>
                <c:pt idx="1798">
                  <c:v>41.709032258064518</c:v>
                </c:pt>
                <c:pt idx="1799">
                  <c:v>41.628064516129022</c:v>
                </c:pt>
                <c:pt idx="1800">
                  <c:v>41.621290322580634</c:v>
                </c:pt>
                <c:pt idx="1801">
                  <c:v>41.680967741935483</c:v>
                </c:pt>
                <c:pt idx="1802">
                  <c:v>41.693225806451608</c:v>
                </c:pt>
                <c:pt idx="1803">
                  <c:v>41.790967741935482</c:v>
                </c:pt>
                <c:pt idx="1804">
                  <c:v>41.876451612903217</c:v>
                </c:pt>
                <c:pt idx="1805">
                  <c:v>41.888064516129027</c:v>
                </c:pt>
                <c:pt idx="1806">
                  <c:v>41.875161290322588</c:v>
                </c:pt>
                <c:pt idx="1807">
                  <c:v>41.90129032258065</c:v>
                </c:pt>
                <c:pt idx="1808">
                  <c:v>41.880645161290325</c:v>
                </c:pt>
                <c:pt idx="1809">
                  <c:v>41.828064516129032</c:v>
                </c:pt>
                <c:pt idx="1810">
                  <c:v>41.777419354838706</c:v>
                </c:pt>
                <c:pt idx="1811">
                  <c:v>41.766451612903218</c:v>
                </c:pt>
                <c:pt idx="1812">
                  <c:v>41.737741935483875</c:v>
                </c:pt>
                <c:pt idx="1813">
                  <c:v>41.779032258064511</c:v>
                </c:pt>
                <c:pt idx="1814">
                  <c:v>41.804838709677419</c:v>
                </c:pt>
                <c:pt idx="1815">
                  <c:v>41.852258064516121</c:v>
                </c:pt>
                <c:pt idx="1816">
                  <c:v>41.818709677419349</c:v>
                </c:pt>
                <c:pt idx="1817">
                  <c:v>41.849032258064518</c:v>
                </c:pt>
                <c:pt idx="1818">
                  <c:v>41.929354838709685</c:v>
                </c:pt>
                <c:pt idx="1819">
                  <c:v>42.013225806451622</c:v>
                </c:pt>
                <c:pt idx="1820">
                  <c:v>41.970000000000006</c:v>
                </c:pt>
                <c:pt idx="1821">
                  <c:v>42.045161290322582</c:v>
                </c:pt>
                <c:pt idx="1822">
                  <c:v>42.037741935483872</c:v>
                </c:pt>
                <c:pt idx="1823">
                  <c:v>42.007741935483871</c:v>
                </c:pt>
                <c:pt idx="1824">
                  <c:v>41.91516129032258</c:v>
                </c:pt>
                <c:pt idx="1825">
                  <c:v>41.888709677419357</c:v>
                </c:pt>
                <c:pt idx="1826">
                  <c:v>41.911935483870963</c:v>
                </c:pt>
                <c:pt idx="1827">
                  <c:v>41.903870967741931</c:v>
                </c:pt>
                <c:pt idx="1828">
                  <c:v>41.829999999999991</c:v>
                </c:pt>
                <c:pt idx="1829">
                  <c:v>41.865161290322561</c:v>
                </c:pt>
                <c:pt idx="1830">
                  <c:v>41.848387096774175</c:v>
                </c:pt>
                <c:pt idx="1831">
                  <c:v>41.908064516129016</c:v>
                </c:pt>
                <c:pt idx="1832">
                  <c:v>41.851290322580631</c:v>
                </c:pt>
                <c:pt idx="1833">
                  <c:v>41.884516129032242</c:v>
                </c:pt>
                <c:pt idx="1834">
                  <c:v>41.766774193548372</c:v>
                </c:pt>
                <c:pt idx="1835">
                  <c:v>41.686774193548381</c:v>
                </c:pt>
                <c:pt idx="1836">
                  <c:v>41.620645161290312</c:v>
                </c:pt>
                <c:pt idx="1837">
                  <c:v>41.633548387096774</c:v>
                </c:pt>
                <c:pt idx="1838">
                  <c:v>41.514193548387084</c:v>
                </c:pt>
                <c:pt idx="1839">
                  <c:v>41.478387096774199</c:v>
                </c:pt>
                <c:pt idx="1840">
                  <c:v>41.45645161290323</c:v>
                </c:pt>
                <c:pt idx="1841">
                  <c:v>41.51354838709679</c:v>
                </c:pt>
                <c:pt idx="1842">
                  <c:v>41.518064516129044</c:v>
                </c:pt>
                <c:pt idx="1843">
                  <c:v>41.578064516129039</c:v>
                </c:pt>
                <c:pt idx="1844">
                  <c:v>41.587419354838723</c:v>
                </c:pt>
                <c:pt idx="1845">
                  <c:v>41.570645161290329</c:v>
                </c:pt>
                <c:pt idx="1846">
                  <c:v>41.608387096774202</c:v>
                </c:pt>
                <c:pt idx="1847">
                  <c:v>41.700322580645171</c:v>
                </c:pt>
                <c:pt idx="1848">
                  <c:v>41.647096774193557</c:v>
                </c:pt>
                <c:pt idx="1849">
                  <c:v>41.572903225806456</c:v>
                </c:pt>
                <c:pt idx="1850">
                  <c:v>41.55935483870968</c:v>
                </c:pt>
                <c:pt idx="1851">
                  <c:v>41.59548387096774</c:v>
                </c:pt>
                <c:pt idx="1852">
                  <c:v>41.544516129032253</c:v>
                </c:pt>
                <c:pt idx="1853">
                  <c:v>41.469677419354838</c:v>
                </c:pt>
                <c:pt idx="1854">
                  <c:v>41.470967741935489</c:v>
                </c:pt>
                <c:pt idx="1855">
                  <c:v>41.491290322580639</c:v>
                </c:pt>
                <c:pt idx="1856">
                  <c:v>41.447419354838708</c:v>
                </c:pt>
                <c:pt idx="1857">
                  <c:v>41.516774193548386</c:v>
                </c:pt>
                <c:pt idx="1858">
                  <c:v>41.525806451612901</c:v>
                </c:pt>
                <c:pt idx="1859">
                  <c:v>41.617096774193548</c:v>
                </c:pt>
                <c:pt idx="1860">
                  <c:v>41.528064516129028</c:v>
                </c:pt>
                <c:pt idx="1861">
                  <c:v>41.57322580645161</c:v>
                </c:pt>
                <c:pt idx="1862">
                  <c:v>41.604516129032255</c:v>
                </c:pt>
                <c:pt idx="1863">
                  <c:v>41.712258064516128</c:v>
                </c:pt>
                <c:pt idx="1864">
                  <c:v>41.69161290322581</c:v>
                </c:pt>
                <c:pt idx="1865">
                  <c:v>41.73516129032258</c:v>
                </c:pt>
                <c:pt idx="1866">
                  <c:v>41.789354838709677</c:v>
                </c:pt>
                <c:pt idx="1867">
                  <c:v>41.776774193548391</c:v>
                </c:pt>
                <c:pt idx="1868">
                  <c:v>41.799354838709682</c:v>
                </c:pt>
                <c:pt idx="1869">
                  <c:v>41.908064516129045</c:v>
                </c:pt>
                <c:pt idx="1870">
                  <c:v>41.988064516129036</c:v>
                </c:pt>
                <c:pt idx="1871">
                  <c:v>42.061290322580646</c:v>
                </c:pt>
                <c:pt idx="1872">
                  <c:v>42.078709677419354</c:v>
                </c:pt>
                <c:pt idx="1873">
                  <c:v>42.163870967741943</c:v>
                </c:pt>
                <c:pt idx="1874">
                  <c:v>42.179354838709692</c:v>
                </c:pt>
                <c:pt idx="1875">
                  <c:v>42.159032258064528</c:v>
                </c:pt>
                <c:pt idx="1876">
                  <c:v>42.175806451612914</c:v>
                </c:pt>
                <c:pt idx="1877">
                  <c:v>42.121612903225817</c:v>
                </c:pt>
                <c:pt idx="1878">
                  <c:v>42.120645161290319</c:v>
                </c:pt>
                <c:pt idx="1879">
                  <c:v>42.180322580645161</c:v>
                </c:pt>
                <c:pt idx="1880">
                  <c:v>42.152903225806448</c:v>
                </c:pt>
                <c:pt idx="1881">
                  <c:v>42.07225806451612</c:v>
                </c:pt>
                <c:pt idx="1882">
                  <c:v>42.029032258064504</c:v>
                </c:pt>
                <c:pt idx="1883">
                  <c:v>42.018387096774184</c:v>
                </c:pt>
                <c:pt idx="1884">
                  <c:v>42.017096774193547</c:v>
                </c:pt>
                <c:pt idx="1885">
                  <c:v>42.020322580645157</c:v>
                </c:pt>
                <c:pt idx="1886">
                  <c:v>41.999677419354839</c:v>
                </c:pt>
                <c:pt idx="1887">
                  <c:v>42.079677419354837</c:v>
                </c:pt>
                <c:pt idx="1888">
                  <c:v>42.044193548387092</c:v>
                </c:pt>
                <c:pt idx="1889">
                  <c:v>42.062903225806451</c:v>
                </c:pt>
                <c:pt idx="1890">
                  <c:v>42.123225806451607</c:v>
                </c:pt>
                <c:pt idx="1891">
                  <c:v>42.25741935483871</c:v>
                </c:pt>
                <c:pt idx="1892">
                  <c:v>42.353870967741933</c:v>
                </c:pt>
                <c:pt idx="1893">
                  <c:v>42.373225806451622</c:v>
                </c:pt>
                <c:pt idx="1894">
                  <c:v>42.395483870967752</c:v>
                </c:pt>
                <c:pt idx="1895">
                  <c:v>42.459032258064525</c:v>
                </c:pt>
                <c:pt idx="1896">
                  <c:v>42.550322580645165</c:v>
                </c:pt>
                <c:pt idx="1897">
                  <c:v>42.599354838709672</c:v>
                </c:pt>
                <c:pt idx="1898">
                  <c:v>42.673225806451619</c:v>
                </c:pt>
                <c:pt idx="1899">
                  <c:v>42.667096774193553</c:v>
                </c:pt>
                <c:pt idx="1900">
                  <c:v>42.686129032258073</c:v>
                </c:pt>
                <c:pt idx="1901">
                  <c:v>42.735483870967748</c:v>
                </c:pt>
                <c:pt idx="1902">
                  <c:v>42.799032258064528</c:v>
                </c:pt>
                <c:pt idx="1903">
                  <c:v>42.825483870967751</c:v>
                </c:pt>
                <c:pt idx="1904">
                  <c:v>42.807096774193553</c:v>
                </c:pt>
                <c:pt idx="1905">
                  <c:v>42.816451612903229</c:v>
                </c:pt>
                <c:pt idx="1906">
                  <c:v>42.885483870967754</c:v>
                </c:pt>
                <c:pt idx="1907">
                  <c:v>42.933870967741939</c:v>
                </c:pt>
                <c:pt idx="1908">
                  <c:v>43.033225806451611</c:v>
                </c:pt>
                <c:pt idx="1909">
                  <c:v>43.067419354838712</c:v>
                </c:pt>
                <c:pt idx="1910">
                  <c:v>43.131290322580647</c:v>
                </c:pt>
                <c:pt idx="1911">
                  <c:v>43.254516129032261</c:v>
                </c:pt>
                <c:pt idx="1912">
                  <c:v>43.370000000000012</c:v>
                </c:pt>
                <c:pt idx="1913">
                  <c:v>43.406129032258065</c:v>
                </c:pt>
                <c:pt idx="1914">
                  <c:v>43.52548387096774</c:v>
                </c:pt>
                <c:pt idx="1915">
                  <c:v>43.643548387096772</c:v>
                </c:pt>
                <c:pt idx="1916">
                  <c:v>43.744516129032256</c:v>
                </c:pt>
                <c:pt idx="1917">
                  <c:v>43.82225806451612</c:v>
                </c:pt>
                <c:pt idx="1918">
                  <c:v>43.824838709677408</c:v>
                </c:pt>
                <c:pt idx="1919">
                  <c:v>43.849677419354826</c:v>
                </c:pt>
                <c:pt idx="1920">
                  <c:v>43.897096774193543</c:v>
                </c:pt>
                <c:pt idx="1921">
                  <c:v>43.828064516129011</c:v>
                </c:pt>
                <c:pt idx="1922">
                  <c:v>43.816129032258054</c:v>
                </c:pt>
                <c:pt idx="1923">
                  <c:v>43.736129032258056</c:v>
                </c:pt>
                <c:pt idx="1924">
                  <c:v>43.698064516129023</c:v>
                </c:pt>
                <c:pt idx="1925">
                  <c:v>43.66193548387097</c:v>
                </c:pt>
                <c:pt idx="1926">
                  <c:v>43.649354838709677</c:v>
                </c:pt>
                <c:pt idx="1927">
                  <c:v>43.612258064516126</c:v>
                </c:pt>
                <c:pt idx="1928">
                  <c:v>43.575161290322583</c:v>
                </c:pt>
                <c:pt idx="1929">
                  <c:v>43.650322580645167</c:v>
                </c:pt>
                <c:pt idx="1930">
                  <c:v>43.566129032258061</c:v>
                </c:pt>
                <c:pt idx="1931">
                  <c:v>43.49258064516129</c:v>
                </c:pt>
                <c:pt idx="1932">
                  <c:v>43.403870967741938</c:v>
                </c:pt>
                <c:pt idx="1933">
                  <c:v>43.367419354838702</c:v>
                </c:pt>
                <c:pt idx="1934">
                  <c:v>43.264516129032252</c:v>
                </c:pt>
                <c:pt idx="1935">
                  <c:v>43.279354838709672</c:v>
                </c:pt>
                <c:pt idx="1936">
                  <c:v>43.250322580645154</c:v>
                </c:pt>
                <c:pt idx="1937">
                  <c:v>43.18</c:v>
                </c:pt>
                <c:pt idx="1938">
                  <c:v>43.049354838709668</c:v>
                </c:pt>
                <c:pt idx="1939">
                  <c:v>42.935161290322576</c:v>
                </c:pt>
                <c:pt idx="1940">
                  <c:v>42.858387096774187</c:v>
                </c:pt>
                <c:pt idx="1941">
                  <c:v>42.814516129032256</c:v>
                </c:pt>
                <c:pt idx="1942">
                  <c:v>42.787741935483865</c:v>
                </c:pt>
                <c:pt idx="1943">
                  <c:v>42.654838709677421</c:v>
                </c:pt>
                <c:pt idx="1944">
                  <c:v>42.660967741935487</c:v>
                </c:pt>
                <c:pt idx="1945">
                  <c:v>42.583225806451608</c:v>
                </c:pt>
                <c:pt idx="1946">
                  <c:v>42.511290322580635</c:v>
                </c:pt>
                <c:pt idx="1947">
                  <c:v>42.365806451612897</c:v>
                </c:pt>
                <c:pt idx="1948">
                  <c:v>42.292580645161287</c:v>
                </c:pt>
                <c:pt idx="1949">
                  <c:v>42.214838709677416</c:v>
                </c:pt>
                <c:pt idx="1950">
                  <c:v>42.237096774193539</c:v>
                </c:pt>
                <c:pt idx="1951">
                  <c:v>42.16838709677419</c:v>
                </c:pt>
                <c:pt idx="1952">
                  <c:v>42.180645161290315</c:v>
                </c:pt>
                <c:pt idx="1953">
                  <c:v>42.053870967741929</c:v>
                </c:pt>
                <c:pt idx="1954">
                  <c:v>42.015483870967742</c:v>
                </c:pt>
                <c:pt idx="1955">
                  <c:v>42.049354838709675</c:v>
                </c:pt>
                <c:pt idx="1956">
                  <c:v>42.01483870967742</c:v>
                </c:pt>
                <c:pt idx="1957">
                  <c:v>42.052580645161285</c:v>
                </c:pt>
                <c:pt idx="1958">
                  <c:v>42.027096774193545</c:v>
                </c:pt>
                <c:pt idx="1959">
                  <c:v>42.012580645161286</c:v>
                </c:pt>
                <c:pt idx="1960">
                  <c:v>41.968709677419355</c:v>
                </c:pt>
                <c:pt idx="1961">
                  <c:v>41.974193548387099</c:v>
                </c:pt>
                <c:pt idx="1962">
                  <c:v>41.932258064516141</c:v>
                </c:pt>
                <c:pt idx="1963">
                  <c:v>41.944193548387112</c:v>
                </c:pt>
                <c:pt idx="1964">
                  <c:v>41.919354838709694</c:v>
                </c:pt>
                <c:pt idx="1965">
                  <c:v>41.918387096774211</c:v>
                </c:pt>
                <c:pt idx="1966">
                  <c:v>41.915483870967755</c:v>
                </c:pt>
                <c:pt idx="1967">
                  <c:v>41.870645161290334</c:v>
                </c:pt>
                <c:pt idx="1968">
                  <c:v>41.957096774193559</c:v>
                </c:pt>
                <c:pt idx="1969">
                  <c:v>41.997096774193558</c:v>
                </c:pt>
                <c:pt idx="1970">
                  <c:v>42.025161290322593</c:v>
                </c:pt>
                <c:pt idx="1971">
                  <c:v>41.980967741935494</c:v>
                </c:pt>
                <c:pt idx="1972">
                  <c:v>41.924193548387109</c:v>
                </c:pt>
                <c:pt idx="1973">
                  <c:v>41.808709677419358</c:v>
                </c:pt>
                <c:pt idx="1974">
                  <c:v>41.859354838709677</c:v>
                </c:pt>
                <c:pt idx="1975">
                  <c:v>41.802580645161285</c:v>
                </c:pt>
                <c:pt idx="1976">
                  <c:v>41.751935483870966</c:v>
                </c:pt>
                <c:pt idx="1977">
                  <c:v>41.733225806451614</c:v>
                </c:pt>
                <c:pt idx="1978">
                  <c:v>41.765161290322574</c:v>
                </c:pt>
                <c:pt idx="1979">
                  <c:v>41.838387096774184</c:v>
                </c:pt>
                <c:pt idx="1980">
                  <c:v>41.879354838709681</c:v>
                </c:pt>
                <c:pt idx="1981">
                  <c:v>41.809999999999995</c:v>
                </c:pt>
                <c:pt idx="1982">
                  <c:v>41.801612903225802</c:v>
                </c:pt>
                <c:pt idx="1983">
                  <c:v>41.780322580645162</c:v>
                </c:pt>
                <c:pt idx="1984">
                  <c:v>41.886129032258061</c:v>
                </c:pt>
                <c:pt idx="1985">
                  <c:v>41.959999999999994</c:v>
                </c:pt>
                <c:pt idx="1986">
                  <c:v>41.88064516129031</c:v>
                </c:pt>
                <c:pt idx="1987">
                  <c:v>41.849677419354826</c:v>
                </c:pt>
                <c:pt idx="1988">
                  <c:v>41.835483870967721</c:v>
                </c:pt>
                <c:pt idx="1989">
                  <c:v>41.848387096774175</c:v>
                </c:pt>
                <c:pt idx="1990">
                  <c:v>41.821935483870952</c:v>
                </c:pt>
                <c:pt idx="1991">
                  <c:v>41.814838709677403</c:v>
                </c:pt>
                <c:pt idx="1992">
                  <c:v>41.804516129032251</c:v>
                </c:pt>
                <c:pt idx="1993">
                  <c:v>41.787419354838704</c:v>
                </c:pt>
                <c:pt idx="1994">
                  <c:v>41.809677419354841</c:v>
                </c:pt>
                <c:pt idx="1995">
                  <c:v>41.76</c:v>
                </c:pt>
                <c:pt idx="1996">
                  <c:v>41.763548387096776</c:v>
                </c:pt>
                <c:pt idx="1997">
                  <c:v>41.678709677419363</c:v>
                </c:pt>
                <c:pt idx="1998">
                  <c:v>41.682903225806456</c:v>
                </c:pt>
                <c:pt idx="1999">
                  <c:v>41.605161290322577</c:v>
                </c:pt>
                <c:pt idx="2000">
                  <c:v>41.565161290322578</c:v>
                </c:pt>
                <c:pt idx="2001">
                  <c:v>41.57741935483871</c:v>
                </c:pt>
                <c:pt idx="2002">
                  <c:v>41.587419354838708</c:v>
                </c:pt>
                <c:pt idx="2003">
                  <c:v>41.686774193548395</c:v>
                </c:pt>
                <c:pt idx="2004">
                  <c:v>41.703870967741942</c:v>
                </c:pt>
                <c:pt idx="2005">
                  <c:v>41.721935483870972</c:v>
                </c:pt>
                <c:pt idx="2006">
                  <c:v>41.746451612903229</c:v>
                </c:pt>
                <c:pt idx="2007">
                  <c:v>41.732903225806453</c:v>
                </c:pt>
                <c:pt idx="2008">
                  <c:v>41.706129032258069</c:v>
                </c:pt>
                <c:pt idx="2009">
                  <c:v>41.722258064516133</c:v>
                </c:pt>
                <c:pt idx="2010">
                  <c:v>41.694516129032266</c:v>
                </c:pt>
                <c:pt idx="2011">
                  <c:v>41.648709677419362</c:v>
                </c:pt>
                <c:pt idx="2012">
                  <c:v>41.644516129032262</c:v>
                </c:pt>
                <c:pt idx="2013">
                  <c:v>41.604193548387094</c:v>
                </c:pt>
                <c:pt idx="2014">
                  <c:v>41.542580645161294</c:v>
                </c:pt>
                <c:pt idx="2015">
                  <c:v>41.481612903225802</c:v>
                </c:pt>
                <c:pt idx="2016">
                  <c:v>41.48516129032258</c:v>
                </c:pt>
                <c:pt idx="2017">
                  <c:v>41.460322580645162</c:v>
                </c:pt>
                <c:pt idx="2018">
                  <c:v>41.48419354838709</c:v>
                </c:pt>
                <c:pt idx="2019">
                  <c:v>41.439032258064515</c:v>
                </c:pt>
                <c:pt idx="2020">
                  <c:v>41.354193548387087</c:v>
                </c:pt>
                <c:pt idx="2021">
                  <c:v>41.415806451612902</c:v>
                </c:pt>
                <c:pt idx="2022">
                  <c:v>41.387096774193544</c:v>
                </c:pt>
                <c:pt idx="2023">
                  <c:v>41.464838709677416</c:v>
                </c:pt>
                <c:pt idx="2024">
                  <c:v>41.566451612903222</c:v>
                </c:pt>
                <c:pt idx="2025">
                  <c:v>41.559677419354834</c:v>
                </c:pt>
                <c:pt idx="2026">
                  <c:v>41.57322580645161</c:v>
                </c:pt>
                <c:pt idx="2027">
                  <c:v>41.633548387096774</c:v>
                </c:pt>
                <c:pt idx="2028">
                  <c:v>41.610645161290321</c:v>
                </c:pt>
                <c:pt idx="2029">
                  <c:v>41.664838709677419</c:v>
                </c:pt>
                <c:pt idx="2030">
                  <c:v>41.744193548387102</c:v>
                </c:pt>
                <c:pt idx="2031">
                  <c:v>41.747741935483873</c:v>
                </c:pt>
                <c:pt idx="2032">
                  <c:v>41.730322580645165</c:v>
                </c:pt>
                <c:pt idx="2033">
                  <c:v>41.781935483870967</c:v>
                </c:pt>
                <c:pt idx="2034">
                  <c:v>41.752258064516127</c:v>
                </c:pt>
                <c:pt idx="2035">
                  <c:v>41.768709677419359</c:v>
                </c:pt>
                <c:pt idx="2036">
                  <c:v>41.693225806451615</c:v>
                </c:pt>
                <c:pt idx="2037">
                  <c:v>41.770322580645164</c:v>
                </c:pt>
                <c:pt idx="2038">
                  <c:v>41.856774193548382</c:v>
                </c:pt>
                <c:pt idx="2039">
                  <c:v>41.911612903225809</c:v>
                </c:pt>
                <c:pt idx="2040">
                  <c:v>41.874838709677412</c:v>
                </c:pt>
                <c:pt idx="2041">
                  <c:v>41.888064516129035</c:v>
                </c:pt>
                <c:pt idx="2042">
                  <c:v>41.973548387096777</c:v>
                </c:pt>
                <c:pt idx="2043">
                  <c:v>42.036129032258067</c:v>
                </c:pt>
                <c:pt idx="2044">
                  <c:v>42.015161290322581</c:v>
                </c:pt>
                <c:pt idx="2045">
                  <c:v>42.016451612903225</c:v>
                </c:pt>
                <c:pt idx="2046">
                  <c:v>42.012258064516132</c:v>
                </c:pt>
                <c:pt idx="2047">
                  <c:v>41.917096774193553</c:v>
                </c:pt>
                <c:pt idx="2048">
                  <c:v>42.029677419354833</c:v>
                </c:pt>
                <c:pt idx="2049">
                  <c:v>42.066451612903215</c:v>
                </c:pt>
                <c:pt idx="2050">
                  <c:v>42.119354838709675</c:v>
                </c:pt>
                <c:pt idx="2051">
                  <c:v>42.237096774193546</c:v>
                </c:pt>
                <c:pt idx="2052">
                  <c:v>42.228387096774192</c:v>
                </c:pt>
                <c:pt idx="2053">
                  <c:v>42.206129032258062</c:v>
                </c:pt>
                <c:pt idx="2054">
                  <c:v>42.237419354838707</c:v>
                </c:pt>
                <c:pt idx="2055">
                  <c:v>42.231290322580641</c:v>
                </c:pt>
                <c:pt idx="2056">
                  <c:v>42.237096774193546</c:v>
                </c:pt>
                <c:pt idx="2057">
                  <c:v>42.299032258064507</c:v>
                </c:pt>
                <c:pt idx="2058">
                  <c:v>42.321612903225798</c:v>
                </c:pt>
                <c:pt idx="2059">
                  <c:v>42.357096774193543</c:v>
                </c:pt>
                <c:pt idx="2060">
                  <c:v>42.369677419354851</c:v>
                </c:pt>
                <c:pt idx="2061">
                  <c:v>42.26580645161291</c:v>
                </c:pt>
                <c:pt idx="2062">
                  <c:v>42.354838709677416</c:v>
                </c:pt>
                <c:pt idx="2063">
                  <c:v>42.371935483870978</c:v>
                </c:pt>
                <c:pt idx="2064">
                  <c:v>42.419032258064519</c:v>
                </c:pt>
                <c:pt idx="2065">
                  <c:v>42.421612903225814</c:v>
                </c:pt>
                <c:pt idx="2066">
                  <c:v>42.421290322580646</c:v>
                </c:pt>
                <c:pt idx="2067">
                  <c:v>42.512258064516125</c:v>
                </c:pt>
                <c:pt idx="2068">
                  <c:v>42.431612903225805</c:v>
                </c:pt>
                <c:pt idx="2069">
                  <c:v>42.452903225806452</c:v>
                </c:pt>
                <c:pt idx="2070">
                  <c:v>42.412580645161299</c:v>
                </c:pt>
                <c:pt idx="2071">
                  <c:v>42.391612903225813</c:v>
                </c:pt>
                <c:pt idx="2072">
                  <c:v>42.3767741935484</c:v>
                </c:pt>
                <c:pt idx="2073">
                  <c:v>42.382258064516137</c:v>
                </c:pt>
                <c:pt idx="2074">
                  <c:v>42.383548387096788</c:v>
                </c:pt>
                <c:pt idx="2075">
                  <c:v>42.465161290322591</c:v>
                </c:pt>
                <c:pt idx="2076">
                  <c:v>42.524516129032257</c:v>
                </c:pt>
                <c:pt idx="2077">
                  <c:v>42.500322580645161</c:v>
                </c:pt>
                <c:pt idx="2078">
                  <c:v>42.618064516129024</c:v>
                </c:pt>
                <c:pt idx="2079">
                  <c:v>42.605806451612899</c:v>
                </c:pt>
                <c:pt idx="2080">
                  <c:v>42.634838709677425</c:v>
                </c:pt>
                <c:pt idx="2081">
                  <c:v>42.632580645161298</c:v>
                </c:pt>
                <c:pt idx="2082">
                  <c:v>42.531935483870974</c:v>
                </c:pt>
                <c:pt idx="2083">
                  <c:v>42.447096774193554</c:v>
                </c:pt>
                <c:pt idx="2084">
                  <c:v>42.482258064516138</c:v>
                </c:pt>
                <c:pt idx="2085">
                  <c:v>42.38</c:v>
                </c:pt>
                <c:pt idx="2086">
                  <c:v>42.339354838709667</c:v>
                </c:pt>
                <c:pt idx="2087">
                  <c:v>42.337419354838694</c:v>
                </c:pt>
                <c:pt idx="2088">
                  <c:v>42.273870967741921</c:v>
                </c:pt>
                <c:pt idx="2089">
                  <c:v>42.293548387096763</c:v>
                </c:pt>
                <c:pt idx="2090">
                  <c:v>42.382903225806437</c:v>
                </c:pt>
                <c:pt idx="2091">
                  <c:v>42.332580645161272</c:v>
                </c:pt>
                <c:pt idx="2092">
                  <c:v>42.364838709677407</c:v>
                </c:pt>
                <c:pt idx="2093">
                  <c:v>42.318709677419349</c:v>
                </c:pt>
                <c:pt idx="2094">
                  <c:v>42.296451612903226</c:v>
                </c:pt>
                <c:pt idx="2095">
                  <c:v>42.237741935483875</c:v>
                </c:pt>
                <c:pt idx="2096">
                  <c:v>42.260000000000005</c:v>
                </c:pt>
                <c:pt idx="2097">
                  <c:v>42.272258064516137</c:v>
                </c:pt>
                <c:pt idx="2098">
                  <c:v>42.181290322580665</c:v>
                </c:pt>
                <c:pt idx="2099">
                  <c:v>42.23709677419356</c:v>
                </c:pt>
                <c:pt idx="2100">
                  <c:v>42.178709677419363</c:v>
                </c:pt>
                <c:pt idx="2101">
                  <c:v>42.222580645161294</c:v>
                </c:pt>
                <c:pt idx="2102">
                  <c:v>42.254838709677422</c:v>
                </c:pt>
                <c:pt idx="2103">
                  <c:v>42.243225806451605</c:v>
                </c:pt>
                <c:pt idx="2104">
                  <c:v>42.213225806451611</c:v>
                </c:pt>
                <c:pt idx="2105">
                  <c:v>42.131612903225808</c:v>
                </c:pt>
                <c:pt idx="2106">
                  <c:v>42.135806451612908</c:v>
                </c:pt>
                <c:pt idx="2107">
                  <c:v>42.08806451612903</c:v>
                </c:pt>
                <c:pt idx="2108">
                  <c:v>42.112580645161287</c:v>
                </c:pt>
                <c:pt idx="2109">
                  <c:v>42.090967741935479</c:v>
                </c:pt>
                <c:pt idx="2110">
                  <c:v>42.043225806451609</c:v>
                </c:pt>
                <c:pt idx="2111">
                  <c:v>42.04032258064516</c:v>
                </c:pt>
                <c:pt idx="2112">
                  <c:v>41.992903225806451</c:v>
                </c:pt>
                <c:pt idx="2113">
                  <c:v>42.085806451612896</c:v>
                </c:pt>
                <c:pt idx="2114">
                  <c:v>42.181612903225805</c:v>
                </c:pt>
                <c:pt idx="2115">
                  <c:v>42.099354838709672</c:v>
                </c:pt>
                <c:pt idx="2116">
                  <c:v>42.127096774193554</c:v>
                </c:pt>
                <c:pt idx="2117">
                  <c:v>42.173870967741948</c:v>
                </c:pt>
                <c:pt idx="2118">
                  <c:v>42.140967741935484</c:v>
                </c:pt>
                <c:pt idx="2119">
                  <c:v>42.162258064516131</c:v>
                </c:pt>
                <c:pt idx="2120">
                  <c:v>42.11</c:v>
                </c:pt>
                <c:pt idx="2121">
                  <c:v>42.051290322580648</c:v>
                </c:pt>
                <c:pt idx="2122">
                  <c:v>42.081290322580649</c:v>
                </c:pt>
                <c:pt idx="2123">
                  <c:v>42.150967741935496</c:v>
                </c:pt>
                <c:pt idx="2124">
                  <c:v>42.128387096774205</c:v>
                </c:pt>
                <c:pt idx="2125">
                  <c:v>42.15000000000002</c:v>
                </c:pt>
                <c:pt idx="2126">
                  <c:v>42.211935483870981</c:v>
                </c:pt>
                <c:pt idx="2127">
                  <c:v>42.159032258064528</c:v>
                </c:pt>
                <c:pt idx="2128">
                  <c:v>42.135161290322593</c:v>
                </c:pt>
                <c:pt idx="2129">
                  <c:v>42.253548387096778</c:v>
                </c:pt>
                <c:pt idx="2130">
                  <c:v>42.230645161290326</c:v>
                </c:pt>
                <c:pt idx="2131">
                  <c:v>42.205161290322579</c:v>
                </c:pt>
                <c:pt idx="2132">
                  <c:v>42.155806451612904</c:v>
                </c:pt>
                <c:pt idx="2133">
                  <c:v>42.170645161290317</c:v>
                </c:pt>
                <c:pt idx="2134">
                  <c:v>42.199032258064506</c:v>
                </c:pt>
                <c:pt idx="2135">
                  <c:v>42.214516129032248</c:v>
                </c:pt>
                <c:pt idx="2136">
                  <c:v>42.198387096774184</c:v>
                </c:pt>
                <c:pt idx="2137">
                  <c:v>42.216774193548382</c:v>
                </c:pt>
                <c:pt idx="2138">
                  <c:v>42.283870967741926</c:v>
                </c:pt>
                <c:pt idx="2139">
                  <c:v>42.257741935483871</c:v>
                </c:pt>
                <c:pt idx="2140">
                  <c:v>42.173225806451619</c:v>
                </c:pt>
                <c:pt idx="2141">
                  <c:v>42.126774193548393</c:v>
                </c:pt>
                <c:pt idx="2142">
                  <c:v>42.10709677419355</c:v>
                </c:pt>
                <c:pt idx="2143">
                  <c:v>42.155483870967757</c:v>
                </c:pt>
                <c:pt idx="2144">
                  <c:v>42.131612903225815</c:v>
                </c:pt>
                <c:pt idx="2145">
                  <c:v>42.078387096774193</c:v>
                </c:pt>
                <c:pt idx="2146">
                  <c:v>42.191290322580649</c:v>
                </c:pt>
                <c:pt idx="2147">
                  <c:v>42.16387096774195</c:v>
                </c:pt>
                <c:pt idx="2148">
                  <c:v>42.108387096774194</c:v>
                </c:pt>
                <c:pt idx="2149">
                  <c:v>42.193548387096783</c:v>
                </c:pt>
                <c:pt idx="2150">
                  <c:v>42.185161290322597</c:v>
                </c:pt>
                <c:pt idx="2151">
                  <c:v>42.200322580645171</c:v>
                </c:pt>
                <c:pt idx="2152">
                  <c:v>42.16290322580646</c:v>
                </c:pt>
                <c:pt idx="2153">
                  <c:v>42.217741935483872</c:v>
                </c:pt>
                <c:pt idx="2154">
                  <c:v>42.208709677419357</c:v>
                </c:pt>
                <c:pt idx="2155">
                  <c:v>42.287741935483879</c:v>
                </c:pt>
                <c:pt idx="2156">
                  <c:v>42.260645161290327</c:v>
                </c:pt>
                <c:pt idx="2157">
                  <c:v>42.203870967741942</c:v>
                </c:pt>
                <c:pt idx="2158">
                  <c:v>42.190322580645166</c:v>
                </c:pt>
                <c:pt idx="2159">
                  <c:v>42.274838709677418</c:v>
                </c:pt>
                <c:pt idx="2160">
                  <c:v>42.244838709677417</c:v>
                </c:pt>
                <c:pt idx="2161">
                  <c:v>42.203870967741928</c:v>
                </c:pt>
                <c:pt idx="2162">
                  <c:v>42.183870967741932</c:v>
                </c:pt>
                <c:pt idx="2163">
                  <c:v>42.273548387096767</c:v>
                </c:pt>
                <c:pt idx="2164">
                  <c:v>42.285806451612899</c:v>
                </c:pt>
                <c:pt idx="2165">
                  <c:v>42.258064516129025</c:v>
                </c:pt>
                <c:pt idx="2166">
                  <c:v>42.201935483870962</c:v>
                </c:pt>
                <c:pt idx="2167">
                  <c:v>42.206129032258062</c:v>
                </c:pt>
                <c:pt idx="2168">
                  <c:v>42.174516129032256</c:v>
                </c:pt>
                <c:pt idx="2169">
                  <c:v>42.164838709677412</c:v>
                </c:pt>
                <c:pt idx="2170">
                  <c:v>42.258064516129025</c:v>
                </c:pt>
                <c:pt idx="2171">
                  <c:v>42.350645161290309</c:v>
                </c:pt>
                <c:pt idx="2172">
                  <c:v>42.429677419354832</c:v>
                </c:pt>
                <c:pt idx="2173">
                  <c:v>42.373870967741922</c:v>
                </c:pt>
                <c:pt idx="2174">
                  <c:v>42.290967741935482</c:v>
                </c:pt>
                <c:pt idx="2175">
                  <c:v>42.319354838709678</c:v>
                </c:pt>
                <c:pt idx="2176">
                  <c:v>42.379354838709688</c:v>
                </c:pt>
                <c:pt idx="2177">
                  <c:v>42.386129032258069</c:v>
                </c:pt>
                <c:pt idx="2178">
                  <c:v>42.442903225806454</c:v>
                </c:pt>
                <c:pt idx="2179">
                  <c:v>42.46</c:v>
                </c:pt>
                <c:pt idx="2180">
                  <c:v>42.384516129032264</c:v>
                </c:pt>
                <c:pt idx="2181">
                  <c:v>42.345161290322579</c:v>
                </c:pt>
                <c:pt idx="2182">
                  <c:v>42.284516129032255</c:v>
                </c:pt>
                <c:pt idx="2183">
                  <c:v>42.368064516129024</c:v>
                </c:pt>
                <c:pt idx="2184">
                  <c:v>42.283870967741933</c:v>
                </c:pt>
                <c:pt idx="2185">
                  <c:v>42.192580645161293</c:v>
                </c:pt>
                <c:pt idx="2186">
                  <c:v>42.146451612903228</c:v>
                </c:pt>
                <c:pt idx="2187">
                  <c:v>42.153548387096777</c:v>
                </c:pt>
                <c:pt idx="2188">
                  <c:v>42.109999999999992</c:v>
                </c:pt>
                <c:pt idx="2189">
                  <c:v>42.059354838709673</c:v>
                </c:pt>
                <c:pt idx="2190">
                  <c:v>42.058064516129029</c:v>
                </c:pt>
                <c:pt idx="2191">
                  <c:v>42.041290322580643</c:v>
                </c:pt>
                <c:pt idx="2192">
                  <c:v>42.117419354838702</c:v>
                </c:pt>
                <c:pt idx="2193">
                  <c:v>42.212903225806457</c:v>
                </c:pt>
                <c:pt idx="2194">
                  <c:v>42.200645161290325</c:v>
                </c:pt>
                <c:pt idx="2195">
                  <c:v>42.174516129032263</c:v>
                </c:pt>
                <c:pt idx="2196">
                  <c:v>42.194193548387098</c:v>
                </c:pt>
                <c:pt idx="2197">
                  <c:v>42.270967741935479</c:v>
                </c:pt>
                <c:pt idx="2198">
                  <c:v>42.328387096774193</c:v>
                </c:pt>
                <c:pt idx="2199">
                  <c:v>42.315806451612907</c:v>
                </c:pt>
                <c:pt idx="2200">
                  <c:v>42.264516129032259</c:v>
                </c:pt>
                <c:pt idx="2201">
                  <c:v>42.270322580645164</c:v>
                </c:pt>
                <c:pt idx="2202">
                  <c:v>42.270645161290318</c:v>
                </c:pt>
                <c:pt idx="2203">
                  <c:v>42.282258064516128</c:v>
                </c:pt>
                <c:pt idx="2204">
                  <c:v>42.234838709677412</c:v>
                </c:pt>
                <c:pt idx="2205">
                  <c:v>42.307096774193546</c:v>
                </c:pt>
                <c:pt idx="2206">
                  <c:v>42.214193548387101</c:v>
                </c:pt>
                <c:pt idx="2207">
                  <c:v>42.133225806451613</c:v>
                </c:pt>
                <c:pt idx="2208">
                  <c:v>42.094838709677418</c:v>
                </c:pt>
                <c:pt idx="2209">
                  <c:v>42.063870967741934</c:v>
                </c:pt>
                <c:pt idx="2210">
                  <c:v>42.014516129032266</c:v>
                </c:pt>
                <c:pt idx="2211">
                  <c:v>42.063225806451612</c:v>
                </c:pt>
                <c:pt idx="2212">
                  <c:v>42.105483870967738</c:v>
                </c:pt>
                <c:pt idx="2213">
                  <c:v>42.123225806451607</c:v>
                </c:pt>
                <c:pt idx="2214">
                  <c:v>42.058709677419351</c:v>
                </c:pt>
                <c:pt idx="2215">
                  <c:v>42.143870967741925</c:v>
                </c:pt>
                <c:pt idx="2216">
                  <c:v>42.193548387096762</c:v>
                </c:pt>
                <c:pt idx="2217">
                  <c:v>42.115483870967722</c:v>
                </c:pt>
                <c:pt idx="2218">
                  <c:v>42.156774193548372</c:v>
                </c:pt>
                <c:pt idx="2219">
                  <c:v>42.207741935483853</c:v>
                </c:pt>
                <c:pt idx="2220">
                  <c:v>42.237741935483854</c:v>
                </c:pt>
                <c:pt idx="2221">
                  <c:v>42.201935483870962</c:v>
                </c:pt>
                <c:pt idx="2222">
                  <c:v>42.180322580645154</c:v>
                </c:pt>
                <c:pt idx="2223">
                  <c:v>41.9258064516129</c:v>
                </c:pt>
                <c:pt idx="2224">
                  <c:v>41.730967741935473</c:v>
                </c:pt>
                <c:pt idx="2225">
                  <c:v>41.511290322580635</c:v>
                </c:pt>
                <c:pt idx="2226">
                  <c:v>41.65354838709677</c:v>
                </c:pt>
                <c:pt idx="2227">
                  <c:v>41.605483870967731</c:v>
                </c:pt>
                <c:pt idx="2228">
                  <c:v>41.451612903225801</c:v>
                </c:pt>
                <c:pt idx="2229">
                  <c:v>41.430645161290322</c:v>
                </c:pt>
                <c:pt idx="2230">
                  <c:v>41.345161290322572</c:v>
                </c:pt>
                <c:pt idx="2231">
                  <c:v>41.368064516129031</c:v>
                </c:pt>
                <c:pt idx="2232">
                  <c:v>41.398387096774194</c:v>
                </c:pt>
                <c:pt idx="2233">
                  <c:v>41.4258064516129</c:v>
                </c:pt>
                <c:pt idx="2234">
                  <c:v>41.506129032258066</c:v>
                </c:pt>
                <c:pt idx="2235">
                  <c:v>41.426129032258061</c:v>
                </c:pt>
                <c:pt idx="2236">
                  <c:v>41.46</c:v>
                </c:pt>
                <c:pt idx="2237">
                  <c:v>41.330967741935474</c:v>
                </c:pt>
                <c:pt idx="2238">
                  <c:v>41.34451612903225</c:v>
                </c:pt>
                <c:pt idx="2239">
                  <c:v>41.169999999999995</c:v>
                </c:pt>
                <c:pt idx="2240">
                  <c:v>40.981290322580641</c:v>
                </c:pt>
                <c:pt idx="2241">
                  <c:v>40.970645161290328</c:v>
                </c:pt>
                <c:pt idx="2242">
                  <c:v>40.824838709677422</c:v>
                </c:pt>
                <c:pt idx="2243">
                  <c:v>40.782903225806457</c:v>
                </c:pt>
                <c:pt idx="2244">
                  <c:v>40.65129032258065</c:v>
                </c:pt>
                <c:pt idx="2245">
                  <c:v>40.731612903225809</c:v>
                </c:pt>
                <c:pt idx="2246">
                  <c:v>40.473225806451609</c:v>
                </c:pt>
                <c:pt idx="2247">
                  <c:v>40.319354838709671</c:v>
                </c:pt>
                <c:pt idx="2248">
                  <c:v>40.48096774193548</c:v>
                </c:pt>
                <c:pt idx="2249">
                  <c:v>40.439032258064515</c:v>
                </c:pt>
                <c:pt idx="2250">
                  <c:v>40.469354838709677</c:v>
                </c:pt>
                <c:pt idx="2251">
                  <c:v>40.473225806451616</c:v>
                </c:pt>
                <c:pt idx="2252">
                  <c:v>40.511935483870964</c:v>
                </c:pt>
                <c:pt idx="2253">
                  <c:v>40.378064516129037</c:v>
                </c:pt>
                <c:pt idx="2254">
                  <c:v>40.417096774193546</c:v>
                </c:pt>
                <c:pt idx="2255">
                  <c:v>40.458387096774196</c:v>
                </c:pt>
                <c:pt idx="2256">
                  <c:v>40.631290322580654</c:v>
                </c:pt>
                <c:pt idx="2257">
                  <c:v>40.317419354838712</c:v>
                </c:pt>
                <c:pt idx="2258">
                  <c:v>40.222258064516133</c:v>
                </c:pt>
                <c:pt idx="2259">
                  <c:v>40.155161290322589</c:v>
                </c:pt>
                <c:pt idx="2260">
                  <c:v>40.021612903225801</c:v>
                </c:pt>
                <c:pt idx="2261">
                  <c:v>39.927096774193544</c:v>
                </c:pt>
                <c:pt idx="2262">
                  <c:v>39.772580645161284</c:v>
                </c:pt>
                <c:pt idx="2263">
                  <c:v>39.548387096774185</c:v>
                </c:pt>
                <c:pt idx="2264">
                  <c:v>39.289677419354831</c:v>
                </c:pt>
                <c:pt idx="2265">
                  <c:v>38.940967741935481</c:v>
                </c:pt>
                <c:pt idx="2266">
                  <c:v>38.942580645161286</c:v>
                </c:pt>
                <c:pt idx="2267">
                  <c:v>38.714516129032255</c:v>
                </c:pt>
                <c:pt idx="2268">
                  <c:v>38.662580645161292</c:v>
                </c:pt>
                <c:pt idx="2269">
                  <c:v>38.505483870967744</c:v>
                </c:pt>
                <c:pt idx="2270">
                  <c:v>38.504838709677422</c:v>
                </c:pt>
                <c:pt idx="2271">
                  <c:v>38.539032258064523</c:v>
                </c:pt>
                <c:pt idx="2272">
                  <c:v>38.372580645161285</c:v>
                </c:pt>
                <c:pt idx="2273">
                  <c:v>38.285161290322577</c:v>
                </c:pt>
                <c:pt idx="2274">
                  <c:v>38.171290322580646</c:v>
                </c:pt>
                <c:pt idx="2275">
                  <c:v>36.985806451612902</c:v>
                </c:pt>
                <c:pt idx="2276">
                  <c:v>35.563870967741934</c:v>
                </c:pt>
                <c:pt idx="2277">
                  <c:v>34.410000000000004</c:v>
                </c:pt>
                <c:pt idx="2278">
                  <c:v>33.206129032258069</c:v>
                </c:pt>
                <c:pt idx="2279">
                  <c:v>31.753225806451614</c:v>
                </c:pt>
                <c:pt idx="2280">
                  <c:v>30.397419354838711</c:v>
                </c:pt>
                <c:pt idx="2281">
                  <c:v>29.000322580645165</c:v>
                </c:pt>
                <c:pt idx="2282">
                  <c:v>27.675483870967739</c:v>
                </c:pt>
                <c:pt idx="2283">
                  <c:v>26.269354838709678</c:v>
                </c:pt>
                <c:pt idx="2284">
                  <c:v>25.062903225806448</c:v>
                </c:pt>
                <c:pt idx="2285">
                  <c:v>23.877096774193546</c:v>
                </c:pt>
                <c:pt idx="2286">
                  <c:v>22.622580645161285</c:v>
                </c:pt>
                <c:pt idx="2287">
                  <c:v>21.262258064516129</c:v>
                </c:pt>
                <c:pt idx="2288">
                  <c:v>20.105483870967738</c:v>
                </c:pt>
                <c:pt idx="2289">
                  <c:v>18.894516129032255</c:v>
                </c:pt>
                <c:pt idx="2290">
                  <c:v>17.719677419354838</c:v>
                </c:pt>
                <c:pt idx="2291">
                  <c:v>17.88967741935484</c:v>
                </c:pt>
                <c:pt idx="2292">
                  <c:v>18.09225806451613</c:v>
                </c:pt>
                <c:pt idx="2293">
                  <c:v>18.239032258064519</c:v>
                </c:pt>
                <c:pt idx="2294">
                  <c:v>18.373870967741937</c:v>
                </c:pt>
                <c:pt idx="2295">
                  <c:v>18.58258064516129</c:v>
                </c:pt>
                <c:pt idx="2296">
                  <c:v>18.758709677419354</c:v>
                </c:pt>
                <c:pt idx="2297">
                  <c:v>18.963225806451611</c:v>
                </c:pt>
                <c:pt idx="2298">
                  <c:v>19.083548387096776</c:v>
                </c:pt>
                <c:pt idx="2299">
                  <c:v>19.273548387096771</c:v>
                </c:pt>
                <c:pt idx="2300">
                  <c:v>19.472258064516129</c:v>
                </c:pt>
                <c:pt idx="2301">
                  <c:v>19.59225806451613</c:v>
                </c:pt>
                <c:pt idx="2302">
                  <c:v>19.80290322580645</c:v>
                </c:pt>
                <c:pt idx="2303">
                  <c:v>20.085161290322585</c:v>
                </c:pt>
                <c:pt idx="2304">
                  <c:v>20.3441935483871</c:v>
                </c:pt>
                <c:pt idx="2305">
                  <c:v>20.468709677419358</c:v>
                </c:pt>
                <c:pt idx="2306">
                  <c:v>21.79451612903226</c:v>
                </c:pt>
                <c:pt idx="2307">
                  <c:v>23.162903225806453</c:v>
                </c:pt>
                <c:pt idx="2308">
                  <c:v>24.495161290322581</c:v>
                </c:pt>
                <c:pt idx="2309">
                  <c:v>25.825483870967744</c:v>
                </c:pt>
                <c:pt idx="2310">
                  <c:v>27.183548387096774</c:v>
                </c:pt>
                <c:pt idx="2311">
                  <c:v>28.497419354838712</c:v>
                </c:pt>
                <c:pt idx="2312">
                  <c:v>29.837741935483873</c:v>
                </c:pt>
                <c:pt idx="2313">
                  <c:v>31.203225806451616</c:v>
                </c:pt>
                <c:pt idx="2314">
                  <c:v>32.588387096774191</c:v>
                </c:pt>
                <c:pt idx="2315">
                  <c:v>33.889032258064518</c:v>
                </c:pt>
                <c:pt idx="2316">
                  <c:v>35.196774193548386</c:v>
                </c:pt>
                <c:pt idx="2317">
                  <c:v>36.489999999999995</c:v>
                </c:pt>
                <c:pt idx="2318">
                  <c:v>37.823225806451603</c:v>
                </c:pt>
                <c:pt idx="2319">
                  <c:v>39.203548387096767</c:v>
                </c:pt>
                <c:pt idx="2320">
                  <c:v>40.581935483870957</c:v>
                </c:pt>
                <c:pt idx="2321">
                  <c:v>41.951935483870962</c:v>
                </c:pt>
                <c:pt idx="2322">
                  <c:v>41.951612903225808</c:v>
                </c:pt>
                <c:pt idx="2323">
                  <c:v>41.89290322580645</c:v>
                </c:pt>
                <c:pt idx="2324">
                  <c:v>41.876129032258056</c:v>
                </c:pt>
                <c:pt idx="2325">
                  <c:v>41.894516129032262</c:v>
                </c:pt>
                <c:pt idx="2326">
                  <c:v>41.908709677419353</c:v>
                </c:pt>
                <c:pt idx="2327">
                  <c:v>42.003870967741932</c:v>
                </c:pt>
                <c:pt idx="2328">
                  <c:v>41.967419354838718</c:v>
                </c:pt>
                <c:pt idx="2329">
                  <c:v>42.052580645161292</c:v>
                </c:pt>
                <c:pt idx="2330">
                  <c:v>42.129354838709695</c:v>
                </c:pt>
                <c:pt idx="2331">
                  <c:v>42.15548387096775</c:v>
                </c:pt>
                <c:pt idx="2332">
                  <c:v>42.189354838709683</c:v>
                </c:pt>
                <c:pt idx="2333">
                  <c:v>42.170000000000009</c:v>
                </c:pt>
                <c:pt idx="2334">
                  <c:v>42.100645161290331</c:v>
                </c:pt>
                <c:pt idx="2335">
                  <c:v>42.013870967741944</c:v>
                </c:pt>
                <c:pt idx="2336">
                  <c:v>41.98612903225807</c:v>
                </c:pt>
                <c:pt idx="2337">
                  <c:v>41.981290322580648</c:v>
                </c:pt>
                <c:pt idx="2338">
                  <c:v>42.026129032258069</c:v>
                </c:pt>
                <c:pt idx="2339">
                  <c:v>41.989354838709687</c:v>
                </c:pt>
                <c:pt idx="2340">
                  <c:v>41.956129032258076</c:v>
                </c:pt>
                <c:pt idx="2341">
                  <c:v>41.952903225806459</c:v>
                </c:pt>
                <c:pt idx="2342">
                  <c:v>41.937741935483878</c:v>
                </c:pt>
                <c:pt idx="2343">
                  <c:v>41.981612903225809</c:v>
                </c:pt>
                <c:pt idx="2344">
                  <c:v>41.917741935483875</c:v>
                </c:pt>
                <c:pt idx="2345">
                  <c:v>41.862580645161287</c:v>
                </c:pt>
                <c:pt idx="2346">
                  <c:v>41.95870967741935</c:v>
                </c:pt>
                <c:pt idx="2347">
                  <c:v>41.994516129032263</c:v>
                </c:pt>
                <c:pt idx="2348">
                  <c:v>41.997419354838712</c:v>
                </c:pt>
                <c:pt idx="2349">
                  <c:v>42.006129032258059</c:v>
                </c:pt>
                <c:pt idx="2350">
                  <c:v>41.998387096774188</c:v>
                </c:pt>
                <c:pt idx="2351">
                  <c:v>42.006129032258059</c:v>
                </c:pt>
                <c:pt idx="2352">
                  <c:v>42.022903225806459</c:v>
                </c:pt>
                <c:pt idx="2353">
                  <c:v>42.030322580645155</c:v>
                </c:pt>
                <c:pt idx="2354">
                  <c:v>42.096129032258055</c:v>
                </c:pt>
                <c:pt idx="2355">
                  <c:v>42.15</c:v>
                </c:pt>
                <c:pt idx="2356">
                  <c:v>42.148064516129033</c:v>
                </c:pt>
                <c:pt idx="2357">
                  <c:v>42.07870967741934</c:v>
                </c:pt>
                <c:pt idx="2358">
                  <c:v>42.094838709677411</c:v>
                </c:pt>
                <c:pt idx="2359">
                  <c:v>42.062258064516122</c:v>
                </c:pt>
                <c:pt idx="2360">
                  <c:v>42.021612903225808</c:v>
                </c:pt>
                <c:pt idx="2361">
                  <c:v>41.910000000000004</c:v>
                </c:pt>
                <c:pt idx="2362">
                  <c:v>41.808064516129036</c:v>
                </c:pt>
                <c:pt idx="2363">
                  <c:v>41.784838709677423</c:v>
                </c:pt>
                <c:pt idx="2364">
                  <c:v>41.771290322580647</c:v>
                </c:pt>
                <c:pt idx="2365">
                  <c:v>41.729354838709682</c:v>
                </c:pt>
                <c:pt idx="2366">
                  <c:v>41.74</c:v>
                </c:pt>
                <c:pt idx="2367">
                  <c:v>41.762258064516132</c:v>
                </c:pt>
                <c:pt idx="2368">
                  <c:v>41.758709677419354</c:v>
                </c:pt>
                <c:pt idx="2369">
                  <c:v>41.756451612903227</c:v>
                </c:pt>
                <c:pt idx="2370">
                  <c:v>41.755806451612898</c:v>
                </c:pt>
                <c:pt idx="2371">
                  <c:v>41.848387096774182</c:v>
                </c:pt>
                <c:pt idx="2372">
                  <c:v>41.801612903225802</c:v>
                </c:pt>
                <c:pt idx="2373">
                  <c:v>41.814193548387095</c:v>
                </c:pt>
                <c:pt idx="2374">
                  <c:v>41.7541935483871</c:v>
                </c:pt>
                <c:pt idx="2375">
                  <c:v>41.846129032258062</c:v>
                </c:pt>
                <c:pt idx="2376">
                  <c:v>41.927096774193551</c:v>
                </c:pt>
                <c:pt idx="2377">
                  <c:v>41.90225806451614</c:v>
                </c:pt>
                <c:pt idx="2378">
                  <c:v>41.858387096774194</c:v>
                </c:pt>
                <c:pt idx="2379">
                  <c:v>41.857741935483872</c:v>
                </c:pt>
                <c:pt idx="2380">
                  <c:v>41.822903225806449</c:v>
                </c:pt>
                <c:pt idx="2381">
                  <c:v>41.789354838709677</c:v>
                </c:pt>
                <c:pt idx="2382">
                  <c:v>41.783870967741933</c:v>
                </c:pt>
                <c:pt idx="2383">
                  <c:v>41.7</c:v>
                </c:pt>
                <c:pt idx="2384">
                  <c:v>41.671612903225814</c:v>
                </c:pt>
                <c:pt idx="2385">
                  <c:v>41.643548387096779</c:v>
                </c:pt>
                <c:pt idx="2386">
                  <c:v>41.67032258064517</c:v>
                </c:pt>
                <c:pt idx="2387">
                  <c:v>41.623870967741944</c:v>
                </c:pt>
                <c:pt idx="2388">
                  <c:v>41.604193548387101</c:v>
                </c:pt>
                <c:pt idx="2389">
                  <c:v>41.564838709677417</c:v>
                </c:pt>
                <c:pt idx="2390">
                  <c:v>41.537419354838711</c:v>
                </c:pt>
                <c:pt idx="2391">
                  <c:v>41.557096774193539</c:v>
                </c:pt>
                <c:pt idx="2392">
                  <c:v>41.598387096774189</c:v>
                </c:pt>
                <c:pt idx="2393">
                  <c:v>41.629354838709666</c:v>
                </c:pt>
                <c:pt idx="2394">
                  <c:v>41.629999999999988</c:v>
                </c:pt>
                <c:pt idx="2395">
                  <c:v>41.621290322580641</c:v>
                </c:pt>
                <c:pt idx="2396">
                  <c:v>41.73</c:v>
                </c:pt>
                <c:pt idx="2397">
                  <c:v>41.733548387096775</c:v>
                </c:pt>
                <c:pt idx="2398">
                  <c:v>41.781935483870967</c:v>
                </c:pt>
                <c:pt idx="2399">
                  <c:v>41.851935483870967</c:v>
                </c:pt>
                <c:pt idx="2400">
                  <c:v>41.852258064516136</c:v>
                </c:pt>
                <c:pt idx="2401">
                  <c:v>41.906774193548401</c:v>
                </c:pt>
                <c:pt idx="2402">
                  <c:v>41.920967741935485</c:v>
                </c:pt>
                <c:pt idx="2403">
                  <c:v>41.967741935483872</c:v>
                </c:pt>
                <c:pt idx="2404">
                  <c:v>42.000322580645161</c:v>
                </c:pt>
                <c:pt idx="2405">
                  <c:v>42.028387096774203</c:v>
                </c:pt>
                <c:pt idx="2406">
                  <c:v>41.958709677419357</c:v>
                </c:pt>
                <c:pt idx="2407">
                  <c:v>41.862903225806456</c:v>
                </c:pt>
                <c:pt idx="2408">
                  <c:v>41.832903225806454</c:v>
                </c:pt>
                <c:pt idx="2409">
                  <c:v>41.855806451612906</c:v>
                </c:pt>
                <c:pt idx="2410">
                  <c:v>41.918064516129036</c:v>
                </c:pt>
                <c:pt idx="2411">
                  <c:v>42.004838709677415</c:v>
                </c:pt>
                <c:pt idx="2412">
                  <c:v>41.983870967741929</c:v>
                </c:pt>
                <c:pt idx="2413">
                  <c:v>41.965806451612899</c:v>
                </c:pt>
                <c:pt idx="2414">
                  <c:v>42.033225806451604</c:v>
                </c:pt>
                <c:pt idx="2415">
                  <c:v>42.035483870967731</c:v>
                </c:pt>
                <c:pt idx="2416">
                  <c:v>42.046129032258058</c:v>
                </c:pt>
                <c:pt idx="2417">
                  <c:v>42.035806451612899</c:v>
                </c:pt>
                <c:pt idx="2418">
                  <c:v>42.048387096774185</c:v>
                </c:pt>
                <c:pt idx="2419">
                  <c:v>42.108064516129026</c:v>
                </c:pt>
                <c:pt idx="2420">
                  <c:v>42.042258064516126</c:v>
                </c:pt>
                <c:pt idx="2421">
                  <c:v>42.10516129032257</c:v>
                </c:pt>
                <c:pt idx="2422">
                  <c:v>42.068064516129027</c:v>
                </c:pt>
                <c:pt idx="2423">
                  <c:v>42.087333333333326</c:v>
                </c:pt>
                <c:pt idx="2424">
                  <c:v>42.104482758620691</c:v>
                </c:pt>
                <c:pt idx="2425">
                  <c:v>42.132857142857141</c:v>
                </c:pt>
                <c:pt idx="2426">
                  <c:v>42.14222222222223</c:v>
                </c:pt>
                <c:pt idx="2427">
                  <c:v>42.081153846153853</c:v>
                </c:pt>
                <c:pt idx="2428">
                  <c:v>42.096000000000004</c:v>
                </c:pt>
                <c:pt idx="2429">
                  <c:v>42.090833333333343</c:v>
                </c:pt>
                <c:pt idx="2430">
                  <c:v>42.050869565217397</c:v>
                </c:pt>
                <c:pt idx="2431">
                  <c:v>41.973636363636366</c:v>
                </c:pt>
                <c:pt idx="2432">
                  <c:v>41.980476190476189</c:v>
                </c:pt>
                <c:pt idx="2433">
                  <c:v>41.903500000000008</c:v>
                </c:pt>
                <c:pt idx="2434">
                  <c:v>41.898421052631583</c:v>
                </c:pt>
                <c:pt idx="2435">
                  <c:v>41.911666666666669</c:v>
                </c:pt>
                <c:pt idx="2436">
                  <c:v>41.911176470588238</c:v>
                </c:pt>
                <c:pt idx="2437">
                  <c:v>41.965625000000003</c:v>
                </c:pt>
                <c:pt idx="2438">
                  <c:v>42.045333333333332</c:v>
                </c:pt>
                <c:pt idx="2439">
                  <c:v>42.07714285714286</c:v>
                </c:pt>
                <c:pt idx="2440">
                  <c:v>42.160000000000004</c:v>
                </c:pt>
                <c:pt idx="2441">
                  <c:v>42.165833333333332</c:v>
                </c:pt>
                <c:pt idx="2442">
                  <c:v>42.07090909090909</c:v>
                </c:pt>
                <c:pt idx="2443">
                  <c:v>42.191999999999993</c:v>
                </c:pt>
                <c:pt idx="2444">
                  <c:v>42.18666666666666</c:v>
                </c:pt>
                <c:pt idx="2445">
                  <c:v>42.15</c:v>
                </c:pt>
                <c:pt idx="2446">
                  <c:v>42.132857142857141</c:v>
                </c:pt>
                <c:pt idx="2447">
                  <c:v>42.101666666666667</c:v>
                </c:pt>
                <c:pt idx="2448">
                  <c:v>41.892000000000003</c:v>
                </c:pt>
                <c:pt idx="2449">
                  <c:v>41.962500000000006</c:v>
                </c:pt>
                <c:pt idx="2450">
                  <c:v>41.836666666666666</c:v>
                </c:pt>
                <c:pt idx="2451">
                  <c:v>42.414999999999999</c:v>
                </c:pt>
              </c:numCache>
            </c:numRef>
          </c:val>
          <c:smooth val="0"/>
          <c:extLst>
            <c:ext xmlns:c16="http://schemas.microsoft.com/office/drawing/2014/chart" uri="{C3380CC4-5D6E-409C-BE32-E72D297353CC}">
              <c16:uniqueId val="{00000001-A317-4990-AD5E-DF35E9825BF6}"/>
            </c:ext>
          </c:extLst>
        </c:ser>
        <c:ser>
          <c:idx val="4"/>
          <c:order val="4"/>
          <c:tx>
            <c:strRef>
              <c:f>'DRT Rolling Mean'!$G$1</c:f>
              <c:strCache>
                <c:ptCount val="1"/>
                <c:pt idx="0">
                  <c:v>Ambient Temperature</c:v>
                </c:pt>
              </c:strCache>
            </c:strRef>
          </c:tx>
          <c:spPr>
            <a:ln w="28575" cap="rnd">
              <a:solidFill>
                <a:schemeClr val="accent5"/>
              </a:solidFill>
              <a:round/>
            </a:ln>
            <a:effectLst/>
          </c:spPr>
          <c:marker>
            <c:symbol val="none"/>
          </c:marker>
          <c:cat>
            <c:numRef>
              <c:f>'DRT Rolling Mean'!$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G$2:$G$2453</c:f>
              <c:numCache>
                <c:formatCode>#,##0.00</c:formatCode>
                <c:ptCount val="2452"/>
                <c:pt idx="0">
                  <c:v>49.806451612903224</c:v>
                </c:pt>
                <c:pt idx="1">
                  <c:v>49.516129032258064</c:v>
                </c:pt>
                <c:pt idx="2">
                  <c:v>49.516129032258064</c:v>
                </c:pt>
                <c:pt idx="3">
                  <c:v>49.225806451612904</c:v>
                </c:pt>
                <c:pt idx="4">
                  <c:v>49.354838709677416</c:v>
                </c:pt>
                <c:pt idx="5">
                  <c:v>49.354838709677416</c:v>
                </c:pt>
                <c:pt idx="6">
                  <c:v>49.483870967741936</c:v>
                </c:pt>
                <c:pt idx="7">
                  <c:v>49.322580645161288</c:v>
                </c:pt>
                <c:pt idx="8">
                  <c:v>49.032258064516128</c:v>
                </c:pt>
                <c:pt idx="9">
                  <c:v>49</c:v>
                </c:pt>
                <c:pt idx="10">
                  <c:v>49.032258064516128</c:v>
                </c:pt>
                <c:pt idx="11">
                  <c:v>49.161290322580648</c:v>
                </c:pt>
                <c:pt idx="12">
                  <c:v>49.12903225806452</c:v>
                </c:pt>
                <c:pt idx="13">
                  <c:v>49.225806451612904</c:v>
                </c:pt>
                <c:pt idx="14">
                  <c:v>49.225806451612904</c:v>
                </c:pt>
                <c:pt idx="15">
                  <c:v>49.29032258064516</c:v>
                </c:pt>
                <c:pt idx="16">
                  <c:v>49.548387096774192</c:v>
                </c:pt>
                <c:pt idx="17">
                  <c:v>49.612903225806448</c:v>
                </c:pt>
                <c:pt idx="18">
                  <c:v>49.41935483870968</c:v>
                </c:pt>
                <c:pt idx="19">
                  <c:v>49.451612903225808</c:v>
                </c:pt>
                <c:pt idx="20">
                  <c:v>49.29032258064516</c:v>
                </c:pt>
                <c:pt idx="21">
                  <c:v>49.29032258064516</c:v>
                </c:pt>
                <c:pt idx="22">
                  <c:v>49.41935483870968</c:v>
                </c:pt>
                <c:pt idx="23">
                  <c:v>49.58064516129032</c:v>
                </c:pt>
                <c:pt idx="24">
                  <c:v>49.87096774193548</c:v>
                </c:pt>
                <c:pt idx="25">
                  <c:v>50.064516129032256</c:v>
                </c:pt>
                <c:pt idx="26">
                  <c:v>50.193548387096776</c:v>
                </c:pt>
                <c:pt idx="27">
                  <c:v>50.12903225806452</c:v>
                </c:pt>
                <c:pt idx="28">
                  <c:v>50</c:v>
                </c:pt>
                <c:pt idx="29">
                  <c:v>50.29032258064516</c:v>
                </c:pt>
                <c:pt idx="30">
                  <c:v>50.064516129032256</c:v>
                </c:pt>
                <c:pt idx="31">
                  <c:v>49.903225806451616</c:v>
                </c:pt>
                <c:pt idx="32">
                  <c:v>49.935483870967744</c:v>
                </c:pt>
                <c:pt idx="33">
                  <c:v>50.032258064516128</c:v>
                </c:pt>
                <c:pt idx="34">
                  <c:v>50.225806451612904</c:v>
                </c:pt>
                <c:pt idx="35">
                  <c:v>50.161290322580648</c:v>
                </c:pt>
                <c:pt idx="36">
                  <c:v>50.258064516129032</c:v>
                </c:pt>
                <c:pt idx="37">
                  <c:v>50.12903225806452</c:v>
                </c:pt>
                <c:pt idx="38">
                  <c:v>50.225806451612904</c:v>
                </c:pt>
                <c:pt idx="39">
                  <c:v>50.258064516129032</c:v>
                </c:pt>
                <c:pt idx="40">
                  <c:v>50.29032258064516</c:v>
                </c:pt>
                <c:pt idx="41">
                  <c:v>50.548387096774192</c:v>
                </c:pt>
                <c:pt idx="42">
                  <c:v>50.258064516129032</c:v>
                </c:pt>
                <c:pt idx="43">
                  <c:v>50.064516129032256</c:v>
                </c:pt>
                <c:pt idx="44">
                  <c:v>50.161290322580648</c:v>
                </c:pt>
                <c:pt idx="45">
                  <c:v>50.096774193548384</c:v>
                </c:pt>
                <c:pt idx="46">
                  <c:v>50.12903225806452</c:v>
                </c:pt>
                <c:pt idx="47">
                  <c:v>50.032258064516128</c:v>
                </c:pt>
                <c:pt idx="48">
                  <c:v>50.193548387096776</c:v>
                </c:pt>
                <c:pt idx="49">
                  <c:v>50.387096774193552</c:v>
                </c:pt>
                <c:pt idx="50">
                  <c:v>50.387096774193552</c:v>
                </c:pt>
                <c:pt idx="51">
                  <c:v>50.387096774193552</c:v>
                </c:pt>
                <c:pt idx="52">
                  <c:v>50.41935483870968</c:v>
                </c:pt>
                <c:pt idx="53">
                  <c:v>50.225806451612904</c:v>
                </c:pt>
                <c:pt idx="54">
                  <c:v>50.225806451612904</c:v>
                </c:pt>
                <c:pt idx="55">
                  <c:v>50.225806451612904</c:v>
                </c:pt>
                <c:pt idx="56">
                  <c:v>50.225806451612904</c:v>
                </c:pt>
                <c:pt idx="57">
                  <c:v>49.903225806451616</c:v>
                </c:pt>
                <c:pt idx="58">
                  <c:v>49.967741935483872</c:v>
                </c:pt>
                <c:pt idx="59">
                  <c:v>50.12903225806452</c:v>
                </c:pt>
                <c:pt idx="60">
                  <c:v>49.806451612903224</c:v>
                </c:pt>
                <c:pt idx="61">
                  <c:v>49.935483870967744</c:v>
                </c:pt>
                <c:pt idx="62">
                  <c:v>50.161290322580648</c:v>
                </c:pt>
                <c:pt idx="63">
                  <c:v>50.451612903225808</c:v>
                </c:pt>
                <c:pt idx="64">
                  <c:v>50.387096774193552</c:v>
                </c:pt>
                <c:pt idx="65">
                  <c:v>50.225806451612904</c:v>
                </c:pt>
                <c:pt idx="66">
                  <c:v>50.12903225806452</c:v>
                </c:pt>
                <c:pt idx="67">
                  <c:v>50.193548387096776</c:v>
                </c:pt>
                <c:pt idx="68">
                  <c:v>50.225806451612904</c:v>
                </c:pt>
                <c:pt idx="69">
                  <c:v>50.258064516129032</c:v>
                </c:pt>
                <c:pt idx="70">
                  <c:v>50.354838709677416</c:v>
                </c:pt>
                <c:pt idx="71">
                  <c:v>50.354838709677416</c:v>
                </c:pt>
                <c:pt idx="72">
                  <c:v>50.161290322580648</c:v>
                </c:pt>
                <c:pt idx="73">
                  <c:v>50.161290322580648</c:v>
                </c:pt>
                <c:pt idx="74">
                  <c:v>50.258064516129032</c:v>
                </c:pt>
                <c:pt idx="75">
                  <c:v>50.258064516129032</c:v>
                </c:pt>
                <c:pt idx="76">
                  <c:v>50.483870967741936</c:v>
                </c:pt>
                <c:pt idx="77">
                  <c:v>50.29032258064516</c:v>
                </c:pt>
                <c:pt idx="78">
                  <c:v>50.12903225806452</c:v>
                </c:pt>
                <c:pt idx="79">
                  <c:v>50</c:v>
                </c:pt>
                <c:pt idx="80">
                  <c:v>49.838709677419352</c:v>
                </c:pt>
                <c:pt idx="81">
                  <c:v>49.903225806451616</c:v>
                </c:pt>
                <c:pt idx="82">
                  <c:v>49.967741935483872</c:v>
                </c:pt>
                <c:pt idx="83">
                  <c:v>49.967741935483872</c:v>
                </c:pt>
                <c:pt idx="84">
                  <c:v>50.064516129032256</c:v>
                </c:pt>
                <c:pt idx="85">
                  <c:v>50</c:v>
                </c:pt>
                <c:pt idx="86">
                  <c:v>49.806451612903224</c:v>
                </c:pt>
                <c:pt idx="87">
                  <c:v>49.645161290322584</c:v>
                </c:pt>
                <c:pt idx="88">
                  <c:v>49.645161290322584</c:v>
                </c:pt>
                <c:pt idx="89">
                  <c:v>49.677419354838712</c:v>
                </c:pt>
                <c:pt idx="90">
                  <c:v>49.645161290322584</c:v>
                </c:pt>
                <c:pt idx="91">
                  <c:v>49.935483870967744</c:v>
                </c:pt>
                <c:pt idx="92">
                  <c:v>49.806451612903224</c:v>
                </c:pt>
                <c:pt idx="93">
                  <c:v>49.483870967741936</c:v>
                </c:pt>
                <c:pt idx="94">
                  <c:v>49.387096774193552</c:v>
                </c:pt>
                <c:pt idx="95">
                  <c:v>49.612903225806448</c:v>
                </c:pt>
                <c:pt idx="96">
                  <c:v>49.58064516129032</c:v>
                </c:pt>
                <c:pt idx="97">
                  <c:v>49.516129032258064</c:v>
                </c:pt>
                <c:pt idx="98">
                  <c:v>49.29032258064516</c:v>
                </c:pt>
                <c:pt idx="99">
                  <c:v>49.516129032258064</c:v>
                </c:pt>
                <c:pt idx="100">
                  <c:v>49.483870967741936</c:v>
                </c:pt>
                <c:pt idx="101">
                  <c:v>49.612903225806448</c:v>
                </c:pt>
                <c:pt idx="102">
                  <c:v>49.58064516129032</c:v>
                </c:pt>
                <c:pt idx="103">
                  <c:v>49.774193548387096</c:v>
                </c:pt>
                <c:pt idx="104">
                  <c:v>49.774193548387096</c:v>
                </c:pt>
                <c:pt idx="105">
                  <c:v>49.612903225806448</c:v>
                </c:pt>
                <c:pt idx="106">
                  <c:v>49.41935483870968</c:v>
                </c:pt>
                <c:pt idx="107">
                  <c:v>49.161290322580648</c:v>
                </c:pt>
                <c:pt idx="108">
                  <c:v>49.354838709677416</c:v>
                </c:pt>
                <c:pt idx="109">
                  <c:v>49.548387096774192</c:v>
                </c:pt>
                <c:pt idx="110">
                  <c:v>49.677419354838712</c:v>
                </c:pt>
                <c:pt idx="111">
                  <c:v>49.612903225806448</c:v>
                </c:pt>
                <c:pt idx="112">
                  <c:v>49.612903225806448</c:v>
                </c:pt>
                <c:pt idx="113">
                  <c:v>49.645161290322584</c:v>
                </c:pt>
                <c:pt idx="114">
                  <c:v>49.806451612903224</c:v>
                </c:pt>
                <c:pt idx="115">
                  <c:v>49.806451612903224</c:v>
                </c:pt>
                <c:pt idx="116">
                  <c:v>49.741935483870968</c:v>
                </c:pt>
                <c:pt idx="117">
                  <c:v>49.774193548387096</c:v>
                </c:pt>
                <c:pt idx="118">
                  <c:v>49.838709677419352</c:v>
                </c:pt>
                <c:pt idx="119">
                  <c:v>49.838709677419352</c:v>
                </c:pt>
                <c:pt idx="120">
                  <c:v>49.838709677419352</c:v>
                </c:pt>
                <c:pt idx="121">
                  <c:v>49.612903225806448</c:v>
                </c:pt>
                <c:pt idx="122">
                  <c:v>49.354838709677416</c:v>
                </c:pt>
                <c:pt idx="123">
                  <c:v>49.258064516129032</c:v>
                </c:pt>
                <c:pt idx="124">
                  <c:v>49.516129032258064</c:v>
                </c:pt>
                <c:pt idx="125">
                  <c:v>49.516129032258064</c:v>
                </c:pt>
                <c:pt idx="126">
                  <c:v>49.29032258064516</c:v>
                </c:pt>
                <c:pt idx="127">
                  <c:v>49.258064516129032</c:v>
                </c:pt>
                <c:pt idx="128">
                  <c:v>49.322580645161288</c:v>
                </c:pt>
                <c:pt idx="129">
                  <c:v>49.322580645161288</c:v>
                </c:pt>
                <c:pt idx="130">
                  <c:v>49</c:v>
                </c:pt>
                <c:pt idx="131">
                  <c:v>48.903225806451616</c:v>
                </c:pt>
                <c:pt idx="132">
                  <c:v>48.903225806451616</c:v>
                </c:pt>
                <c:pt idx="133">
                  <c:v>48.677419354838712</c:v>
                </c:pt>
                <c:pt idx="134">
                  <c:v>48.548387096774192</c:v>
                </c:pt>
                <c:pt idx="135">
                  <c:v>48.548387096774192</c:v>
                </c:pt>
                <c:pt idx="136">
                  <c:v>48.612903225806448</c:v>
                </c:pt>
                <c:pt idx="137">
                  <c:v>48.774193548387096</c:v>
                </c:pt>
                <c:pt idx="138">
                  <c:v>48.967741935483872</c:v>
                </c:pt>
                <c:pt idx="139">
                  <c:v>48.645161290322584</c:v>
                </c:pt>
                <c:pt idx="140">
                  <c:v>48.516129032258064</c:v>
                </c:pt>
                <c:pt idx="141">
                  <c:v>48.354838709677416</c:v>
                </c:pt>
                <c:pt idx="142">
                  <c:v>48.322580645161288</c:v>
                </c:pt>
                <c:pt idx="143">
                  <c:v>48.322580645161288</c:v>
                </c:pt>
                <c:pt idx="144">
                  <c:v>48.451612903225808</c:v>
                </c:pt>
                <c:pt idx="145">
                  <c:v>48.322580645161288</c:v>
                </c:pt>
                <c:pt idx="146">
                  <c:v>48.41935483870968</c:v>
                </c:pt>
                <c:pt idx="147">
                  <c:v>48.612903225806448</c:v>
                </c:pt>
                <c:pt idx="148">
                  <c:v>48.451612903225808</c:v>
                </c:pt>
                <c:pt idx="149">
                  <c:v>48.322580645161288</c:v>
                </c:pt>
                <c:pt idx="150">
                  <c:v>48.451612903225808</c:v>
                </c:pt>
                <c:pt idx="151">
                  <c:v>48.516129032258064</c:v>
                </c:pt>
                <c:pt idx="152">
                  <c:v>48.548387096774192</c:v>
                </c:pt>
                <c:pt idx="153">
                  <c:v>48.58064516129032</c:v>
                </c:pt>
                <c:pt idx="154">
                  <c:v>48.645161290322584</c:v>
                </c:pt>
                <c:pt idx="155">
                  <c:v>48.677419354838712</c:v>
                </c:pt>
                <c:pt idx="156">
                  <c:v>48.483870967741936</c:v>
                </c:pt>
                <c:pt idx="157">
                  <c:v>48.645161290322584</c:v>
                </c:pt>
                <c:pt idx="158">
                  <c:v>48.935483870967744</c:v>
                </c:pt>
                <c:pt idx="159">
                  <c:v>48.87096774193548</c:v>
                </c:pt>
                <c:pt idx="160">
                  <c:v>49.032258064516128</c:v>
                </c:pt>
                <c:pt idx="161">
                  <c:v>49.258064516129032</c:v>
                </c:pt>
                <c:pt idx="162">
                  <c:v>49.548387096774192</c:v>
                </c:pt>
                <c:pt idx="163">
                  <c:v>49.612903225806448</c:v>
                </c:pt>
                <c:pt idx="164">
                  <c:v>49.70967741935484</c:v>
                </c:pt>
                <c:pt idx="165">
                  <c:v>49.70967741935484</c:v>
                </c:pt>
                <c:pt idx="166">
                  <c:v>49.87096774193548</c:v>
                </c:pt>
                <c:pt idx="167">
                  <c:v>49.967741935483872</c:v>
                </c:pt>
                <c:pt idx="168">
                  <c:v>50.032258064516128</c:v>
                </c:pt>
                <c:pt idx="169">
                  <c:v>49.967741935483872</c:v>
                </c:pt>
                <c:pt idx="170">
                  <c:v>50.096774193548384</c:v>
                </c:pt>
                <c:pt idx="171">
                  <c:v>50.161290322580648</c:v>
                </c:pt>
                <c:pt idx="172">
                  <c:v>50.12903225806452</c:v>
                </c:pt>
                <c:pt idx="173">
                  <c:v>50.064516129032256</c:v>
                </c:pt>
                <c:pt idx="174">
                  <c:v>49.935483870967744</c:v>
                </c:pt>
                <c:pt idx="175">
                  <c:v>49.741935483870968</c:v>
                </c:pt>
                <c:pt idx="176">
                  <c:v>49.967741935483872</c:v>
                </c:pt>
                <c:pt idx="177">
                  <c:v>49.774193548387096</c:v>
                </c:pt>
                <c:pt idx="178">
                  <c:v>49.483870967741936</c:v>
                </c:pt>
                <c:pt idx="179">
                  <c:v>49.645161290322584</c:v>
                </c:pt>
                <c:pt idx="180">
                  <c:v>49.87096774193548</c:v>
                </c:pt>
                <c:pt idx="181">
                  <c:v>50.032258064516128</c:v>
                </c:pt>
                <c:pt idx="182">
                  <c:v>49.903225806451616</c:v>
                </c:pt>
                <c:pt idx="183">
                  <c:v>50.032258064516128</c:v>
                </c:pt>
                <c:pt idx="184">
                  <c:v>50.29032258064516</c:v>
                </c:pt>
                <c:pt idx="185">
                  <c:v>50.322580645161288</c:v>
                </c:pt>
                <c:pt idx="186">
                  <c:v>50.161290322580648</c:v>
                </c:pt>
                <c:pt idx="187">
                  <c:v>50.225806451612904</c:v>
                </c:pt>
                <c:pt idx="188">
                  <c:v>50.096774193548384</c:v>
                </c:pt>
                <c:pt idx="189">
                  <c:v>49.87096774193548</c:v>
                </c:pt>
                <c:pt idx="190">
                  <c:v>50.096774193548384</c:v>
                </c:pt>
                <c:pt idx="191">
                  <c:v>49.903225806451616</c:v>
                </c:pt>
                <c:pt idx="192">
                  <c:v>49.838709677419352</c:v>
                </c:pt>
                <c:pt idx="193">
                  <c:v>49.58064516129032</c:v>
                </c:pt>
                <c:pt idx="194">
                  <c:v>49.258064516129032</c:v>
                </c:pt>
                <c:pt idx="195">
                  <c:v>49.354838709677416</c:v>
                </c:pt>
                <c:pt idx="196">
                  <c:v>49.322580645161288</c:v>
                </c:pt>
                <c:pt idx="197">
                  <c:v>49.161290322580648</c:v>
                </c:pt>
                <c:pt idx="198">
                  <c:v>49.322580645161288</c:v>
                </c:pt>
                <c:pt idx="199">
                  <c:v>49.12903225806452</c:v>
                </c:pt>
                <c:pt idx="200">
                  <c:v>49.161290322580648</c:v>
                </c:pt>
                <c:pt idx="201">
                  <c:v>49.354838709677416</c:v>
                </c:pt>
                <c:pt idx="202">
                  <c:v>49.483870967741936</c:v>
                </c:pt>
                <c:pt idx="203">
                  <c:v>49.451612903225808</c:v>
                </c:pt>
                <c:pt idx="204">
                  <c:v>49.58064516129032</c:v>
                </c:pt>
                <c:pt idx="205">
                  <c:v>49.41935483870968</c:v>
                </c:pt>
                <c:pt idx="206">
                  <c:v>49.354838709677416</c:v>
                </c:pt>
                <c:pt idx="207">
                  <c:v>49.096774193548384</c:v>
                </c:pt>
                <c:pt idx="208">
                  <c:v>49.258064516129032</c:v>
                </c:pt>
                <c:pt idx="209">
                  <c:v>49.322580645161288</c:v>
                </c:pt>
                <c:pt idx="210">
                  <c:v>49.161290322580648</c:v>
                </c:pt>
                <c:pt idx="211">
                  <c:v>49.193548387096776</c:v>
                </c:pt>
                <c:pt idx="212">
                  <c:v>48.903225806451616</c:v>
                </c:pt>
                <c:pt idx="213">
                  <c:v>49.161290322580648</c:v>
                </c:pt>
                <c:pt idx="214">
                  <c:v>49.29032258064516</c:v>
                </c:pt>
                <c:pt idx="215">
                  <c:v>49.193548387096776</c:v>
                </c:pt>
                <c:pt idx="216">
                  <c:v>49.387096774193552</c:v>
                </c:pt>
                <c:pt idx="217">
                  <c:v>49.516129032258064</c:v>
                </c:pt>
                <c:pt idx="218">
                  <c:v>49.70967741935484</c:v>
                </c:pt>
                <c:pt idx="219">
                  <c:v>49.87096774193548</c:v>
                </c:pt>
                <c:pt idx="220">
                  <c:v>50.064516129032256</c:v>
                </c:pt>
                <c:pt idx="221">
                  <c:v>50.032258064516128</c:v>
                </c:pt>
                <c:pt idx="222">
                  <c:v>50.193548387096776</c:v>
                </c:pt>
                <c:pt idx="223">
                  <c:v>50.322580645161288</c:v>
                </c:pt>
                <c:pt idx="224">
                  <c:v>50.58064516129032</c:v>
                </c:pt>
                <c:pt idx="225">
                  <c:v>50.903225806451616</c:v>
                </c:pt>
                <c:pt idx="226">
                  <c:v>51.032258064516128</c:v>
                </c:pt>
                <c:pt idx="227">
                  <c:v>51.161290322580648</c:v>
                </c:pt>
                <c:pt idx="228">
                  <c:v>51.387096774193552</c:v>
                </c:pt>
                <c:pt idx="229">
                  <c:v>51.387096774193552</c:v>
                </c:pt>
                <c:pt idx="230">
                  <c:v>51.677419354838712</c:v>
                </c:pt>
                <c:pt idx="231">
                  <c:v>51.741935483870968</c:v>
                </c:pt>
                <c:pt idx="232">
                  <c:v>51.741935483870968</c:v>
                </c:pt>
                <c:pt idx="233">
                  <c:v>51.774193548387096</c:v>
                </c:pt>
                <c:pt idx="234">
                  <c:v>51.935483870967744</c:v>
                </c:pt>
                <c:pt idx="235">
                  <c:v>52.096774193548384</c:v>
                </c:pt>
                <c:pt idx="236">
                  <c:v>52.354838709677416</c:v>
                </c:pt>
                <c:pt idx="237">
                  <c:v>52.612903225806448</c:v>
                </c:pt>
                <c:pt idx="238">
                  <c:v>52.903225806451616</c:v>
                </c:pt>
                <c:pt idx="239">
                  <c:v>52.967741935483872</c:v>
                </c:pt>
                <c:pt idx="240">
                  <c:v>53.161290322580648</c:v>
                </c:pt>
                <c:pt idx="241">
                  <c:v>53.451612903225808</c:v>
                </c:pt>
                <c:pt idx="242">
                  <c:v>53.354838709677416</c:v>
                </c:pt>
                <c:pt idx="243">
                  <c:v>53.612903225806448</c:v>
                </c:pt>
                <c:pt idx="244">
                  <c:v>53.612903225806448</c:v>
                </c:pt>
                <c:pt idx="245">
                  <c:v>53.58064516129032</c:v>
                </c:pt>
                <c:pt idx="246">
                  <c:v>53.677419354838712</c:v>
                </c:pt>
                <c:pt idx="247">
                  <c:v>53.70967741935484</c:v>
                </c:pt>
                <c:pt idx="248">
                  <c:v>53.677419354838712</c:v>
                </c:pt>
                <c:pt idx="249">
                  <c:v>53.677419354838712</c:v>
                </c:pt>
                <c:pt idx="250">
                  <c:v>53.645161290322584</c:v>
                </c:pt>
                <c:pt idx="251">
                  <c:v>53.677419354838712</c:v>
                </c:pt>
                <c:pt idx="252">
                  <c:v>53.70967741935484</c:v>
                </c:pt>
                <c:pt idx="253">
                  <c:v>53.774193548387096</c:v>
                </c:pt>
                <c:pt idx="254">
                  <c:v>53.70967741935484</c:v>
                </c:pt>
                <c:pt idx="255">
                  <c:v>53.677419354838712</c:v>
                </c:pt>
                <c:pt idx="256">
                  <c:v>53.58064516129032</c:v>
                </c:pt>
                <c:pt idx="257">
                  <c:v>53.41935483870968</c:v>
                </c:pt>
                <c:pt idx="258">
                  <c:v>53.29032258064516</c:v>
                </c:pt>
                <c:pt idx="259">
                  <c:v>53.354838709677416</c:v>
                </c:pt>
                <c:pt idx="260">
                  <c:v>53.193548387096776</c:v>
                </c:pt>
                <c:pt idx="261">
                  <c:v>53.161290322580648</c:v>
                </c:pt>
                <c:pt idx="262">
                  <c:v>53.161290322580648</c:v>
                </c:pt>
                <c:pt idx="263">
                  <c:v>53.12903225806452</c:v>
                </c:pt>
                <c:pt idx="264">
                  <c:v>53.161290322580648</c:v>
                </c:pt>
                <c:pt idx="265">
                  <c:v>53</c:v>
                </c:pt>
                <c:pt idx="266">
                  <c:v>53.032258064516128</c:v>
                </c:pt>
                <c:pt idx="267">
                  <c:v>52.935483870967744</c:v>
                </c:pt>
                <c:pt idx="268">
                  <c:v>52.70967741935484</c:v>
                </c:pt>
                <c:pt idx="269">
                  <c:v>52.41935483870968</c:v>
                </c:pt>
                <c:pt idx="270">
                  <c:v>52.161290322580648</c:v>
                </c:pt>
                <c:pt idx="271">
                  <c:v>51.967741935483872</c:v>
                </c:pt>
                <c:pt idx="272">
                  <c:v>51.935483870967744</c:v>
                </c:pt>
                <c:pt idx="273">
                  <c:v>51.903225806451616</c:v>
                </c:pt>
                <c:pt idx="274">
                  <c:v>51.935483870967744</c:v>
                </c:pt>
                <c:pt idx="275">
                  <c:v>51.87096774193548</c:v>
                </c:pt>
                <c:pt idx="276">
                  <c:v>51.87096774193548</c:v>
                </c:pt>
                <c:pt idx="277">
                  <c:v>51.612903225806448</c:v>
                </c:pt>
                <c:pt idx="278">
                  <c:v>51.58064516129032</c:v>
                </c:pt>
                <c:pt idx="279">
                  <c:v>51.58064516129032</c:v>
                </c:pt>
                <c:pt idx="280">
                  <c:v>51.451612903225808</c:v>
                </c:pt>
                <c:pt idx="281">
                  <c:v>51.322580645161288</c:v>
                </c:pt>
                <c:pt idx="282">
                  <c:v>51.225806451612904</c:v>
                </c:pt>
                <c:pt idx="283">
                  <c:v>51.29032258064516</c:v>
                </c:pt>
                <c:pt idx="284">
                  <c:v>51.258064516129032</c:v>
                </c:pt>
                <c:pt idx="285">
                  <c:v>51.193548387096776</c:v>
                </c:pt>
                <c:pt idx="286">
                  <c:v>51</c:v>
                </c:pt>
                <c:pt idx="287">
                  <c:v>51.096774193548384</c:v>
                </c:pt>
                <c:pt idx="288">
                  <c:v>50.967741935483872</c:v>
                </c:pt>
                <c:pt idx="289">
                  <c:v>51.064516129032256</c:v>
                </c:pt>
                <c:pt idx="290">
                  <c:v>50.806451612903224</c:v>
                </c:pt>
                <c:pt idx="291">
                  <c:v>50.87096774193548</c:v>
                </c:pt>
                <c:pt idx="292">
                  <c:v>50.806451612903224</c:v>
                </c:pt>
                <c:pt idx="293">
                  <c:v>50.774193548387096</c:v>
                </c:pt>
                <c:pt idx="294">
                  <c:v>50.516129032258064</c:v>
                </c:pt>
                <c:pt idx="295">
                  <c:v>50.483870967741936</c:v>
                </c:pt>
                <c:pt idx="296">
                  <c:v>50.677419354838712</c:v>
                </c:pt>
                <c:pt idx="297">
                  <c:v>50.645161290322584</c:v>
                </c:pt>
                <c:pt idx="298">
                  <c:v>50.677419354838712</c:v>
                </c:pt>
                <c:pt idx="299">
                  <c:v>50.806451612903224</c:v>
                </c:pt>
                <c:pt idx="300">
                  <c:v>51.096774193548384</c:v>
                </c:pt>
                <c:pt idx="301">
                  <c:v>51.161290322580648</c:v>
                </c:pt>
                <c:pt idx="302">
                  <c:v>51.29032258064516</c:v>
                </c:pt>
                <c:pt idx="303">
                  <c:v>51.354838709677416</c:v>
                </c:pt>
                <c:pt idx="304">
                  <c:v>51.483870967741936</c:v>
                </c:pt>
                <c:pt idx="305">
                  <c:v>51.516129032258064</c:v>
                </c:pt>
                <c:pt idx="306">
                  <c:v>51.29032258064516</c:v>
                </c:pt>
                <c:pt idx="307">
                  <c:v>51.193548387096776</c:v>
                </c:pt>
                <c:pt idx="308">
                  <c:v>51.41935483870968</c:v>
                </c:pt>
                <c:pt idx="309">
                  <c:v>51.41935483870968</c:v>
                </c:pt>
                <c:pt idx="310">
                  <c:v>51.193548387096776</c:v>
                </c:pt>
                <c:pt idx="311">
                  <c:v>51.12903225806452</c:v>
                </c:pt>
                <c:pt idx="312">
                  <c:v>51.354838709677416</c:v>
                </c:pt>
                <c:pt idx="313">
                  <c:v>51.225806451612904</c:v>
                </c:pt>
                <c:pt idx="314">
                  <c:v>50.935483870967744</c:v>
                </c:pt>
                <c:pt idx="315">
                  <c:v>51</c:v>
                </c:pt>
                <c:pt idx="316">
                  <c:v>51.032258064516128</c:v>
                </c:pt>
                <c:pt idx="317">
                  <c:v>50.935483870967744</c:v>
                </c:pt>
                <c:pt idx="318">
                  <c:v>50.838709677419352</c:v>
                </c:pt>
                <c:pt idx="319">
                  <c:v>50.806451612903224</c:v>
                </c:pt>
                <c:pt idx="320">
                  <c:v>50.774193548387096</c:v>
                </c:pt>
                <c:pt idx="321">
                  <c:v>50.935483870967744</c:v>
                </c:pt>
                <c:pt idx="322">
                  <c:v>50.967741935483872</c:v>
                </c:pt>
                <c:pt idx="323">
                  <c:v>50.774193548387096</c:v>
                </c:pt>
                <c:pt idx="324">
                  <c:v>50.645161290322584</c:v>
                </c:pt>
                <c:pt idx="325">
                  <c:v>50.677419354838712</c:v>
                </c:pt>
                <c:pt idx="326">
                  <c:v>50.387096774193552</c:v>
                </c:pt>
                <c:pt idx="327">
                  <c:v>50.193548387096776</c:v>
                </c:pt>
                <c:pt idx="328">
                  <c:v>49.903225806451616</c:v>
                </c:pt>
                <c:pt idx="329">
                  <c:v>49.677419354838712</c:v>
                </c:pt>
                <c:pt idx="330">
                  <c:v>49.645161290322584</c:v>
                </c:pt>
                <c:pt idx="331">
                  <c:v>49.387096774193552</c:v>
                </c:pt>
                <c:pt idx="332">
                  <c:v>49.516129032258064</c:v>
                </c:pt>
                <c:pt idx="333">
                  <c:v>49.483870967741936</c:v>
                </c:pt>
                <c:pt idx="334">
                  <c:v>49.451612903225808</c:v>
                </c:pt>
                <c:pt idx="335">
                  <c:v>49.258064516129032</c:v>
                </c:pt>
                <c:pt idx="336">
                  <c:v>48.935483870967744</c:v>
                </c:pt>
                <c:pt idx="337">
                  <c:v>49.225806451612904</c:v>
                </c:pt>
                <c:pt idx="338">
                  <c:v>49.354838709677416</c:v>
                </c:pt>
                <c:pt idx="339">
                  <c:v>49.12903225806452</c:v>
                </c:pt>
                <c:pt idx="340">
                  <c:v>49.12903225806452</c:v>
                </c:pt>
                <c:pt idx="341">
                  <c:v>49.354838709677416</c:v>
                </c:pt>
                <c:pt idx="342">
                  <c:v>49.322580645161288</c:v>
                </c:pt>
                <c:pt idx="343">
                  <c:v>49.225806451612904</c:v>
                </c:pt>
                <c:pt idx="344">
                  <c:v>49.193548387096776</c:v>
                </c:pt>
                <c:pt idx="345">
                  <c:v>49.387096774193552</c:v>
                </c:pt>
                <c:pt idx="346">
                  <c:v>49.225806451612904</c:v>
                </c:pt>
                <c:pt idx="347">
                  <c:v>49.193548387096776</c:v>
                </c:pt>
                <c:pt idx="348">
                  <c:v>49.258064516129032</c:v>
                </c:pt>
                <c:pt idx="349">
                  <c:v>49.193548387096776</c:v>
                </c:pt>
                <c:pt idx="350">
                  <c:v>49.193548387096776</c:v>
                </c:pt>
                <c:pt idx="351">
                  <c:v>49.064516129032256</c:v>
                </c:pt>
                <c:pt idx="352">
                  <c:v>49.032258064516128</c:v>
                </c:pt>
                <c:pt idx="353">
                  <c:v>48.87096774193548</c:v>
                </c:pt>
                <c:pt idx="354">
                  <c:v>49</c:v>
                </c:pt>
                <c:pt idx="355">
                  <c:v>49</c:v>
                </c:pt>
                <c:pt idx="356">
                  <c:v>48.967741935483872</c:v>
                </c:pt>
                <c:pt idx="357">
                  <c:v>49.225806451612904</c:v>
                </c:pt>
                <c:pt idx="358">
                  <c:v>49.483870967741936</c:v>
                </c:pt>
                <c:pt idx="359">
                  <c:v>49.741935483870968</c:v>
                </c:pt>
                <c:pt idx="360">
                  <c:v>49.935483870967744</c:v>
                </c:pt>
                <c:pt idx="361">
                  <c:v>50.032258064516128</c:v>
                </c:pt>
                <c:pt idx="362">
                  <c:v>50.225806451612904</c:v>
                </c:pt>
                <c:pt idx="363">
                  <c:v>50.064516129032256</c:v>
                </c:pt>
                <c:pt idx="364">
                  <c:v>49.903225806451616</c:v>
                </c:pt>
                <c:pt idx="365">
                  <c:v>49.70967741935484</c:v>
                </c:pt>
                <c:pt idx="366">
                  <c:v>49.677419354838712</c:v>
                </c:pt>
                <c:pt idx="367">
                  <c:v>49.838709677419352</c:v>
                </c:pt>
                <c:pt idx="368">
                  <c:v>49.516129032258064</c:v>
                </c:pt>
                <c:pt idx="369">
                  <c:v>49.387096774193552</c:v>
                </c:pt>
                <c:pt idx="370">
                  <c:v>49.322580645161288</c:v>
                </c:pt>
                <c:pt idx="371">
                  <c:v>49.064516129032256</c:v>
                </c:pt>
                <c:pt idx="372">
                  <c:v>49</c:v>
                </c:pt>
                <c:pt idx="373">
                  <c:v>49.193548387096776</c:v>
                </c:pt>
                <c:pt idx="374">
                  <c:v>48.967741935483872</c:v>
                </c:pt>
                <c:pt idx="375">
                  <c:v>48.935483870967744</c:v>
                </c:pt>
                <c:pt idx="376">
                  <c:v>48.87096774193548</c:v>
                </c:pt>
                <c:pt idx="377">
                  <c:v>48.903225806451616</c:v>
                </c:pt>
                <c:pt idx="378">
                  <c:v>49.032258064516128</c:v>
                </c:pt>
                <c:pt idx="379">
                  <c:v>49.064516129032256</c:v>
                </c:pt>
                <c:pt idx="380">
                  <c:v>49.225806451612904</c:v>
                </c:pt>
                <c:pt idx="381">
                  <c:v>49.225806451612904</c:v>
                </c:pt>
                <c:pt idx="382">
                  <c:v>49.193548387096776</c:v>
                </c:pt>
                <c:pt idx="383">
                  <c:v>49.322580645161288</c:v>
                </c:pt>
                <c:pt idx="384">
                  <c:v>49.258064516129032</c:v>
                </c:pt>
                <c:pt idx="385">
                  <c:v>49.161290322580648</c:v>
                </c:pt>
                <c:pt idx="386">
                  <c:v>49.161290322580648</c:v>
                </c:pt>
                <c:pt idx="387">
                  <c:v>49.451612903225808</c:v>
                </c:pt>
                <c:pt idx="388">
                  <c:v>49.354838709677416</c:v>
                </c:pt>
                <c:pt idx="389">
                  <c:v>49.096774193548384</c:v>
                </c:pt>
                <c:pt idx="390">
                  <c:v>48.87096774193548</c:v>
                </c:pt>
                <c:pt idx="391">
                  <c:v>48.741935483870968</c:v>
                </c:pt>
                <c:pt idx="392">
                  <c:v>48.548387096774192</c:v>
                </c:pt>
                <c:pt idx="393">
                  <c:v>48.354838709677416</c:v>
                </c:pt>
                <c:pt idx="394">
                  <c:v>48.645161290322584</c:v>
                </c:pt>
                <c:pt idx="395">
                  <c:v>48.935483870967744</c:v>
                </c:pt>
                <c:pt idx="396">
                  <c:v>49.032258064516128</c:v>
                </c:pt>
                <c:pt idx="397">
                  <c:v>49</c:v>
                </c:pt>
                <c:pt idx="398">
                  <c:v>48.87096774193548</c:v>
                </c:pt>
                <c:pt idx="399">
                  <c:v>49.193548387096776</c:v>
                </c:pt>
                <c:pt idx="400">
                  <c:v>49.032258064516128</c:v>
                </c:pt>
                <c:pt idx="401">
                  <c:v>49.29032258064516</c:v>
                </c:pt>
                <c:pt idx="402">
                  <c:v>49.29032258064516</c:v>
                </c:pt>
                <c:pt idx="403">
                  <c:v>49.193548387096776</c:v>
                </c:pt>
                <c:pt idx="404">
                  <c:v>49.096774193548384</c:v>
                </c:pt>
                <c:pt idx="405">
                  <c:v>49.225806451612904</c:v>
                </c:pt>
                <c:pt idx="406">
                  <c:v>49.516129032258064</c:v>
                </c:pt>
                <c:pt idx="407">
                  <c:v>49.677419354838712</c:v>
                </c:pt>
                <c:pt idx="408">
                  <c:v>49.516129032258064</c:v>
                </c:pt>
                <c:pt idx="409">
                  <c:v>49.483870967741936</c:v>
                </c:pt>
                <c:pt idx="410">
                  <c:v>49.41935483870968</c:v>
                </c:pt>
                <c:pt idx="411">
                  <c:v>49.225806451612904</c:v>
                </c:pt>
                <c:pt idx="412">
                  <c:v>49.387096774193552</c:v>
                </c:pt>
                <c:pt idx="413">
                  <c:v>49.483870967741936</c:v>
                </c:pt>
                <c:pt idx="414">
                  <c:v>49.354838709677416</c:v>
                </c:pt>
                <c:pt idx="415">
                  <c:v>49.387096774193552</c:v>
                </c:pt>
                <c:pt idx="416">
                  <c:v>49.612903225806448</c:v>
                </c:pt>
                <c:pt idx="417">
                  <c:v>49.741935483870968</c:v>
                </c:pt>
                <c:pt idx="418">
                  <c:v>49.58064516129032</c:v>
                </c:pt>
                <c:pt idx="419">
                  <c:v>49.677419354838712</c:v>
                </c:pt>
                <c:pt idx="420">
                  <c:v>49.838709677419352</c:v>
                </c:pt>
                <c:pt idx="421">
                  <c:v>50</c:v>
                </c:pt>
                <c:pt idx="422">
                  <c:v>50.096774193548384</c:v>
                </c:pt>
                <c:pt idx="423">
                  <c:v>50.161290322580648</c:v>
                </c:pt>
                <c:pt idx="424">
                  <c:v>50.161290322580648</c:v>
                </c:pt>
                <c:pt idx="425">
                  <c:v>49.838709677419352</c:v>
                </c:pt>
                <c:pt idx="426">
                  <c:v>49.806451612903224</c:v>
                </c:pt>
                <c:pt idx="427">
                  <c:v>49.87096774193548</c:v>
                </c:pt>
                <c:pt idx="428">
                  <c:v>49.806451612903224</c:v>
                </c:pt>
                <c:pt idx="429">
                  <c:v>50.032258064516128</c:v>
                </c:pt>
                <c:pt idx="430">
                  <c:v>49.806451612903224</c:v>
                </c:pt>
                <c:pt idx="431">
                  <c:v>50.064516129032256</c:v>
                </c:pt>
                <c:pt idx="432">
                  <c:v>49.967741935483872</c:v>
                </c:pt>
                <c:pt idx="433">
                  <c:v>50.032258064516128</c:v>
                </c:pt>
                <c:pt idx="434">
                  <c:v>50.29032258064516</c:v>
                </c:pt>
                <c:pt idx="435">
                  <c:v>50.322580645161288</c:v>
                </c:pt>
                <c:pt idx="436">
                  <c:v>50.451612903225808</c:v>
                </c:pt>
                <c:pt idx="437">
                  <c:v>50.483870967741936</c:v>
                </c:pt>
                <c:pt idx="438">
                  <c:v>50.225806451612904</c:v>
                </c:pt>
                <c:pt idx="439">
                  <c:v>50.516129032258064</c:v>
                </c:pt>
                <c:pt idx="440">
                  <c:v>50.483870967741936</c:v>
                </c:pt>
                <c:pt idx="441">
                  <c:v>50.70967741935484</c:v>
                </c:pt>
                <c:pt idx="442">
                  <c:v>50.806451612903224</c:v>
                </c:pt>
                <c:pt idx="443">
                  <c:v>50.838709677419352</c:v>
                </c:pt>
                <c:pt idx="444">
                  <c:v>51.032258064516128</c:v>
                </c:pt>
                <c:pt idx="445">
                  <c:v>51.096774193548384</c:v>
                </c:pt>
                <c:pt idx="446">
                  <c:v>51.225806451612904</c:v>
                </c:pt>
                <c:pt idx="447">
                  <c:v>51.225806451612904</c:v>
                </c:pt>
                <c:pt idx="448">
                  <c:v>51.161290322580648</c:v>
                </c:pt>
                <c:pt idx="449">
                  <c:v>51.12903225806452</c:v>
                </c:pt>
                <c:pt idx="450">
                  <c:v>50.935483870967744</c:v>
                </c:pt>
                <c:pt idx="451">
                  <c:v>50.87096774193548</c:v>
                </c:pt>
                <c:pt idx="452">
                  <c:v>50.741935483870968</c:v>
                </c:pt>
                <c:pt idx="453">
                  <c:v>50.87096774193548</c:v>
                </c:pt>
                <c:pt idx="454">
                  <c:v>51.032258064516128</c:v>
                </c:pt>
                <c:pt idx="455">
                  <c:v>51.193548387096776</c:v>
                </c:pt>
                <c:pt idx="456">
                  <c:v>51.225806451612904</c:v>
                </c:pt>
                <c:pt idx="457">
                  <c:v>51</c:v>
                </c:pt>
                <c:pt idx="458">
                  <c:v>50.87096774193548</c:v>
                </c:pt>
                <c:pt idx="459">
                  <c:v>50.967741935483872</c:v>
                </c:pt>
                <c:pt idx="460">
                  <c:v>50.806451612903224</c:v>
                </c:pt>
                <c:pt idx="461">
                  <c:v>50.935483870967744</c:v>
                </c:pt>
                <c:pt idx="462">
                  <c:v>51</c:v>
                </c:pt>
                <c:pt idx="463">
                  <c:v>51</c:v>
                </c:pt>
                <c:pt idx="464">
                  <c:v>50.967741935483872</c:v>
                </c:pt>
                <c:pt idx="465">
                  <c:v>50.87096774193548</c:v>
                </c:pt>
                <c:pt idx="466">
                  <c:v>50.741935483870968</c:v>
                </c:pt>
                <c:pt idx="467">
                  <c:v>50.806451612903224</c:v>
                </c:pt>
                <c:pt idx="468">
                  <c:v>50.548387096774192</c:v>
                </c:pt>
                <c:pt idx="469">
                  <c:v>50.645161290322584</c:v>
                </c:pt>
                <c:pt idx="470">
                  <c:v>50.354838709677416</c:v>
                </c:pt>
                <c:pt idx="471">
                  <c:v>50.12903225806452</c:v>
                </c:pt>
                <c:pt idx="472">
                  <c:v>50.161290322580648</c:v>
                </c:pt>
                <c:pt idx="473">
                  <c:v>50.12903225806452</c:v>
                </c:pt>
                <c:pt idx="474">
                  <c:v>50</c:v>
                </c:pt>
                <c:pt idx="475">
                  <c:v>49.935483870967744</c:v>
                </c:pt>
                <c:pt idx="476">
                  <c:v>49.838709677419352</c:v>
                </c:pt>
                <c:pt idx="477">
                  <c:v>49.70967741935484</c:v>
                </c:pt>
                <c:pt idx="478">
                  <c:v>49.645161290322584</c:v>
                </c:pt>
                <c:pt idx="479">
                  <c:v>49.516129032258064</c:v>
                </c:pt>
                <c:pt idx="480">
                  <c:v>49.58064516129032</c:v>
                </c:pt>
                <c:pt idx="481">
                  <c:v>49.516129032258064</c:v>
                </c:pt>
                <c:pt idx="482">
                  <c:v>49.516129032258064</c:v>
                </c:pt>
                <c:pt idx="483">
                  <c:v>49.58064516129032</c:v>
                </c:pt>
                <c:pt idx="484">
                  <c:v>49.548387096774192</c:v>
                </c:pt>
                <c:pt idx="485">
                  <c:v>49.451612903225808</c:v>
                </c:pt>
                <c:pt idx="486">
                  <c:v>49.41935483870968</c:v>
                </c:pt>
                <c:pt idx="487">
                  <c:v>49.58064516129032</c:v>
                </c:pt>
                <c:pt idx="488">
                  <c:v>49.677419354838712</c:v>
                </c:pt>
                <c:pt idx="489">
                  <c:v>49.87096774193548</c:v>
                </c:pt>
                <c:pt idx="490">
                  <c:v>49.903225806451616</c:v>
                </c:pt>
                <c:pt idx="491">
                  <c:v>50.064516129032256</c:v>
                </c:pt>
                <c:pt idx="492">
                  <c:v>49.838709677419352</c:v>
                </c:pt>
                <c:pt idx="493">
                  <c:v>49.612903225806448</c:v>
                </c:pt>
                <c:pt idx="494">
                  <c:v>49.451612903225808</c:v>
                </c:pt>
                <c:pt idx="495">
                  <c:v>49.451612903225808</c:v>
                </c:pt>
                <c:pt idx="496">
                  <c:v>49.548387096774192</c:v>
                </c:pt>
                <c:pt idx="497">
                  <c:v>49.645161290322584</c:v>
                </c:pt>
                <c:pt idx="498">
                  <c:v>49.548387096774192</c:v>
                </c:pt>
                <c:pt idx="499">
                  <c:v>49.548387096774192</c:v>
                </c:pt>
                <c:pt idx="500">
                  <c:v>49.483870967741936</c:v>
                </c:pt>
                <c:pt idx="501">
                  <c:v>49.451612903225808</c:v>
                </c:pt>
                <c:pt idx="502">
                  <c:v>49.483870967741936</c:v>
                </c:pt>
                <c:pt idx="503">
                  <c:v>49.322580645161288</c:v>
                </c:pt>
                <c:pt idx="504">
                  <c:v>49.387096774193552</c:v>
                </c:pt>
                <c:pt idx="505">
                  <c:v>49.451612903225808</c:v>
                </c:pt>
                <c:pt idx="506">
                  <c:v>49.354838709677416</c:v>
                </c:pt>
                <c:pt idx="507">
                  <c:v>49.258064516129032</c:v>
                </c:pt>
                <c:pt idx="508">
                  <c:v>49.387096774193552</c:v>
                </c:pt>
                <c:pt idx="509">
                  <c:v>49.258064516129032</c:v>
                </c:pt>
                <c:pt idx="510">
                  <c:v>49.29032258064516</c:v>
                </c:pt>
                <c:pt idx="511">
                  <c:v>49.29032258064516</c:v>
                </c:pt>
                <c:pt idx="512">
                  <c:v>49.516129032258064</c:v>
                </c:pt>
                <c:pt idx="513">
                  <c:v>49.58064516129032</c:v>
                </c:pt>
                <c:pt idx="514">
                  <c:v>49.548387096774192</c:v>
                </c:pt>
                <c:pt idx="515">
                  <c:v>49.612903225806448</c:v>
                </c:pt>
                <c:pt idx="516">
                  <c:v>49.516129032258064</c:v>
                </c:pt>
                <c:pt idx="517">
                  <c:v>49.354838709677416</c:v>
                </c:pt>
                <c:pt idx="518">
                  <c:v>49.258064516129032</c:v>
                </c:pt>
                <c:pt idx="519">
                  <c:v>49.29032258064516</c:v>
                </c:pt>
                <c:pt idx="520">
                  <c:v>49.193548387096776</c:v>
                </c:pt>
                <c:pt idx="521">
                  <c:v>49.354838709677416</c:v>
                </c:pt>
                <c:pt idx="522">
                  <c:v>49.387096774193552</c:v>
                </c:pt>
                <c:pt idx="523">
                  <c:v>49.483870967741936</c:v>
                </c:pt>
                <c:pt idx="524">
                  <c:v>49.387096774193552</c:v>
                </c:pt>
                <c:pt idx="525">
                  <c:v>49.70967741935484</c:v>
                </c:pt>
                <c:pt idx="526">
                  <c:v>49.677419354838712</c:v>
                </c:pt>
                <c:pt idx="527">
                  <c:v>49.387096774193552</c:v>
                </c:pt>
                <c:pt idx="528">
                  <c:v>49.225806451612904</c:v>
                </c:pt>
                <c:pt idx="529">
                  <c:v>49.29032258064516</c:v>
                </c:pt>
                <c:pt idx="530">
                  <c:v>49.225806451612904</c:v>
                </c:pt>
                <c:pt idx="531">
                  <c:v>49.258064516129032</c:v>
                </c:pt>
                <c:pt idx="532">
                  <c:v>49.387096774193552</c:v>
                </c:pt>
                <c:pt idx="533">
                  <c:v>49.58064516129032</c:v>
                </c:pt>
                <c:pt idx="534">
                  <c:v>49.58064516129032</c:v>
                </c:pt>
                <c:pt idx="535">
                  <c:v>49.612903225806448</c:v>
                </c:pt>
                <c:pt idx="536">
                  <c:v>49.548387096774192</c:v>
                </c:pt>
                <c:pt idx="537">
                  <c:v>49.677419354838712</c:v>
                </c:pt>
                <c:pt idx="538">
                  <c:v>49.935483870967744</c:v>
                </c:pt>
                <c:pt idx="539">
                  <c:v>49.741935483870968</c:v>
                </c:pt>
                <c:pt idx="540">
                  <c:v>49.87096774193548</c:v>
                </c:pt>
                <c:pt idx="541">
                  <c:v>50.096774193548384</c:v>
                </c:pt>
                <c:pt idx="542">
                  <c:v>49.903225806451616</c:v>
                </c:pt>
                <c:pt idx="543">
                  <c:v>49.838709677419352</c:v>
                </c:pt>
                <c:pt idx="544">
                  <c:v>49.741935483870968</c:v>
                </c:pt>
                <c:pt idx="545">
                  <c:v>49.70967741935484</c:v>
                </c:pt>
                <c:pt idx="546">
                  <c:v>49.677419354838712</c:v>
                </c:pt>
                <c:pt idx="547">
                  <c:v>49.645161290322584</c:v>
                </c:pt>
                <c:pt idx="548">
                  <c:v>49.935483870967744</c:v>
                </c:pt>
                <c:pt idx="549">
                  <c:v>49.838709677419352</c:v>
                </c:pt>
                <c:pt idx="550">
                  <c:v>49.935483870967744</c:v>
                </c:pt>
                <c:pt idx="551">
                  <c:v>49.741935483870968</c:v>
                </c:pt>
                <c:pt idx="552">
                  <c:v>49.58064516129032</c:v>
                </c:pt>
                <c:pt idx="553">
                  <c:v>49.612903225806448</c:v>
                </c:pt>
                <c:pt idx="554">
                  <c:v>49.612903225806448</c:v>
                </c:pt>
                <c:pt idx="555">
                  <c:v>49.741935483870968</c:v>
                </c:pt>
                <c:pt idx="556">
                  <c:v>49.645161290322584</c:v>
                </c:pt>
                <c:pt idx="557">
                  <c:v>49.741935483870968</c:v>
                </c:pt>
                <c:pt idx="558">
                  <c:v>49.741935483870968</c:v>
                </c:pt>
                <c:pt idx="559">
                  <c:v>49.903225806451616</c:v>
                </c:pt>
                <c:pt idx="560">
                  <c:v>49.935483870967744</c:v>
                </c:pt>
                <c:pt idx="561">
                  <c:v>50.12903225806452</c:v>
                </c:pt>
                <c:pt idx="562">
                  <c:v>50.096774193548384</c:v>
                </c:pt>
                <c:pt idx="563">
                  <c:v>50.064516129032256</c:v>
                </c:pt>
                <c:pt idx="564">
                  <c:v>49.87096774193548</c:v>
                </c:pt>
                <c:pt idx="565">
                  <c:v>49.838709677419352</c:v>
                </c:pt>
                <c:pt idx="566">
                  <c:v>49.87096774193548</c:v>
                </c:pt>
                <c:pt idx="567">
                  <c:v>49.967741935483872</c:v>
                </c:pt>
                <c:pt idx="568">
                  <c:v>49.935483870967744</c:v>
                </c:pt>
                <c:pt idx="569">
                  <c:v>49.838709677419352</c:v>
                </c:pt>
                <c:pt idx="570">
                  <c:v>50.096774193548384</c:v>
                </c:pt>
                <c:pt idx="571">
                  <c:v>50.12903225806452</c:v>
                </c:pt>
                <c:pt idx="572">
                  <c:v>50.064516129032256</c:v>
                </c:pt>
                <c:pt idx="573">
                  <c:v>50.161290322580648</c:v>
                </c:pt>
                <c:pt idx="574">
                  <c:v>50.258064516129032</c:v>
                </c:pt>
                <c:pt idx="575">
                  <c:v>50.225806451612904</c:v>
                </c:pt>
                <c:pt idx="576">
                  <c:v>50.322580645161288</c:v>
                </c:pt>
                <c:pt idx="577">
                  <c:v>50.096774193548384</c:v>
                </c:pt>
                <c:pt idx="578">
                  <c:v>50.12903225806452</c:v>
                </c:pt>
                <c:pt idx="579">
                  <c:v>49.935483870967744</c:v>
                </c:pt>
                <c:pt idx="580">
                  <c:v>50.032258064516128</c:v>
                </c:pt>
                <c:pt idx="581">
                  <c:v>49.87096774193548</c:v>
                </c:pt>
                <c:pt idx="582">
                  <c:v>49.967741935483872</c:v>
                </c:pt>
                <c:pt idx="583">
                  <c:v>50.032258064516128</c:v>
                </c:pt>
                <c:pt idx="584">
                  <c:v>49.935483870967744</c:v>
                </c:pt>
                <c:pt idx="585">
                  <c:v>49.87096774193548</c:v>
                </c:pt>
                <c:pt idx="586">
                  <c:v>50</c:v>
                </c:pt>
                <c:pt idx="587">
                  <c:v>50.032258064516128</c:v>
                </c:pt>
                <c:pt idx="588">
                  <c:v>50.193548387096776</c:v>
                </c:pt>
                <c:pt idx="589">
                  <c:v>50.354838709677416</c:v>
                </c:pt>
                <c:pt idx="590">
                  <c:v>50.225806451612904</c:v>
                </c:pt>
                <c:pt idx="591">
                  <c:v>50.161290322580648</c:v>
                </c:pt>
                <c:pt idx="592">
                  <c:v>50</c:v>
                </c:pt>
                <c:pt idx="593">
                  <c:v>50.096774193548384</c:v>
                </c:pt>
                <c:pt idx="594">
                  <c:v>50.258064516129032</c:v>
                </c:pt>
                <c:pt idx="595">
                  <c:v>50.387096774193552</c:v>
                </c:pt>
                <c:pt idx="596">
                  <c:v>50.29032258064516</c:v>
                </c:pt>
                <c:pt idx="597">
                  <c:v>50.29032258064516</c:v>
                </c:pt>
                <c:pt idx="598">
                  <c:v>50.387096774193552</c:v>
                </c:pt>
                <c:pt idx="599">
                  <c:v>50.161290322580648</c:v>
                </c:pt>
                <c:pt idx="600">
                  <c:v>50.225806451612904</c:v>
                </c:pt>
                <c:pt idx="601">
                  <c:v>50.096774193548384</c:v>
                </c:pt>
                <c:pt idx="602">
                  <c:v>50.064516129032256</c:v>
                </c:pt>
                <c:pt idx="603">
                  <c:v>50.064516129032256</c:v>
                </c:pt>
                <c:pt idx="604">
                  <c:v>50.193548387096776</c:v>
                </c:pt>
                <c:pt idx="605">
                  <c:v>50.258064516129032</c:v>
                </c:pt>
                <c:pt idx="606">
                  <c:v>50.41935483870968</c:v>
                </c:pt>
                <c:pt idx="607">
                  <c:v>50.483870967741936</c:v>
                </c:pt>
                <c:pt idx="608">
                  <c:v>50.741935483870968</c:v>
                </c:pt>
                <c:pt idx="609">
                  <c:v>50.903225806451616</c:v>
                </c:pt>
                <c:pt idx="610">
                  <c:v>51.032258064516128</c:v>
                </c:pt>
                <c:pt idx="611">
                  <c:v>51.161290322580648</c:v>
                </c:pt>
                <c:pt idx="612">
                  <c:v>51.29032258064516</c:v>
                </c:pt>
                <c:pt idx="613">
                  <c:v>51.387096774193552</c:v>
                </c:pt>
                <c:pt idx="614">
                  <c:v>51.451612903225808</c:v>
                </c:pt>
                <c:pt idx="615">
                  <c:v>51.548387096774192</c:v>
                </c:pt>
                <c:pt idx="616">
                  <c:v>51.838709677419352</c:v>
                </c:pt>
                <c:pt idx="617">
                  <c:v>51.806451612903224</c:v>
                </c:pt>
                <c:pt idx="618">
                  <c:v>51.838709677419352</c:v>
                </c:pt>
                <c:pt idx="619">
                  <c:v>51.838709677419352</c:v>
                </c:pt>
                <c:pt idx="620">
                  <c:v>51.903225806451616</c:v>
                </c:pt>
                <c:pt idx="621">
                  <c:v>52.096774193548384</c:v>
                </c:pt>
                <c:pt idx="622">
                  <c:v>52.096774193548384</c:v>
                </c:pt>
                <c:pt idx="623">
                  <c:v>52.354838709677416</c:v>
                </c:pt>
                <c:pt idx="624">
                  <c:v>52.483870967741936</c:v>
                </c:pt>
                <c:pt idx="625">
                  <c:v>52.483870967741936</c:v>
                </c:pt>
                <c:pt idx="626">
                  <c:v>52.645161290322584</c:v>
                </c:pt>
                <c:pt idx="627">
                  <c:v>52.967741935483872</c:v>
                </c:pt>
                <c:pt idx="628">
                  <c:v>52.87096774193548</c:v>
                </c:pt>
                <c:pt idx="629">
                  <c:v>52.838709677419352</c:v>
                </c:pt>
                <c:pt idx="630">
                  <c:v>53.096774193548384</c:v>
                </c:pt>
                <c:pt idx="631">
                  <c:v>53.032258064516128</c:v>
                </c:pt>
                <c:pt idx="632">
                  <c:v>53.193548387096776</c:v>
                </c:pt>
                <c:pt idx="633">
                  <c:v>53.225806451612904</c:v>
                </c:pt>
                <c:pt idx="634">
                  <c:v>53.29032258064516</c:v>
                </c:pt>
                <c:pt idx="635">
                  <c:v>53.322580645161288</c:v>
                </c:pt>
                <c:pt idx="636">
                  <c:v>53.322580645161288</c:v>
                </c:pt>
                <c:pt idx="637">
                  <c:v>53.322580645161288</c:v>
                </c:pt>
                <c:pt idx="638">
                  <c:v>53.41935483870968</c:v>
                </c:pt>
                <c:pt idx="639">
                  <c:v>53.354838709677416</c:v>
                </c:pt>
                <c:pt idx="640">
                  <c:v>53.451612903225808</c:v>
                </c:pt>
                <c:pt idx="641">
                  <c:v>53.516129032258064</c:v>
                </c:pt>
                <c:pt idx="642">
                  <c:v>53.58064516129032</c:v>
                </c:pt>
                <c:pt idx="643">
                  <c:v>53.645161290322584</c:v>
                </c:pt>
                <c:pt idx="644">
                  <c:v>53.70967741935484</c:v>
                </c:pt>
                <c:pt idx="645">
                  <c:v>53.70967741935484</c:v>
                </c:pt>
                <c:pt idx="646">
                  <c:v>53.387096774193552</c:v>
                </c:pt>
                <c:pt idx="647">
                  <c:v>53.225806451612904</c:v>
                </c:pt>
                <c:pt idx="648">
                  <c:v>53.193548387096776</c:v>
                </c:pt>
                <c:pt idx="649">
                  <c:v>53.064516129032256</c:v>
                </c:pt>
                <c:pt idx="650">
                  <c:v>53.032258064516128</c:v>
                </c:pt>
                <c:pt idx="651">
                  <c:v>52.774193548387096</c:v>
                </c:pt>
                <c:pt idx="652">
                  <c:v>52.58064516129032</c:v>
                </c:pt>
                <c:pt idx="653">
                  <c:v>52.645161290322584</c:v>
                </c:pt>
                <c:pt idx="654">
                  <c:v>52.58064516129032</c:v>
                </c:pt>
                <c:pt idx="655">
                  <c:v>52.516129032258064</c:v>
                </c:pt>
                <c:pt idx="656">
                  <c:v>52.483870967741936</c:v>
                </c:pt>
                <c:pt idx="657">
                  <c:v>52.258064516129032</c:v>
                </c:pt>
                <c:pt idx="658">
                  <c:v>52</c:v>
                </c:pt>
                <c:pt idx="659">
                  <c:v>51.838709677419352</c:v>
                </c:pt>
                <c:pt idx="660">
                  <c:v>51.838709677419352</c:v>
                </c:pt>
                <c:pt idx="661">
                  <c:v>51.774193548387096</c:v>
                </c:pt>
                <c:pt idx="662">
                  <c:v>51.677419354838712</c:v>
                </c:pt>
                <c:pt idx="663">
                  <c:v>51.516129032258064</c:v>
                </c:pt>
                <c:pt idx="664">
                  <c:v>51.451612903225808</c:v>
                </c:pt>
                <c:pt idx="665">
                  <c:v>51.354838709677416</c:v>
                </c:pt>
                <c:pt idx="666">
                  <c:v>51.193548387096776</c:v>
                </c:pt>
                <c:pt idx="667">
                  <c:v>51.12903225806452</c:v>
                </c:pt>
                <c:pt idx="668">
                  <c:v>51.161290322580648</c:v>
                </c:pt>
                <c:pt idx="669">
                  <c:v>51.096774193548384</c:v>
                </c:pt>
                <c:pt idx="670">
                  <c:v>50.838709677419352</c:v>
                </c:pt>
                <c:pt idx="671">
                  <c:v>50.516129032258064</c:v>
                </c:pt>
                <c:pt idx="672">
                  <c:v>50.225806451612904</c:v>
                </c:pt>
                <c:pt idx="673">
                  <c:v>50</c:v>
                </c:pt>
                <c:pt idx="674">
                  <c:v>49.87096774193548</c:v>
                </c:pt>
                <c:pt idx="675">
                  <c:v>49.612903225806448</c:v>
                </c:pt>
                <c:pt idx="676">
                  <c:v>49.387096774193552</c:v>
                </c:pt>
                <c:pt idx="677">
                  <c:v>49.387096774193552</c:v>
                </c:pt>
                <c:pt idx="678">
                  <c:v>49.322580645161288</c:v>
                </c:pt>
                <c:pt idx="679">
                  <c:v>49.12903225806452</c:v>
                </c:pt>
                <c:pt idx="680">
                  <c:v>49.064516129032256</c:v>
                </c:pt>
                <c:pt idx="681">
                  <c:v>49.032258064516128</c:v>
                </c:pt>
                <c:pt idx="682">
                  <c:v>49.322580645161288</c:v>
                </c:pt>
                <c:pt idx="683">
                  <c:v>49.516129032258064</c:v>
                </c:pt>
                <c:pt idx="684">
                  <c:v>49.516129032258064</c:v>
                </c:pt>
                <c:pt idx="685">
                  <c:v>49.483870967741936</c:v>
                </c:pt>
                <c:pt idx="686">
                  <c:v>49.225806451612904</c:v>
                </c:pt>
                <c:pt idx="687">
                  <c:v>49.225806451612904</c:v>
                </c:pt>
                <c:pt idx="688">
                  <c:v>49.387096774193552</c:v>
                </c:pt>
                <c:pt idx="689">
                  <c:v>49.483870967741936</c:v>
                </c:pt>
                <c:pt idx="690">
                  <c:v>49.70967741935484</c:v>
                </c:pt>
                <c:pt idx="691">
                  <c:v>49.58064516129032</c:v>
                </c:pt>
                <c:pt idx="692">
                  <c:v>49.41935483870968</c:v>
                </c:pt>
                <c:pt idx="693">
                  <c:v>49.322580645161288</c:v>
                </c:pt>
                <c:pt idx="694">
                  <c:v>49.387096774193552</c:v>
                </c:pt>
                <c:pt idx="695">
                  <c:v>49.516129032258064</c:v>
                </c:pt>
                <c:pt idx="696">
                  <c:v>49.548387096774192</c:v>
                </c:pt>
                <c:pt idx="697">
                  <c:v>49.612903225806448</c:v>
                </c:pt>
                <c:pt idx="698">
                  <c:v>49.516129032258064</c:v>
                </c:pt>
                <c:pt idx="699">
                  <c:v>49.225806451612904</c:v>
                </c:pt>
                <c:pt idx="700">
                  <c:v>49.096774193548384</c:v>
                </c:pt>
                <c:pt idx="701">
                  <c:v>49.193548387096776</c:v>
                </c:pt>
                <c:pt idx="702">
                  <c:v>49.322580645161288</c:v>
                </c:pt>
                <c:pt idx="703">
                  <c:v>49.41935483870968</c:v>
                </c:pt>
                <c:pt idx="704">
                  <c:v>49.41935483870968</c:v>
                </c:pt>
                <c:pt idx="705">
                  <c:v>49.483870967741936</c:v>
                </c:pt>
                <c:pt idx="706">
                  <c:v>49.70967741935484</c:v>
                </c:pt>
                <c:pt idx="707">
                  <c:v>49.838709677419352</c:v>
                </c:pt>
                <c:pt idx="708">
                  <c:v>50</c:v>
                </c:pt>
                <c:pt idx="709">
                  <c:v>50.161290322580648</c:v>
                </c:pt>
                <c:pt idx="710">
                  <c:v>50.161290322580648</c:v>
                </c:pt>
                <c:pt idx="711">
                  <c:v>50.12903225806452</c:v>
                </c:pt>
                <c:pt idx="712">
                  <c:v>50</c:v>
                </c:pt>
                <c:pt idx="713">
                  <c:v>50.032258064516128</c:v>
                </c:pt>
                <c:pt idx="714">
                  <c:v>49.838709677419352</c:v>
                </c:pt>
                <c:pt idx="715">
                  <c:v>49.838709677419352</c:v>
                </c:pt>
                <c:pt idx="716">
                  <c:v>49.741935483870968</c:v>
                </c:pt>
                <c:pt idx="717">
                  <c:v>50</c:v>
                </c:pt>
                <c:pt idx="718">
                  <c:v>49.806451612903224</c:v>
                </c:pt>
                <c:pt idx="719">
                  <c:v>49.87096774193548</c:v>
                </c:pt>
                <c:pt idx="720">
                  <c:v>49.741935483870968</c:v>
                </c:pt>
                <c:pt idx="721">
                  <c:v>49.612903225806448</c:v>
                </c:pt>
                <c:pt idx="722">
                  <c:v>49.741935483870968</c:v>
                </c:pt>
                <c:pt idx="723">
                  <c:v>49.87096774193548</c:v>
                </c:pt>
                <c:pt idx="724">
                  <c:v>50.064516129032256</c:v>
                </c:pt>
                <c:pt idx="725">
                  <c:v>50.12903225806452</c:v>
                </c:pt>
                <c:pt idx="726">
                  <c:v>49.967741935483872</c:v>
                </c:pt>
                <c:pt idx="727">
                  <c:v>49.903225806451616</c:v>
                </c:pt>
                <c:pt idx="728">
                  <c:v>49.935483870967744</c:v>
                </c:pt>
                <c:pt idx="729">
                  <c:v>49.87096774193548</c:v>
                </c:pt>
                <c:pt idx="730">
                  <c:v>50.032258064516128</c:v>
                </c:pt>
                <c:pt idx="731">
                  <c:v>50.12903225806452</c:v>
                </c:pt>
                <c:pt idx="732">
                  <c:v>50.193548387096776</c:v>
                </c:pt>
                <c:pt idx="733">
                  <c:v>50.064516129032256</c:v>
                </c:pt>
                <c:pt idx="734">
                  <c:v>49.935483870967744</c:v>
                </c:pt>
                <c:pt idx="735">
                  <c:v>50</c:v>
                </c:pt>
                <c:pt idx="736">
                  <c:v>49.903225806451616</c:v>
                </c:pt>
                <c:pt idx="737">
                  <c:v>49.903225806451616</c:v>
                </c:pt>
                <c:pt idx="738">
                  <c:v>49.87096774193548</c:v>
                </c:pt>
                <c:pt idx="739">
                  <c:v>49.741935483870968</c:v>
                </c:pt>
                <c:pt idx="740">
                  <c:v>49.58064516129032</c:v>
                </c:pt>
                <c:pt idx="741">
                  <c:v>49.806451612903224</c:v>
                </c:pt>
                <c:pt idx="742">
                  <c:v>49.87096774193548</c:v>
                </c:pt>
                <c:pt idx="743">
                  <c:v>49.967741935483872</c:v>
                </c:pt>
                <c:pt idx="744">
                  <c:v>49.677419354838712</c:v>
                </c:pt>
                <c:pt idx="745">
                  <c:v>49.774193548387096</c:v>
                </c:pt>
                <c:pt idx="746">
                  <c:v>49.58064516129032</c:v>
                </c:pt>
                <c:pt idx="747">
                  <c:v>49.516129032258064</c:v>
                </c:pt>
                <c:pt idx="748">
                  <c:v>49.354838709677416</c:v>
                </c:pt>
                <c:pt idx="749">
                  <c:v>49.516129032258064</c:v>
                </c:pt>
                <c:pt idx="750">
                  <c:v>49.225806451612904</c:v>
                </c:pt>
                <c:pt idx="751">
                  <c:v>49.483870967741936</c:v>
                </c:pt>
                <c:pt idx="752">
                  <c:v>49.354838709677416</c:v>
                </c:pt>
                <c:pt idx="753">
                  <c:v>49.193548387096776</c:v>
                </c:pt>
                <c:pt idx="754">
                  <c:v>49.096774193548384</c:v>
                </c:pt>
                <c:pt idx="755">
                  <c:v>49.096774193548384</c:v>
                </c:pt>
                <c:pt idx="756">
                  <c:v>48.87096774193548</c:v>
                </c:pt>
                <c:pt idx="757">
                  <c:v>48.903225806451616</c:v>
                </c:pt>
                <c:pt idx="758">
                  <c:v>49</c:v>
                </c:pt>
                <c:pt idx="759">
                  <c:v>48.806451612903224</c:v>
                </c:pt>
                <c:pt idx="760">
                  <c:v>48.967741935483872</c:v>
                </c:pt>
                <c:pt idx="761">
                  <c:v>48.838709677419352</c:v>
                </c:pt>
                <c:pt idx="762">
                  <c:v>48.612903225806448</c:v>
                </c:pt>
                <c:pt idx="763">
                  <c:v>48.677419354838712</c:v>
                </c:pt>
                <c:pt idx="764">
                  <c:v>48.774193548387096</c:v>
                </c:pt>
                <c:pt idx="765">
                  <c:v>49</c:v>
                </c:pt>
                <c:pt idx="766">
                  <c:v>49.161290322580648</c:v>
                </c:pt>
                <c:pt idx="767">
                  <c:v>49.064516129032256</c:v>
                </c:pt>
                <c:pt idx="768">
                  <c:v>48.838709677419352</c:v>
                </c:pt>
                <c:pt idx="769">
                  <c:v>49.032258064516128</c:v>
                </c:pt>
                <c:pt idx="770">
                  <c:v>49.322580645161288</c:v>
                </c:pt>
                <c:pt idx="771">
                  <c:v>49.354838709677416</c:v>
                </c:pt>
                <c:pt idx="772">
                  <c:v>49.12903225806452</c:v>
                </c:pt>
                <c:pt idx="773">
                  <c:v>49.322580645161288</c:v>
                </c:pt>
                <c:pt idx="774">
                  <c:v>49.451612903225808</c:v>
                </c:pt>
                <c:pt idx="775">
                  <c:v>49.677419354838712</c:v>
                </c:pt>
                <c:pt idx="776">
                  <c:v>49.806451612903224</c:v>
                </c:pt>
                <c:pt idx="777">
                  <c:v>50</c:v>
                </c:pt>
                <c:pt idx="778">
                  <c:v>50.225806451612904</c:v>
                </c:pt>
                <c:pt idx="779">
                  <c:v>50.354838709677416</c:v>
                </c:pt>
                <c:pt idx="780">
                  <c:v>50.258064516129032</c:v>
                </c:pt>
                <c:pt idx="781">
                  <c:v>50.29032258064516</c:v>
                </c:pt>
                <c:pt idx="782">
                  <c:v>50.161290322580648</c:v>
                </c:pt>
                <c:pt idx="783">
                  <c:v>50.161290322580648</c:v>
                </c:pt>
                <c:pt idx="784">
                  <c:v>50.322580645161288</c:v>
                </c:pt>
                <c:pt idx="785">
                  <c:v>50.387096774193552</c:v>
                </c:pt>
                <c:pt idx="786">
                  <c:v>50.322580645161288</c:v>
                </c:pt>
                <c:pt idx="787">
                  <c:v>50.387096774193552</c:v>
                </c:pt>
                <c:pt idx="788">
                  <c:v>50.354838709677416</c:v>
                </c:pt>
                <c:pt idx="789">
                  <c:v>50.29032258064516</c:v>
                </c:pt>
                <c:pt idx="790">
                  <c:v>50.354838709677416</c:v>
                </c:pt>
                <c:pt idx="791">
                  <c:v>50.29032258064516</c:v>
                </c:pt>
                <c:pt idx="792">
                  <c:v>50.451612903225808</c:v>
                </c:pt>
                <c:pt idx="793">
                  <c:v>50.451612903225808</c:v>
                </c:pt>
                <c:pt idx="794">
                  <c:v>50.41935483870968</c:v>
                </c:pt>
                <c:pt idx="795">
                  <c:v>50.548387096774192</c:v>
                </c:pt>
                <c:pt idx="796">
                  <c:v>50.322580645161288</c:v>
                </c:pt>
                <c:pt idx="797">
                  <c:v>50.322580645161288</c:v>
                </c:pt>
                <c:pt idx="798">
                  <c:v>50.354838709677416</c:v>
                </c:pt>
                <c:pt idx="799">
                  <c:v>50.354838709677416</c:v>
                </c:pt>
                <c:pt idx="800">
                  <c:v>50.096774193548384</c:v>
                </c:pt>
                <c:pt idx="801">
                  <c:v>49.806451612903224</c:v>
                </c:pt>
                <c:pt idx="802">
                  <c:v>49.774193548387096</c:v>
                </c:pt>
                <c:pt idx="803">
                  <c:v>49.774193548387096</c:v>
                </c:pt>
                <c:pt idx="804">
                  <c:v>49.70967741935484</c:v>
                </c:pt>
                <c:pt idx="805">
                  <c:v>49.645161290322584</c:v>
                </c:pt>
                <c:pt idx="806">
                  <c:v>49.58064516129032</c:v>
                </c:pt>
                <c:pt idx="807">
                  <c:v>49.645161290322584</c:v>
                </c:pt>
                <c:pt idx="808">
                  <c:v>49.58064516129032</c:v>
                </c:pt>
                <c:pt idx="809">
                  <c:v>49.483870967741936</c:v>
                </c:pt>
                <c:pt idx="810">
                  <c:v>49.387096774193552</c:v>
                </c:pt>
                <c:pt idx="811">
                  <c:v>49.387096774193552</c:v>
                </c:pt>
                <c:pt idx="812">
                  <c:v>49.645161290322584</c:v>
                </c:pt>
                <c:pt idx="813">
                  <c:v>49.516129032258064</c:v>
                </c:pt>
                <c:pt idx="814">
                  <c:v>49.58064516129032</c:v>
                </c:pt>
                <c:pt idx="815">
                  <c:v>49.645161290322584</c:v>
                </c:pt>
                <c:pt idx="816">
                  <c:v>49.483870967741936</c:v>
                </c:pt>
                <c:pt idx="817">
                  <c:v>49.516129032258064</c:v>
                </c:pt>
                <c:pt idx="818">
                  <c:v>49.548387096774192</c:v>
                </c:pt>
                <c:pt idx="819">
                  <c:v>49.612903225806448</c:v>
                </c:pt>
                <c:pt idx="820">
                  <c:v>49.58064516129032</c:v>
                </c:pt>
                <c:pt idx="821">
                  <c:v>49.806451612903224</c:v>
                </c:pt>
                <c:pt idx="822">
                  <c:v>49.87096774193548</c:v>
                </c:pt>
                <c:pt idx="823">
                  <c:v>49.87096774193548</c:v>
                </c:pt>
                <c:pt idx="824">
                  <c:v>50</c:v>
                </c:pt>
                <c:pt idx="825">
                  <c:v>49.87096774193548</c:v>
                </c:pt>
                <c:pt idx="826">
                  <c:v>49.741935483870968</c:v>
                </c:pt>
                <c:pt idx="827">
                  <c:v>49.838709677419352</c:v>
                </c:pt>
                <c:pt idx="828">
                  <c:v>49.741935483870968</c:v>
                </c:pt>
                <c:pt idx="829">
                  <c:v>49.774193548387096</c:v>
                </c:pt>
                <c:pt idx="830">
                  <c:v>49.903225806451616</c:v>
                </c:pt>
                <c:pt idx="831">
                  <c:v>50.096774193548384</c:v>
                </c:pt>
                <c:pt idx="832">
                  <c:v>50.29032258064516</c:v>
                </c:pt>
                <c:pt idx="833">
                  <c:v>50.354838709677416</c:v>
                </c:pt>
                <c:pt idx="834">
                  <c:v>50.483870967741936</c:v>
                </c:pt>
                <c:pt idx="835">
                  <c:v>50.225806451612904</c:v>
                </c:pt>
                <c:pt idx="836">
                  <c:v>50.29032258064516</c:v>
                </c:pt>
                <c:pt idx="837">
                  <c:v>50.161290322580648</c:v>
                </c:pt>
                <c:pt idx="838">
                  <c:v>50.096774193548384</c:v>
                </c:pt>
                <c:pt idx="839">
                  <c:v>49.903225806451616</c:v>
                </c:pt>
                <c:pt idx="840">
                  <c:v>49.967741935483872</c:v>
                </c:pt>
                <c:pt idx="841">
                  <c:v>50.032258064516128</c:v>
                </c:pt>
                <c:pt idx="842">
                  <c:v>50.193548387096776</c:v>
                </c:pt>
                <c:pt idx="843">
                  <c:v>49.903225806451616</c:v>
                </c:pt>
                <c:pt idx="844">
                  <c:v>50</c:v>
                </c:pt>
                <c:pt idx="845">
                  <c:v>49.935483870967744</c:v>
                </c:pt>
                <c:pt idx="846">
                  <c:v>49.774193548387096</c:v>
                </c:pt>
                <c:pt idx="847">
                  <c:v>50.064516129032256</c:v>
                </c:pt>
                <c:pt idx="848">
                  <c:v>50.064516129032256</c:v>
                </c:pt>
                <c:pt idx="849">
                  <c:v>49.967741935483872</c:v>
                </c:pt>
                <c:pt idx="850">
                  <c:v>49.741935483870968</c:v>
                </c:pt>
                <c:pt idx="851">
                  <c:v>49.774193548387096</c:v>
                </c:pt>
                <c:pt idx="852">
                  <c:v>49.612903225806448</c:v>
                </c:pt>
                <c:pt idx="853">
                  <c:v>49.41935483870968</c:v>
                </c:pt>
                <c:pt idx="854">
                  <c:v>49.516129032258064</c:v>
                </c:pt>
                <c:pt idx="855">
                  <c:v>49.483870967741936</c:v>
                </c:pt>
                <c:pt idx="856">
                  <c:v>49.516129032258064</c:v>
                </c:pt>
                <c:pt idx="857">
                  <c:v>49.70967741935484</c:v>
                </c:pt>
                <c:pt idx="858">
                  <c:v>49.612903225806448</c:v>
                </c:pt>
                <c:pt idx="859">
                  <c:v>49.612903225806448</c:v>
                </c:pt>
                <c:pt idx="860">
                  <c:v>49.774193548387096</c:v>
                </c:pt>
                <c:pt idx="861">
                  <c:v>49.612903225806448</c:v>
                </c:pt>
                <c:pt idx="862">
                  <c:v>49.387096774193552</c:v>
                </c:pt>
                <c:pt idx="863">
                  <c:v>49.387096774193552</c:v>
                </c:pt>
                <c:pt idx="864">
                  <c:v>49.322580645161288</c:v>
                </c:pt>
                <c:pt idx="865">
                  <c:v>49.483870967741936</c:v>
                </c:pt>
                <c:pt idx="866">
                  <c:v>49.645161290322584</c:v>
                </c:pt>
                <c:pt idx="867">
                  <c:v>49.41935483870968</c:v>
                </c:pt>
                <c:pt idx="868">
                  <c:v>49.677419354838712</c:v>
                </c:pt>
                <c:pt idx="869">
                  <c:v>49.741935483870968</c:v>
                </c:pt>
                <c:pt idx="870">
                  <c:v>49.806451612903224</c:v>
                </c:pt>
                <c:pt idx="871">
                  <c:v>49.58064516129032</c:v>
                </c:pt>
                <c:pt idx="872">
                  <c:v>49.483870967741936</c:v>
                </c:pt>
                <c:pt idx="873">
                  <c:v>49.258064516129032</c:v>
                </c:pt>
                <c:pt idx="874">
                  <c:v>49.322580645161288</c:v>
                </c:pt>
                <c:pt idx="875">
                  <c:v>49.354838709677416</c:v>
                </c:pt>
                <c:pt idx="876">
                  <c:v>49.548387096774192</c:v>
                </c:pt>
                <c:pt idx="877">
                  <c:v>49.41935483870968</c:v>
                </c:pt>
                <c:pt idx="878">
                  <c:v>49.41935483870968</c:v>
                </c:pt>
                <c:pt idx="879">
                  <c:v>49.451612903225808</c:v>
                </c:pt>
                <c:pt idx="880">
                  <c:v>49.58064516129032</c:v>
                </c:pt>
                <c:pt idx="881">
                  <c:v>49.903225806451616</c:v>
                </c:pt>
                <c:pt idx="882">
                  <c:v>49.935483870967744</c:v>
                </c:pt>
                <c:pt idx="883">
                  <c:v>50.032258064516128</c:v>
                </c:pt>
                <c:pt idx="884">
                  <c:v>50.29032258064516</c:v>
                </c:pt>
                <c:pt idx="885">
                  <c:v>50.322580645161288</c:v>
                </c:pt>
                <c:pt idx="886">
                  <c:v>50.548387096774192</c:v>
                </c:pt>
                <c:pt idx="887">
                  <c:v>50.483870967741936</c:v>
                </c:pt>
                <c:pt idx="888">
                  <c:v>50.29032258064516</c:v>
                </c:pt>
                <c:pt idx="889">
                  <c:v>50.451612903225808</c:v>
                </c:pt>
                <c:pt idx="890">
                  <c:v>50.516129032258064</c:v>
                </c:pt>
                <c:pt idx="891">
                  <c:v>50.451612903225808</c:v>
                </c:pt>
                <c:pt idx="892">
                  <c:v>50.677419354838712</c:v>
                </c:pt>
                <c:pt idx="893">
                  <c:v>50.806451612903224</c:v>
                </c:pt>
                <c:pt idx="894">
                  <c:v>50.58064516129032</c:v>
                </c:pt>
                <c:pt idx="895">
                  <c:v>50.677419354838712</c:v>
                </c:pt>
                <c:pt idx="896">
                  <c:v>50.548387096774192</c:v>
                </c:pt>
                <c:pt idx="897">
                  <c:v>50.548387096774192</c:v>
                </c:pt>
                <c:pt idx="898">
                  <c:v>50.612903225806448</c:v>
                </c:pt>
                <c:pt idx="899">
                  <c:v>50.354838709677416</c:v>
                </c:pt>
                <c:pt idx="900">
                  <c:v>50.064516129032256</c:v>
                </c:pt>
                <c:pt idx="901">
                  <c:v>49.967741935483872</c:v>
                </c:pt>
                <c:pt idx="902">
                  <c:v>50</c:v>
                </c:pt>
                <c:pt idx="903">
                  <c:v>50.096774193548384</c:v>
                </c:pt>
                <c:pt idx="904">
                  <c:v>50.258064516129032</c:v>
                </c:pt>
                <c:pt idx="905">
                  <c:v>50.41935483870968</c:v>
                </c:pt>
                <c:pt idx="906">
                  <c:v>50.58064516129032</c:v>
                </c:pt>
                <c:pt idx="907">
                  <c:v>50.483870967741936</c:v>
                </c:pt>
                <c:pt idx="908">
                  <c:v>50.612903225806448</c:v>
                </c:pt>
                <c:pt idx="909">
                  <c:v>50.387096774193552</c:v>
                </c:pt>
                <c:pt idx="910">
                  <c:v>50.161290322580648</c:v>
                </c:pt>
                <c:pt idx="911">
                  <c:v>50.225806451612904</c:v>
                </c:pt>
                <c:pt idx="912">
                  <c:v>49.935483870967744</c:v>
                </c:pt>
                <c:pt idx="913">
                  <c:v>49.806451612903224</c:v>
                </c:pt>
                <c:pt idx="914">
                  <c:v>49.903225806451616</c:v>
                </c:pt>
                <c:pt idx="915">
                  <c:v>49.903225806451616</c:v>
                </c:pt>
                <c:pt idx="916">
                  <c:v>49.806451612903224</c:v>
                </c:pt>
                <c:pt idx="917">
                  <c:v>49.774193548387096</c:v>
                </c:pt>
                <c:pt idx="918">
                  <c:v>49.935483870967744</c:v>
                </c:pt>
                <c:pt idx="919">
                  <c:v>50</c:v>
                </c:pt>
                <c:pt idx="920">
                  <c:v>49.935483870967744</c:v>
                </c:pt>
                <c:pt idx="921">
                  <c:v>49.774193548387096</c:v>
                </c:pt>
                <c:pt idx="922">
                  <c:v>49.774193548387096</c:v>
                </c:pt>
                <c:pt idx="923">
                  <c:v>49.548387096774192</c:v>
                </c:pt>
                <c:pt idx="924">
                  <c:v>49.677419354838712</c:v>
                </c:pt>
                <c:pt idx="925">
                  <c:v>49.903225806451616</c:v>
                </c:pt>
                <c:pt idx="926">
                  <c:v>49.806451612903224</c:v>
                </c:pt>
                <c:pt idx="927">
                  <c:v>49.70967741935484</c:v>
                </c:pt>
                <c:pt idx="928">
                  <c:v>49.612903225806448</c:v>
                </c:pt>
                <c:pt idx="929">
                  <c:v>49.741935483870968</c:v>
                </c:pt>
                <c:pt idx="930">
                  <c:v>49.806451612903224</c:v>
                </c:pt>
                <c:pt idx="931">
                  <c:v>50.032258064516128</c:v>
                </c:pt>
                <c:pt idx="932">
                  <c:v>50.193548387096776</c:v>
                </c:pt>
                <c:pt idx="933">
                  <c:v>50.193548387096776</c:v>
                </c:pt>
                <c:pt idx="934">
                  <c:v>50.225806451612904</c:v>
                </c:pt>
                <c:pt idx="935">
                  <c:v>50.354838709677416</c:v>
                </c:pt>
                <c:pt idx="936">
                  <c:v>50.096774193548384</c:v>
                </c:pt>
                <c:pt idx="937">
                  <c:v>50.032258064516128</c:v>
                </c:pt>
                <c:pt idx="938">
                  <c:v>50.225806451612904</c:v>
                </c:pt>
                <c:pt idx="939">
                  <c:v>50.12903225806452</c:v>
                </c:pt>
                <c:pt idx="940">
                  <c:v>50.258064516129032</c:v>
                </c:pt>
                <c:pt idx="941">
                  <c:v>50.387096774193552</c:v>
                </c:pt>
                <c:pt idx="942">
                  <c:v>50.354838709677416</c:v>
                </c:pt>
                <c:pt idx="943">
                  <c:v>50.548387096774192</c:v>
                </c:pt>
                <c:pt idx="944">
                  <c:v>50.741935483870968</c:v>
                </c:pt>
                <c:pt idx="945">
                  <c:v>50.677419354838712</c:v>
                </c:pt>
                <c:pt idx="946">
                  <c:v>50.483870967741936</c:v>
                </c:pt>
                <c:pt idx="947">
                  <c:v>50.354838709677416</c:v>
                </c:pt>
                <c:pt idx="948">
                  <c:v>50.064516129032256</c:v>
                </c:pt>
                <c:pt idx="949">
                  <c:v>50.161290322580648</c:v>
                </c:pt>
                <c:pt idx="950">
                  <c:v>50.322580645161288</c:v>
                </c:pt>
                <c:pt idx="951">
                  <c:v>50.483870967741936</c:v>
                </c:pt>
                <c:pt idx="952">
                  <c:v>50.645161290322584</c:v>
                </c:pt>
                <c:pt idx="953">
                  <c:v>50.645161290322584</c:v>
                </c:pt>
                <c:pt idx="954">
                  <c:v>50.741935483870968</c:v>
                </c:pt>
                <c:pt idx="955">
                  <c:v>50.741935483870968</c:v>
                </c:pt>
                <c:pt idx="956">
                  <c:v>50.58064516129032</c:v>
                </c:pt>
                <c:pt idx="957">
                  <c:v>50.806451612903224</c:v>
                </c:pt>
                <c:pt idx="958">
                  <c:v>50.774193548387096</c:v>
                </c:pt>
                <c:pt idx="959">
                  <c:v>50.838709677419352</c:v>
                </c:pt>
                <c:pt idx="960">
                  <c:v>50.645161290322584</c:v>
                </c:pt>
                <c:pt idx="961">
                  <c:v>50.516129032258064</c:v>
                </c:pt>
                <c:pt idx="962">
                  <c:v>50.516129032258064</c:v>
                </c:pt>
                <c:pt idx="963">
                  <c:v>50.483870967741936</c:v>
                </c:pt>
                <c:pt idx="964">
                  <c:v>50.612903225806448</c:v>
                </c:pt>
                <c:pt idx="965">
                  <c:v>50.677419354838712</c:v>
                </c:pt>
                <c:pt idx="966">
                  <c:v>50.451612903225808</c:v>
                </c:pt>
                <c:pt idx="967">
                  <c:v>50.70967741935484</c:v>
                </c:pt>
                <c:pt idx="968">
                  <c:v>50.677419354838712</c:v>
                </c:pt>
                <c:pt idx="969">
                  <c:v>50.516129032258064</c:v>
                </c:pt>
                <c:pt idx="970">
                  <c:v>50.516129032258064</c:v>
                </c:pt>
                <c:pt idx="971">
                  <c:v>50.322580645161288</c:v>
                </c:pt>
                <c:pt idx="972">
                  <c:v>50.354838709677416</c:v>
                </c:pt>
                <c:pt idx="973">
                  <c:v>50.161290322580648</c:v>
                </c:pt>
                <c:pt idx="974">
                  <c:v>50.096774193548384</c:v>
                </c:pt>
                <c:pt idx="975">
                  <c:v>49.967741935483872</c:v>
                </c:pt>
                <c:pt idx="976">
                  <c:v>49.838709677419352</c:v>
                </c:pt>
                <c:pt idx="977">
                  <c:v>49.70967741935484</c:v>
                </c:pt>
                <c:pt idx="978">
                  <c:v>49.935483870967744</c:v>
                </c:pt>
                <c:pt idx="979">
                  <c:v>49.935483870967744</c:v>
                </c:pt>
                <c:pt idx="980">
                  <c:v>49.70967741935484</c:v>
                </c:pt>
                <c:pt idx="981">
                  <c:v>49.677419354838712</c:v>
                </c:pt>
                <c:pt idx="982">
                  <c:v>49.41935483870968</c:v>
                </c:pt>
                <c:pt idx="983">
                  <c:v>49.322580645161288</c:v>
                </c:pt>
                <c:pt idx="984">
                  <c:v>49.161290322580648</c:v>
                </c:pt>
                <c:pt idx="985">
                  <c:v>49.322580645161288</c:v>
                </c:pt>
                <c:pt idx="986">
                  <c:v>49.258064516129032</c:v>
                </c:pt>
                <c:pt idx="987">
                  <c:v>49.29032258064516</c:v>
                </c:pt>
                <c:pt idx="988">
                  <c:v>48.967741935483872</c:v>
                </c:pt>
                <c:pt idx="989">
                  <c:v>49.032258064516128</c:v>
                </c:pt>
                <c:pt idx="990">
                  <c:v>49.161290322580648</c:v>
                </c:pt>
                <c:pt idx="991">
                  <c:v>49.12903225806452</c:v>
                </c:pt>
                <c:pt idx="992">
                  <c:v>49.193548387096776</c:v>
                </c:pt>
                <c:pt idx="993">
                  <c:v>49.161290322580648</c:v>
                </c:pt>
                <c:pt idx="994">
                  <c:v>49.29032258064516</c:v>
                </c:pt>
                <c:pt idx="995">
                  <c:v>49.41935483870968</c:v>
                </c:pt>
                <c:pt idx="996">
                  <c:v>49.161290322580648</c:v>
                </c:pt>
                <c:pt idx="997">
                  <c:v>49.387096774193552</c:v>
                </c:pt>
                <c:pt idx="998">
                  <c:v>49.387096774193552</c:v>
                </c:pt>
                <c:pt idx="999">
                  <c:v>49.225806451612904</c:v>
                </c:pt>
                <c:pt idx="1000">
                  <c:v>49.322580645161288</c:v>
                </c:pt>
                <c:pt idx="1001">
                  <c:v>49.322580645161288</c:v>
                </c:pt>
                <c:pt idx="1002">
                  <c:v>49.548387096774192</c:v>
                </c:pt>
                <c:pt idx="1003">
                  <c:v>49.387096774193552</c:v>
                </c:pt>
                <c:pt idx="1004">
                  <c:v>49.483870967741936</c:v>
                </c:pt>
                <c:pt idx="1005">
                  <c:v>49.612903225806448</c:v>
                </c:pt>
                <c:pt idx="1006">
                  <c:v>49.741935483870968</c:v>
                </c:pt>
                <c:pt idx="1007">
                  <c:v>49.87096774193548</c:v>
                </c:pt>
                <c:pt idx="1008">
                  <c:v>49.935483870967744</c:v>
                </c:pt>
                <c:pt idx="1009">
                  <c:v>49.70967741935484</c:v>
                </c:pt>
                <c:pt idx="1010">
                  <c:v>49.70967741935484</c:v>
                </c:pt>
                <c:pt idx="1011">
                  <c:v>49.838709677419352</c:v>
                </c:pt>
                <c:pt idx="1012">
                  <c:v>49.612903225806448</c:v>
                </c:pt>
                <c:pt idx="1013">
                  <c:v>49.903225806451616</c:v>
                </c:pt>
                <c:pt idx="1014">
                  <c:v>49.741935483870968</c:v>
                </c:pt>
                <c:pt idx="1015">
                  <c:v>49.774193548387096</c:v>
                </c:pt>
                <c:pt idx="1016">
                  <c:v>49.806451612903224</c:v>
                </c:pt>
                <c:pt idx="1017">
                  <c:v>49.58064516129032</c:v>
                </c:pt>
                <c:pt idx="1018">
                  <c:v>49.741935483870968</c:v>
                </c:pt>
                <c:pt idx="1019">
                  <c:v>50.064516129032256</c:v>
                </c:pt>
                <c:pt idx="1020">
                  <c:v>50.29032258064516</c:v>
                </c:pt>
                <c:pt idx="1021">
                  <c:v>50.064516129032256</c:v>
                </c:pt>
                <c:pt idx="1022">
                  <c:v>50.064516129032256</c:v>
                </c:pt>
                <c:pt idx="1023">
                  <c:v>50.096774193548384</c:v>
                </c:pt>
                <c:pt idx="1024">
                  <c:v>50</c:v>
                </c:pt>
                <c:pt idx="1025">
                  <c:v>50.032258064516128</c:v>
                </c:pt>
                <c:pt idx="1026">
                  <c:v>50</c:v>
                </c:pt>
                <c:pt idx="1027">
                  <c:v>50.258064516129032</c:v>
                </c:pt>
                <c:pt idx="1028">
                  <c:v>50.193548387096776</c:v>
                </c:pt>
                <c:pt idx="1029">
                  <c:v>50.12903225806452</c:v>
                </c:pt>
                <c:pt idx="1030">
                  <c:v>50.161290322580648</c:v>
                </c:pt>
                <c:pt idx="1031">
                  <c:v>50.096774193548384</c:v>
                </c:pt>
                <c:pt idx="1032">
                  <c:v>50.258064516129032</c:v>
                </c:pt>
                <c:pt idx="1033">
                  <c:v>50.354838709677416</c:v>
                </c:pt>
                <c:pt idx="1034">
                  <c:v>50.387096774193552</c:v>
                </c:pt>
                <c:pt idx="1035">
                  <c:v>50.29032258064516</c:v>
                </c:pt>
                <c:pt idx="1036">
                  <c:v>50.29032258064516</c:v>
                </c:pt>
                <c:pt idx="1037">
                  <c:v>50.161290322580648</c:v>
                </c:pt>
                <c:pt idx="1038">
                  <c:v>50.096774193548384</c:v>
                </c:pt>
                <c:pt idx="1039">
                  <c:v>50.096774193548384</c:v>
                </c:pt>
                <c:pt idx="1040">
                  <c:v>50.322580645161288</c:v>
                </c:pt>
                <c:pt idx="1041">
                  <c:v>50.58064516129032</c:v>
                </c:pt>
                <c:pt idx="1042">
                  <c:v>50.70967741935484</c:v>
                </c:pt>
                <c:pt idx="1043">
                  <c:v>50.903225806451616</c:v>
                </c:pt>
                <c:pt idx="1044">
                  <c:v>50.903225806451616</c:v>
                </c:pt>
                <c:pt idx="1045">
                  <c:v>51.12903225806452</c:v>
                </c:pt>
                <c:pt idx="1046">
                  <c:v>51.322580645161288</c:v>
                </c:pt>
                <c:pt idx="1047">
                  <c:v>51.258064516129032</c:v>
                </c:pt>
                <c:pt idx="1048">
                  <c:v>51.548387096774192</c:v>
                </c:pt>
                <c:pt idx="1049">
                  <c:v>51.548387096774192</c:v>
                </c:pt>
                <c:pt idx="1050">
                  <c:v>51.516129032258064</c:v>
                </c:pt>
                <c:pt idx="1051">
                  <c:v>51.451612903225808</c:v>
                </c:pt>
                <c:pt idx="1052">
                  <c:v>51.677419354838712</c:v>
                </c:pt>
                <c:pt idx="1053">
                  <c:v>51.838709677419352</c:v>
                </c:pt>
                <c:pt idx="1054">
                  <c:v>52.032258064516128</c:v>
                </c:pt>
                <c:pt idx="1055">
                  <c:v>52.161290322580648</c:v>
                </c:pt>
                <c:pt idx="1056">
                  <c:v>52.096774193548384</c:v>
                </c:pt>
                <c:pt idx="1057">
                  <c:v>52.064516129032256</c:v>
                </c:pt>
                <c:pt idx="1058">
                  <c:v>52.032258064516128</c:v>
                </c:pt>
                <c:pt idx="1059">
                  <c:v>52.064516129032256</c:v>
                </c:pt>
                <c:pt idx="1060">
                  <c:v>52.096774193548384</c:v>
                </c:pt>
                <c:pt idx="1061">
                  <c:v>52.29032258064516</c:v>
                </c:pt>
                <c:pt idx="1062">
                  <c:v>52.387096774193552</c:v>
                </c:pt>
                <c:pt idx="1063">
                  <c:v>52.41935483870968</c:v>
                </c:pt>
                <c:pt idx="1064">
                  <c:v>52.41935483870968</c:v>
                </c:pt>
                <c:pt idx="1065">
                  <c:v>52.645161290322584</c:v>
                </c:pt>
                <c:pt idx="1066">
                  <c:v>52.903225806451616</c:v>
                </c:pt>
                <c:pt idx="1067">
                  <c:v>52.903225806451616</c:v>
                </c:pt>
                <c:pt idx="1068">
                  <c:v>52.967741935483872</c:v>
                </c:pt>
                <c:pt idx="1069">
                  <c:v>53.064516129032256</c:v>
                </c:pt>
                <c:pt idx="1070">
                  <c:v>53.225806451612904</c:v>
                </c:pt>
                <c:pt idx="1071">
                  <c:v>53.225806451612904</c:v>
                </c:pt>
                <c:pt idx="1072">
                  <c:v>53.193548387096776</c:v>
                </c:pt>
                <c:pt idx="1073">
                  <c:v>53.12903225806452</c:v>
                </c:pt>
                <c:pt idx="1074">
                  <c:v>53.12903225806452</c:v>
                </c:pt>
                <c:pt idx="1075">
                  <c:v>53.096774193548384</c:v>
                </c:pt>
                <c:pt idx="1076">
                  <c:v>53.096774193548384</c:v>
                </c:pt>
                <c:pt idx="1077">
                  <c:v>53.161290322580648</c:v>
                </c:pt>
                <c:pt idx="1078">
                  <c:v>53.161290322580648</c:v>
                </c:pt>
                <c:pt idx="1079">
                  <c:v>53.096774193548384</c:v>
                </c:pt>
                <c:pt idx="1080">
                  <c:v>53.096774193548384</c:v>
                </c:pt>
                <c:pt idx="1081">
                  <c:v>53.096774193548384</c:v>
                </c:pt>
                <c:pt idx="1082">
                  <c:v>53.12903225806452</c:v>
                </c:pt>
                <c:pt idx="1083">
                  <c:v>53.12903225806452</c:v>
                </c:pt>
                <c:pt idx="1084">
                  <c:v>52.935483870967744</c:v>
                </c:pt>
                <c:pt idx="1085">
                  <c:v>52.903225806451616</c:v>
                </c:pt>
                <c:pt idx="1086">
                  <c:v>52.677419354838712</c:v>
                </c:pt>
                <c:pt idx="1087">
                  <c:v>52.548387096774192</c:v>
                </c:pt>
                <c:pt idx="1088">
                  <c:v>52.387096774193552</c:v>
                </c:pt>
                <c:pt idx="1089">
                  <c:v>52.29032258064516</c:v>
                </c:pt>
                <c:pt idx="1090">
                  <c:v>52.258064516129032</c:v>
                </c:pt>
                <c:pt idx="1091">
                  <c:v>52.354838709677416</c:v>
                </c:pt>
                <c:pt idx="1092">
                  <c:v>52.096774193548384</c:v>
                </c:pt>
                <c:pt idx="1093">
                  <c:v>52.032258064516128</c:v>
                </c:pt>
                <c:pt idx="1094">
                  <c:v>52.064516129032256</c:v>
                </c:pt>
                <c:pt idx="1095">
                  <c:v>51.967741935483872</c:v>
                </c:pt>
                <c:pt idx="1096">
                  <c:v>51.806451612903224</c:v>
                </c:pt>
                <c:pt idx="1097">
                  <c:v>51.70967741935484</c:v>
                </c:pt>
                <c:pt idx="1098">
                  <c:v>51.516129032258064</c:v>
                </c:pt>
                <c:pt idx="1099">
                  <c:v>51.41935483870968</c:v>
                </c:pt>
                <c:pt idx="1100">
                  <c:v>51.193548387096776</c:v>
                </c:pt>
                <c:pt idx="1101">
                  <c:v>51.29032258064516</c:v>
                </c:pt>
                <c:pt idx="1102">
                  <c:v>51.032258064516128</c:v>
                </c:pt>
                <c:pt idx="1103">
                  <c:v>50.903225806451616</c:v>
                </c:pt>
                <c:pt idx="1104">
                  <c:v>50.935483870967744</c:v>
                </c:pt>
                <c:pt idx="1105">
                  <c:v>50.87096774193548</c:v>
                </c:pt>
                <c:pt idx="1106">
                  <c:v>50.774193548387096</c:v>
                </c:pt>
                <c:pt idx="1107">
                  <c:v>50.838709677419352</c:v>
                </c:pt>
                <c:pt idx="1108">
                  <c:v>50.516129032258064</c:v>
                </c:pt>
                <c:pt idx="1109">
                  <c:v>50.29032258064516</c:v>
                </c:pt>
                <c:pt idx="1110">
                  <c:v>50.322580645161288</c:v>
                </c:pt>
                <c:pt idx="1111">
                  <c:v>50.387096774193552</c:v>
                </c:pt>
                <c:pt idx="1112">
                  <c:v>50.322580645161288</c:v>
                </c:pt>
                <c:pt idx="1113">
                  <c:v>50.161290322580648</c:v>
                </c:pt>
                <c:pt idx="1114">
                  <c:v>50.096774193548384</c:v>
                </c:pt>
                <c:pt idx="1115">
                  <c:v>50.387096774193552</c:v>
                </c:pt>
                <c:pt idx="1116">
                  <c:v>50.354838709677416</c:v>
                </c:pt>
                <c:pt idx="1117">
                  <c:v>50.612903225806448</c:v>
                </c:pt>
                <c:pt idx="1118">
                  <c:v>50.741935483870968</c:v>
                </c:pt>
                <c:pt idx="1119">
                  <c:v>50.967741935483872</c:v>
                </c:pt>
                <c:pt idx="1120">
                  <c:v>51.064516129032256</c:v>
                </c:pt>
                <c:pt idx="1121">
                  <c:v>50.87096774193548</c:v>
                </c:pt>
                <c:pt idx="1122">
                  <c:v>50.87096774193548</c:v>
                </c:pt>
                <c:pt idx="1123">
                  <c:v>50.967741935483872</c:v>
                </c:pt>
                <c:pt idx="1124">
                  <c:v>51</c:v>
                </c:pt>
                <c:pt idx="1125">
                  <c:v>51</c:v>
                </c:pt>
                <c:pt idx="1126">
                  <c:v>50.967741935483872</c:v>
                </c:pt>
                <c:pt idx="1127">
                  <c:v>51.12903225806452</c:v>
                </c:pt>
                <c:pt idx="1128">
                  <c:v>51.161290322580648</c:v>
                </c:pt>
                <c:pt idx="1129">
                  <c:v>51.387096774193552</c:v>
                </c:pt>
                <c:pt idx="1130">
                  <c:v>51.29032258064516</c:v>
                </c:pt>
                <c:pt idx="1131">
                  <c:v>51.483870967741936</c:v>
                </c:pt>
                <c:pt idx="1132">
                  <c:v>51.29032258064516</c:v>
                </c:pt>
                <c:pt idx="1133">
                  <c:v>51.225806451612904</c:v>
                </c:pt>
                <c:pt idx="1134">
                  <c:v>51.41935483870968</c:v>
                </c:pt>
                <c:pt idx="1135">
                  <c:v>51.322580645161288</c:v>
                </c:pt>
                <c:pt idx="1136">
                  <c:v>51.354838709677416</c:v>
                </c:pt>
                <c:pt idx="1137">
                  <c:v>51.322580645161288</c:v>
                </c:pt>
                <c:pt idx="1138">
                  <c:v>51.354838709677416</c:v>
                </c:pt>
                <c:pt idx="1139">
                  <c:v>51.41935483870968</c:v>
                </c:pt>
                <c:pt idx="1140">
                  <c:v>51.741935483870968</c:v>
                </c:pt>
                <c:pt idx="1141">
                  <c:v>51.548387096774192</c:v>
                </c:pt>
                <c:pt idx="1142">
                  <c:v>51.41935483870968</c:v>
                </c:pt>
                <c:pt idx="1143">
                  <c:v>51.516129032258064</c:v>
                </c:pt>
                <c:pt idx="1144">
                  <c:v>51.41935483870968</c:v>
                </c:pt>
                <c:pt idx="1145">
                  <c:v>51.225806451612904</c:v>
                </c:pt>
                <c:pt idx="1146">
                  <c:v>51.161290322580648</c:v>
                </c:pt>
                <c:pt idx="1147">
                  <c:v>51.161290322580648</c:v>
                </c:pt>
                <c:pt idx="1148">
                  <c:v>50.87096774193548</c:v>
                </c:pt>
                <c:pt idx="1149">
                  <c:v>50.612903225806448</c:v>
                </c:pt>
                <c:pt idx="1150">
                  <c:v>50.483870967741936</c:v>
                </c:pt>
                <c:pt idx="1151">
                  <c:v>50.29032258064516</c:v>
                </c:pt>
                <c:pt idx="1152">
                  <c:v>50.516129032258064</c:v>
                </c:pt>
                <c:pt idx="1153">
                  <c:v>50.322580645161288</c:v>
                </c:pt>
                <c:pt idx="1154">
                  <c:v>50.258064516129032</c:v>
                </c:pt>
                <c:pt idx="1155">
                  <c:v>50.258064516129032</c:v>
                </c:pt>
                <c:pt idx="1156">
                  <c:v>50.032258064516128</c:v>
                </c:pt>
                <c:pt idx="1157">
                  <c:v>50.032258064516128</c:v>
                </c:pt>
                <c:pt idx="1158">
                  <c:v>50.096774193548384</c:v>
                </c:pt>
                <c:pt idx="1159">
                  <c:v>50.032258064516128</c:v>
                </c:pt>
                <c:pt idx="1160">
                  <c:v>49.838709677419352</c:v>
                </c:pt>
                <c:pt idx="1161">
                  <c:v>50.064516129032256</c:v>
                </c:pt>
                <c:pt idx="1162">
                  <c:v>50</c:v>
                </c:pt>
                <c:pt idx="1163">
                  <c:v>49.935483870967744</c:v>
                </c:pt>
                <c:pt idx="1164">
                  <c:v>49.935483870967744</c:v>
                </c:pt>
                <c:pt idx="1165">
                  <c:v>49.741935483870968</c:v>
                </c:pt>
                <c:pt idx="1166">
                  <c:v>49.838709677419352</c:v>
                </c:pt>
                <c:pt idx="1167">
                  <c:v>49.774193548387096</c:v>
                </c:pt>
                <c:pt idx="1168">
                  <c:v>49.645161290322584</c:v>
                </c:pt>
                <c:pt idx="1169">
                  <c:v>49.58064516129032</c:v>
                </c:pt>
                <c:pt idx="1170">
                  <c:v>49.645161290322584</c:v>
                </c:pt>
                <c:pt idx="1171">
                  <c:v>49.41935483870968</c:v>
                </c:pt>
                <c:pt idx="1172">
                  <c:v>49.387096774193552</c:v>
                </c:pt>
                <c:pt idx="1173">
                  <c:v>49.225806451612904</c:v>
                </c:pt>
                <c:pt idx="1174">
                  <c:v>49.193548387096776</c:v>
                </c:pt>
                <c:pt idx="1175">
                  <c:v>49.225806451612904</c:v>
                </c:pt>
                <c:pt idx="1176">
                  <c:v>49.483870967741936</c:v>
                </c:pt>
                <c:pt idx="1177">
                  <c:v>49.354838709677416</c:v>
                </c:pt>
                <c:pt idx="1178">
                  <c:v>49.225806451612904</c:v>
                </c:pt>
                <c:pt idx="1179">
                  <c:v>49.451612903225808</c:v>
                </c:pt>
                <c:pt idx="1180">
                  <c:v>49.548387096774192</c:v>
                </c:pt>
                <c:pt idx="1181">
                  <c:v>49.548387096774192</c:v>
                </c:pt>
                <c:pt idx="1182">
                  <c:v>49.774193548387096</c:v>
                </c:pt>
                <c:pt idx="1183">
                  <c:v>49.774193548387096</c:v>
                </c:pt>
                <c:pt idx="1184">
                  <c:v>49.677419354838712</c:v>
                </c:pt>
                <c:pt idx="1185">
                  <c:v>49.741935483870968</c:v>
                </c:pt>
                <c:pt idx="1186">
                  <c:v>49.483870967741936</c:v>
                </c:pt>
                <c:pt idx="1187">
                  <c:v>49.451612903225808</c:v>
                </c:pt>
                <c:pt idx="1188">
                  <c:v>49.483870967741936</c:v>
                </c:pt>
                <c:pt idx="1189">
                  <c:v>49.193548387096776</c:v>
                </c:pt>
                <c:pt idx="1190">
                  <c:v>49.258064516129032</c:v>
                </c:pt>
                <c:pt idx="1191">
                  <c:v>49.387096774193552</c:v>
                </c:pt>
                <c:pt idx="1192">
                  <c:v>49.451612903225808</c:v>
                </c:pt>
                <c:pt idx="1193">
                  <c:v>49.322580645161288</c:v>
                </c:pt>
                <c:pt idx="1194">
                  <c:v>49.483870967741936</c:v>
                </c:pt>
                <c:pt idx="1195">
                  <c:v>49.677419354838712</c:v>
                </c:pt>
                <c:pt idx="1196">
                  <c:v>49.612903225806448</c:v>
                </c:pt>
                <c:pt idx="1197">
                  <c:v>49.645161290322584</c:v>
                </c:pt>
                <c:pt idx="1198">
                  <c:v>49.741935483870968</c:v>
                </c:pt>
                <c:pt idx="1199">
                  <c:v>49.87096774193548</c:v>
                </c:pt>
                <c:pt idx="1200">
                  <c:v>49.87096774193548</c:v>
                </c:pt>
                <c:pt idx="1201">
                  <c:v>50</c:v>
                </c:pt>
                <c:pt idx="1202">
                  <c:v>50</c:v>
                </c:pt>
                <c:pt idx="1203">
                  <c:v>50.064516129032256</c:v>
                </c:pt>
                <c:pt idx="1204">
                  <c:v>50.258064516129032</c:v>
                </c:pt>
                <c:pt idx="1205">
                  <c:v>49.967741935483872</c:v>
                </c:pt>
                <c:pt idx="1206">
                  <c:v>50.096774193548384</c:v>
                </c:pt>
                <c:pt idx="1207">
                  <c:v>50.032258064516128</c:v>
                </c:pt>
                <c:pt idx="1208">
                  <c:v>50.032258064516128</c:v>
                </c:pt>
                <c:pt idx="1209">
                  <c:v>50.225806451612904</c:v>
                </c:pt>
                <c:pt idx="1210">
                  <c:v>50.096774193548384</c:v>
                </c:pt>
                <c:pt idx="1211">
                  <c:v>50.064516129032256</c:v>
                </c:pt>
                <c:pt idx="1212">
                  <c:v>50.225806451612904</c:v>
                </c:pt>
                <c:pt idx="1213">
                  <c:v>50.225806451612904</c:v>
                </c:pt>
                <c:pt idx="1214">
                  <c:v>50.193548387096776</c:v>
                </c:pt>
                <c:pt idx="1215">
                  <c:v>50.483870967741936</c:v>
                </c:pt>
                <c:pt idx="1216">
                  <c:v>50.58064516129032</c:v>
                </c:pt>
                <c:pt idx="1217">
                  <c:v>50.70967741935484</c:v>
                </c:pt>
                <c:pt idx="1218">
                  <c:v>51</c:v>
                </c:pt>
                <c:pt idx="1219">
                  <c:v>51.032258064516128</c:v>
                </c:pt>
                <c:pt idx="1220">
                  <c:v>51.225806451612904</c:v>
                </c:pt>
                <c:pt idx="1221">
                  <c:v>51.354838709677416</c:v>
                </c:pt>
                <c:pt idx="1222">
                  <c:v>51.354838709677416</c:v>
                </c:pt>
                <c:pt idx="1223">
                  <c:v>51.12903225806452</c:v>
                </c:pt>
                <c:pt idx="1224">
                  <c:v>51.354838709677416</c:v>
                </c:pt>
                <c:pt idx="1225">
                  <c:v>51.41935483870968</c:v>
                </c:pt>
                <c:pt idx="1226">
                  <c:v>51.41935483870968</c:v>
                </c:pt>
                <c:pt idx="1227">
                  <c:v>51.70967741935484</c:v>
                </c:pt>
                <c:pt idx="1228">
                  <c:v>51.483870967741936</c:v>
                </c:pt>
                <c:pt idx="1229">
                  <c:v>51.322580645161288</c:v>
                </c:pt>
                <c:pt idx="1230">
                  <c:v>51.516129032258064</c:v>
                </c:pt>
                <c:pt idx="1231">
                  <c:v>51.516129032258064</c:v>
                </c:pt>
                <c:pt idx="1232">
                  <c:v>51.483870967741936</c:v>
                </c:pt>
                <c:pt idx="1233">
                  <c:v>51.645161290322584</c:v>
                </c:pt>
                <c:pt idx="1234">
                  <c:v>51.87096774193548</c:v>
                </c:pt>
                <c:pt idx="1235">
                  <c:v>51.903225806451616</c:v>
                </c:pt>
                <c:pt idx="1236">
                  <c:v>52.161290322580648</c:v>
                </c:pt>
                <c:pt idx="1237">
                  <c:v>52.225806451612904</c:v>
                </c:pt>
                <c:pt idx="1238">
                  <c:v>52.29032258064516</c:v>
                </c:pt>
                <c:pt idx="1239">
                  <c:v>52.483870967741936</c:v>
                </c:pt>
                <c:pt idx="1240">
                  <c:v>52.41935483870968</c:v>
                </c:pt>
                <c:pt idx="1241">
                  <c:v>52.612903225806448</c:v>
                </c:pt>
                <c:pt idx="1242">
                  <c:v>52.838709677419352</c:v>
                </c:pt>
                <c:pt idx="1243">
                  <c:v>52.741935483870968</c:v>
                </c:pt>
                <c:pt idx="1244">
                  <c:v>52.774193548387096</c:v>
                </c:pt>
                <c:pt idx="1245">
                  <c:v>52.806451612903224</c:v>
                </c:pt>
                <c:pt idx="1246">
                  <c:v>52.741935483870968</c:v>
                </c:pt>
                <c:pt idx="1247">
                  <c:v>52.838709677419352</c:v>
                </c:pt>
                <c:pt idx="1248">
                  <c:v>52.935483870967744</c:v>
                </c:pt>
                <c:pt idx="1249">
                  <c:v>52.967741935483872</c:v>
                </c:pt>
                <c:pt idx="1250">
                  <c:v>53</c:v>
                </c:pt>
                <c:pt idx="1251">
                  <c:v>53</c:v>
                </c:pt>
                <c:pt idx="1252">
                  <c:v>52.903225806451616</c:v>
                </c:pt>
                <c:pt idx="1253">
                  <c:v>52.87096774193548</c:v>
                </c:pt>
                <c:pt idx="1254">
                  <c:v>53.064516129032256</c:v>
                </c:pt>
                <c:pt idx="1255">
                  <c:v>53.096774193548384</c:v>
                </c:pt>
                <c:pt idx="1256">
                  <c:v>53.064516129032256</c:v>
                </c:pt>
                <c:pt idx="1257">
                  <c:v>53.12903225806452</c:v>
                </c:pt>
                <c:pt idx="1258">
                  <c:v>53.096774193548384</c:v>
                </c:pt>
                <c:pt idx="1259">
                  <c:v>53.322580645161288</c:v>
                </c:pt>
                <c:pt idx="1260">
                  <c:v>53.483870967741936</c:v>
                </c:pt>
                <c:pt idx="1261">
                  <c:v>53.387096774193552</c:v>
                </c:pt>
                <c:pt idx="1262">
                  <c:v>53.387096774193552</c:v>
                </c:pt>
                <c:pt idx="1263">
                  <c:v>53.451612903225808</c:v>
                </c:pt>
                <c:pt idx="1264">
                  <c:v>53.451612903225808</c:v>
                </c:pt>
                <c:pt idx="1265">
                  <c:v>53.451612903225808</c:v>
                </c:pt>
                <c:pt idx="1266">
                  <c:v>53.516129032258064</c:v>
                </c:pt>
                <c:pt idx="1267">
                  <c:v>53.516129032258064</c:v>
                </c:pt>
                <c:pt idx="1268">
                  <c:v>53.516129032258064</c:v>
                </c:pt>
                <c:pt idx="1269">
                  <c:v>53.516129032258064</c:v>
                </c:pt>
                <c:pt idx="1270">
                  <c:v>53.483870967741936</c:v>
                </c:pt>
                <c:pt idx="1271">
                  <c:v>53.483870967741936</c:v>
                </c:pt>
                <c:pt idx="1272">
                  <c:v>53.483870967741936</c:v>
                </c:pt>
                <c:pt idx="1273">
                  <c:v>53.451612903225808</c:v>
                </c:pt>
                <c:pt idx="1274">
                  <c:v>53.516129032258064</c:v>
                </c:pt>
                <c:pt idx="1275">
                  <c:v>53.41935483870968</c:v>
                </c:pt>
                <c:pt idx="1276">
                  <c:v>53.193548387096776</c:v>
                </c:pt>
                <c:pt idx="1277">
                  <c:v>53.161290322580648</c:v>
                </c:pt>
                <c:pt idx="1278">
                  <c:v>53.12903225806452</c:v>
                </c:pt>
                <c:pt idx="1279">
                  <c:v>53.032258064516128</c:v>
                </c:pt>
                <c:pt idx="1280">
                  <c:v>52.935483870967744</c:v>
                </c:pt>
                <c:pt idx="1281">
                  <c:v>52.645161290322584</c:v>
                </c:pt>
                <c:pt idx="1282">
                  <c:v>52.677419354838712</c:v>
                </c:pt>
                <c:pt idx="1283">
                  <c:v>52.645161290322584</c:v>
                </c:pt>
                <c:pt idx="1284">
                  <c:v>52.451612903225808</c:v>
                </c:pt>
                <c:pt idx="1285">
                  <c:v>52.387096774193552</c:v>
                </c:pt>
                <c:pt idx="1286">
                  <c:v>52.225806451612904</c:v>
                </c:pt>
                <c:pt idx="1287">
                  <c:v>52</c:v>
                </c:pt>
                <c:pt idx="1288">
                  <c:v>51.806451612903224</c:v>
                </c:pt>
                <c:pt idx="1289">
                  <c:v>51.516129032258064</c:v>
                </c:pt>
                <c:pt idx="1290">
                  <c:v>51.258064516129032</c:v>
                </c:pt>
                <c:pt idx="1291">
                  <c:v>51.161290322580648</c:v>
                </c:pt>
                <c:pt idx="1292">
                  <c:v>50.935483870967744</c:v>
                </c:pt>
                <c:pt idx="1293">
                  <c:v>50.967741935483872</c:v>
                </c:pt>
                <c:pt idx="1294">
                  <c:v>50.70967741935484</c:v>
                </c:pt>
                <c:pt idx="1295">
                  <c:v>50.516129032258064</c:v>
                </c:pt>
                <c:pt idx="1296">
                  <c:v>50.29032258064516</c:v>
                </c:pt>
                <c:pt idx="1297">
                  <c:v>50.161290322580648</c:v>
                </c:pt>
                <c:pt idx="1298">
                  <c:v>50.064516129032256</c:v>
                </c:pt>
                <c:pt idx="1299">
                  <c:v>49.935483870967744</c:v>
                </c:pt>
                <c:pt idx="1300">
                  <c:v>49.967741935483872</c:v>
                </c:pt>
                <c:pt idx="1301">
                  <c:v>49.774193548387096</c:v>
                </c:pt>
                <c:pt idx="1302">
                  <c:v>49.87096774193548</c:v>
                </c:pt>
                <c:pt idx="1303">
                  <c:v>49.774193548387096</c:v>
                </c:pt>
                <c:pt idx="1304">
                  <c:v>49.838709677419352</c:v>
                </c:pt>
                <c:pt idx="1305">
                  <c:v>49.645161290322584</c:v>
                </c:pt>
                <c:pt idx="1306">
                  <c:v>49.677419354838712</c:v>
                </c:pt>
                <c:pt idx="1307">
                  <c:v>49.935483870967744</c:v>
                </c:pt>
                <c:pt idx="1308">
                  <c:v>50.032258064516128</c:v>
                </c:pt>
                <c:pt idx="1309">
                  <c:v>50.064516129032256</c:v>
                </c:pt>
                <c:pt idx="1310">
                  <c:v>49.967741935483872</c:v>
                </c:pt>
                <c:pt idx="1311">
                  <c:v>50</c:v>
                </c:pt>
                <c:pt idx="1312">
                  <c:v>50.12903225806452</c:v>
                </c:pt>
                <c:pt idx="1313">
                  <c:v>50.193548387096776</c:v>
                </c:pt>
                <c:pt idx="1314">
                  <c:v>50.29032258064516</c:v>
                </c:pt>
                <c:pt idx="1315">
                  <c:v>50.387096774193552</c:v>
                </c:pt>
                <c:pt idx="1316">
                  <c:v>50.161290322580648</c:v>
                </c:pt>
                <c:pt idx="1317">
                  <c:v>50.032258064516128</c:v>
                </c:pt>
                <c:pt idx="1318">
                  <c:v>50.064516129032256</c:v>
                </c:pt>
                <c:pt idx="1319">
                  <c:v>50.032258064516128</c:v>
                </c:pt>
                <c:pt idx="1320">
                  <c:v>50.322580645161288</c:v>
                </c:pt>
                <c:pt idx="1321">
                  <c:v>50.58064516129032</c:v>
                </c:pt>
                <c:pt idx="1322">
                  <c:v>50.58064516129032</c:v>
                </c:pt>
                <c:pt idx="1323">
                  <c:v>50.838709677419352</c:v>
                </c:pt>
                <c:pt idx="1324">
                  <c:v>50.741935483870968</c:v>
                </c:pt>
                <c:pt idx="1325">
                  <c:v>50.87096774193548</c:v>
                </c:pt>
                <c:pt idx="1326">
                  <c:v>51.064516129032256</c:v>
                </c:pt>
                <c:pt idx="1327">
                  <c:v>51.161290322580648</c:v>
                </c:pt>
                <c:pt idx="1328">
                  <c:v>51</c:v>
                </c:pt>
                <c:pt idx="1329">
                  <c:v>51.064516129032256</c:v>
                </c:pt>
                <c:pt idx="1330">
                  <c:v>51.12903225806452</c:v>
                </c:pt>
                <c:pt idx="1331">
                  <c:v>51</c:v>
                </c:pt>
                <c:pt idx="1332">
                  <c:v>51.032258064516128</c:v>
                </c:pt>
                <c:pt idx="1333">
                  <c:v>50.741935483870968</c:v>
                </c:pt>
                <c:pt idx="1334">
                  <c:v>50.58064516129032</c:v>
                </c:pt>
                <c:pt idx="1335">
                  <c:v>50.548387096774192</c:v>
                </c:pt>
                <c:pt idx="1336">
                  <c:v>50.774193548387096</c:v>
                </c:pt>
                <c:pt idx="1337">
                  <c:v>50.645161290322584</c:v>
                </c:pt>
                <c:pt idx="1338">
                  <c:v>50.322580645161288</c:v>
                </c:pt>
                <c:pt idx="1339">
                  <c:v>50.29032258064516</c:v>
                </c:pt>
                <c:pt idx="1340">
                  <c:v>50.225806451612904</c:v>
                </c:pt>
                <c:pt idx="1341">
                  <c:v>50.193548387096776</c:v>
                </c:pt>
                <c:pt idx="1342">
                  <c:v>49.967741935483872</c:v>
                </c:pt>
                <c:pt idx="1343">
                  <c:v>49.903225806451616</c:v>
                </c:pt>
                <c:pt idx="1344">
                  <c:v>49.612903225806448</c:v>
                </c:pt>
                <c:pt idx="1345">
                  <c:v>49.451612903225808</c:v>
                </c:pt>
                <c:pt idx="1346">
                  <c:v>49.516129032258064</c:v>
                </c:pt>
                <c:pt idx="1347">
                  <c:v>49.70967741935484</c:v>
                </c:pt>
                <c:pt idx="1348">
                  <c:v>49.967741935483872</c:v>
                </c:pt>
                <c:pt idx="1349">
                  <c:v>49.903225806451616</c:v>
                </c:pt>
                <c:pt idx="1350">
                  <c:v>50.096774193548384</c:v>
                </c:pt>
                <c:pt idx="1351">
                  <c:v>49.903225806451616</c:v>
                </c:pt>
                <c:pt idx="1352">
                  <c:v>49.806451612903224</c:v>
                </c:pt>
                <c:pt idx="1353">
                  <c:v>49.645161290322584</c:v>
                </c:pt>
                <c:pt idx="1354">
                  <c:v>49.483870967741936</c:v>
                </c:pt>
                <c:pt idx="1355">
                  <c:v>49.483870967741936</c:v>
                </c:pt>
                <c:pt idx="1356">
                  <c:v>49.387096774193552</c:v>
                </c:pt>
                <c:pt idx="1357">
                  <c:v>49.29032258064516</c:v>
                </c:pt>
                <c:pt idx="1358">
                  <c:v>49.258064516129032</c:v>
                </c:pt>
                <c:pt idx="1359">
                  <c:v>49.387096774193552</c:v>
                </c:pt>
                <c:pt idx="1360">
                  <c:v>49.161290322580648</c:v>
                </c:pt>
                <c:pt idx="1361">
                  <c:v>49.193548387096776</c:v>
                </c:pt>
                <c:pt idx="1362">
                  <c:v>49.096774193548384</c:v>
                </c:pt>
                <c:pt idx="1363">
                  <c:v>49.064516129032256</c:v>
                </c:pt>
                <c:pt idx="1364">
                  <c:v>49.193548387096776</c:v>
                </c:pt>
                <c:pt idx="1365">
                  <c:v>49.258064516129032</c:v>
                </c:pt>
                <c:pt idx="1366">
                  <c:v>49.161290322580648</c:v>
                </c:pt>
                <c:pt idx="1367">
                  <c:v>49.032258064516128</c:v>
                </c:pt>
                <c:pt idx="1368">
                  <c:v>49</c:v>
                </c:pt>
                <c:pt idx="1369">
                  <c:v>49</c:v>
                </c:pt>
                <c:pt idx="1370">
                  <c:v>48.87096774193548</c:v>
                </c:pt>
                <c:pt idx="1371">
                  <c:v>48.87096774193548</c:v>
                </c:pt>
                <c:pt idx="1372">
                  <c:v>49.12903225806452</c:v>
                </c:pt>
                <c:pt idx="1373">
                  <c:v>49.354838709677416</c:v>
                </c:pt>
                <c:pt idx="1374">
                  <c:v>49.354838709677416</c:v>
                </c:pt>
                <c:pt idx="1375">
                  <c:v>49.483870967741936</c:v>
                </c:pt>
                <c:pt idx="1376">
                  <c:v>49.451612903225808</c:v>
                </c:pt>
                <c:pt idx="1377">
                  <c:v>49.29032258064516</c:v>
                </c:pt>
                <c:pt idx="1378">
                  <c:v>49.161290322580648</c:v>
                </c:pt>
                <c:pt idx="1379">
                  <c:v>48.967741935483872</c:v>
                </c:pt>
                <c:pt idx="1380">
                  <c:v>49.12903225806452</c:v>
                </c:pt>
                <c:pt idx="1381">
                  <c:v>49.064516129032256</c:v>
                </c:pt>
                <c:pt idx="1382">
                  <c:v>49</c:v>
                </c:pt>
                <c:pt idx="1383">
                  <c:v>48.87096774193548</c:v>
                </c:pt>
                <c:pt idx="1384">
                  <c:v>49.193548387096776</c:v>
                </c:pt>
                <c:pt idx="1385">
                  <c:v>49.41935483870968</c:v>
                </c:pt>
                <c:pt idx="1386">
                  <c:v>49.225806451612904</c:v>
                </c:pt>
                <c:pt idx="1387">
                  <c:v>49.29032258064516</c:v>
                </c:pt>
                <c:pt idx="1388">
                  <c:v>49.161290322580648</c:v>
                </c:pt>
                <c:pt idx="1389">
                  <c:v>49.258064516129032</c:v>
                </c:pt>
                <c:pt idx="1390">
                  <c:v>49.258064516129032</c:v>
                </c:pt>
                <c:pt idx="1391">
                  <c:v>49.451612903225808</c:v>
                </c:pt>
                <c:pt idx="1392">
                  <c:v>49.483870967741936</c:v>
                </c:pt>
                <c:pt idx="1393">
                  <c:v>49.548387096774192</c:v>
                </c:pt>
                <c:pt idx="1394">
                  <c:v>49.645161290322584</c:v>
                </c:pt>
                <c:pt idx="1395">
                  <c:v>49.645161290322584</c:v>
                </c:pt>
                <c:pt idx="1396">
                  <c:v>49.806451612903224</c:v>
                </c:pt>
                <c:pt idx="1397">
                  <c:v>49.903225806451616</c:v>
                </c:pt>
                <c:pt idx="1398">
                  <c:v>49.935483870967744</c:v>
                </c:pt>
                <c:pt idx="1399">
                  <c:v>50.096774193548384</c:v>
                </c:pt>
                <c:pt idx="1400">
                  <c:v>50.354838709677416</c:v>
                </c:pt>
                <c:pt idx="1401">
                  <c:v>50.451612903225808</c:v>
                </c:pt>
                <c:pt idx="1402">
                  <c:v>50.387096774193552</c:v>
                </c:pt>
                <c:pt idx="1403">
                  <c:v>50.41935483870968</c:v>
                </c:pt>
                <c:pt idx="1404">
                  <c:v>50.483870967741936</c:v>
                </c:pt>
                <c:pt idx="1405">
                  <c:v>50.58064516129032</c:v>
                </c:pt>
                <c:pt idx="1406">
                  <c:v>50.741935483870968</c:v>
                </c:pt>
                <c:pt idx="1407">
                  <c:v>50.935483870967744</c:v>
                </c:pt>
                <c:pt idx="1408">
                  <c:v>51.193548387096776</c:v>
                </c:pt>
                <c:pt idx="1409">
                  <c:v>51.41935483870968</c:v>
                </c:pt>
                <c:pt idx="1410">
                  <c:v>51.322580645161288</c:v>
                </c:pt>
                <c:pt idx="1411">
                  <c:v>51.193548387096776</c:v>
                </c:pt>
                <c:pt idx="1412">
                  <c:v>51.193548387096776</c:v>
                </c:pt>
                <c:pt idx="1413">
                  <c:v>51.29032258064516</c:v>
                </c:pt>
                <c:pt idx="1414">
                  <c:v>51.354838709677416</c:v>
                </c:pt>
                <c:pt idx="1415">
                  <c:v>51.12903225806452</c:v>
                </c:pt>
                <c:pt idx="1416">
                  <c:v>50.87096774193548</c:v>
                </c:pt>
                <c:pt idx="1417">
                  <c:v>50.967741935483872</c:v>
                </c:pt>
                <c:pt idx="1418">
                  <c:v>51.12903225806452</c:v>
                </c:pt>
                <c:pt idx="1419">
                  <c:v>51.258064516129032</c:v>
                </c:pt>
                <c:pt idx="1420">
                  <c:v>51.032258064516128</c:v>
                </c:pt>
                <c:pt idx="1421">
                  <c:v>51.032258064516128</c:v>
                </c:pt>
                <c:pt idx="1422">
                  <c:v>51.161290322580648</c:v>
                </c:pt>
                <c:pt idx="1423">
                  <c:v>51.161290322580648</c:v>
                </c:pt>
                <c:pt idx="1424">
                  <c:v>51.032258064516128</c:v>
                </c:pt>
                <c:pt idx="1425">
                  <c:v>50.838709677419352</c:v>
                </c:pt>
                <c:pt idx="1426">
                  <c:v>50.774193548387096</c:v>
                </c:pt>
                <c:pt idx="1427">
                  <c:v>50.774193548387096</c:v>
                </c:pt>
                <c:pt idx="1428">
                  <c:v>50.70967741935484</c:v>
                </c:pt>
                <c:pt idx="1429">
                  <c:v>50.774193548387096</c:v>
                </c:pt>
                <c:pt idx="1430">
                  <c:v>50.677419354838712</c:v>
                </c:pt>
                <c:pt idx="1431">
                  <c:v>50.483870967741936</c:v>
                </c:pt>
                <c:pt idx="1432">
                  <c:v>50.516129032258064</c:v>
                </c:pt>
                <c:pt idx="1433">
                  <c:v>50.387096774193552</c:v>
                </c:pt>
                <c:pt idx="1434">
                  <c:v>50.258064516129032</c:v>
                </c:pt>
                <c:pt idx="1435">
                  <c:v>50.258064516129032</c:v>
                </c:pt>
                <c:pt idx="1436">
                  <c:v>50.354838709677416</c:v>
                </c:pt>
                <c:pt idx="1437">
                  <c:v>50.225806451612904</c:v>
                </c:pt>
                <c:pt idx="1438">
                  <c:v>50.064516129032256</c:v>
                </c:pt>
                <c:pt idx="1439">
                  <c:v>49.967741935483872</c:v>
                </c:pt>
                <c:pt idx="1440">
                  <c:v>49.677419354838712</c:v>
                </c:pt>
                <c:pt idx="1441">
                  <c:v>49.70967741935484</c:v>
                </c:pt>
                <c:pt idx="1442">
                  <c:v>49.70967741935484</c:v>
                </c:pt>
                <c:pt idx="1443">
                  <c:v>49.70967741935484</c:v>
                </c:pt>
                <c:pt idx="1444">
                  <c:v>49.87096774193548</c:v>
                </c:pt>
                <c:pt idx="1445">
                  <c:v>49.967741935483872</c:v>
                </c:pt>
                <c:pt idx="1446">
                  <c:v>50.032258064516128</c:v>
                </c:pt>
                <c:pt idx="1447">
                  <c:v>50.064516129032256</c:v>
                </c:pt>
                <c:pt idx="1448">
                  <c:v>50.193548387096776</c:v>
                </c:pt>
                <c:pt idx="1449">
                  <c:v>50.225806451612904</c:v>
                </c:pt>
                <c:pt idx="1450">
                  <c:v>50.064516129032256</c:v>
                </c:pt>
                <c:pt idx="1451">
                  <c:v>50.322580645161288</c:v>
                </c:pt>
                <c:pt idx="1452">
                  <c:v>50.387096774193552</c:v>
                </c:pt>
                <c:pt idx="1453">
                  <c:v>50.161290322580648</c:v>
                </c:pt>
                <c:pt idx="1454">
                  <c:v>50.096774193548384</c:v>
                </c:pt>
                <c:pt idx="1455">
                  <c:v>50.161290322580648</c:v>
                </c:pt>
                <c:pt idx="1456">
                  <c:v>50.29032258064516</c:v>
                </c:pt>
                <c:pt idx="1457">
                  <c:v>50.451612903225808</c:v>
                </c:pt>
                <c:pt idx="1458">
                  <c:v>50.322580645161288</c:v>
                </c:pt>
                <c:pt idx="1459">
                  <c:v>50.161290322580648</c:v>
                </c:pt>
                <c:pt idx="1460">
                  <c:v>49.903225806451616</c:v>
                </c:pt>
                <c:pt idx="1461">
                  <c:v>50.032258064516128</c:v>
                </c:pt>
                <c:pt idx="1462">
                  <c:v>50.12903225806452</c:v>
                </c:pt>
                <c:pt idx="1463">
                  <c:v>49.838709677419352</c:v>
                </c:pt>
                <c:pt idx="1464">
                  <c:v>50</c:v>
                </c:pt>
                <c:pt idx="1465">
                  <c:v>49.87096774193548</c:v>
                </c:pt>
                <c:pt idx="1466">
                  <c:v>49.645161290322584</c:v>
                </c:pt>
                <c:pt idx="1467">
                  <c:v>49.612903225806448</c:v>
                </c:pt>
                <c:pt idx="1468">
                  <c:v>49.645161290322584</c:v>
                </c:pt>
                <c:pt idx="1469">
                  <c:v>49.838709677419352</c:v>
                </c:pt>
                <c:pt idx="1470">
                  <c:v>49.903225806451616</c:v>
                </c:pt>
                <c:pt idx="1471">
                  <c:v>50.225806451612904</c:v>
                </c:pt>
                <c:pt idx="1472">
                  <c:v>50.41935483870968</c:v>
                </c:pt>
                <c:pt idx="1473">
                  <c:v>50.645161290322584</c:v>
                </c:pt>
                <c:pt idx="1474">
                  <c:v>50.806451612903224</c:v>
                </c:pt>
                <c:pt idx="1475">
                  <c:v>50.838709677419352</c:v>
                </c:pt>
                <c:pt idx="1476">
                  <c:v>50.903225806451616</c:v>
                </c:pt>
                <c:pt idx="1477">
                  <c:v>51.032258064516128</c:v>
                </c:pt>
                <c:pt idx="1478">
                  <c:v>51.258064516129032</c:v>
                </c:pt>
                <c:pt idx="1479">
                  <c:v>51.322580645161288</c:v>
                </c:pt>
                <c:pt idx="1480">
                  <c:v>51.225806451612904</c:v>
                </c:pt>
                <c:pt idx="1481">
                  <c:v>51.258064516129032</c:v>
                </c:pt>
                <c:pt idx="1482">
                  <c:v>51.258064516129032</c:v>
                </c:pt>
                <c:pt idx="1483">
                  <c:v>51.193548387096776</c:v>
                </c:pt>
                <c:pt idx="1484">
                  <c:v>51.322580645161288</c:v>
                </c:pt>
                <c:pt idx="1485">
                  <c:v>51.451612903225808</c:v>
                </c:pt>
                <c:pt idx="1486">
                  <c:v>51.58064516129032</c:v>
                </c:pt>
                <c:pt idx="1487">
                  <c:v>51.516129032258064</c:v>
                </c:pt>
                <c:pt idx="1488">
                  <c:v>51.258064516129032</c:v>
                </c:pt>
                <c:pt idx="1489">
                  <c:v>51.387096774193552</c:v>
                </c:pt>
                <c:pt idx="1490">
                  <c:v>51.516129032258064</c:v>
                </c:pt>
                <c:pt idx="1491">
                  <c:v>51.806451612903224</c:v>
                </c:pt>
                <c:pt idx="1492">
                  <c:v>51.741935483870968</c:v>
                </c:pt>
                <c:pt idx="1493">
                  <c:v>51.903225806451616</c:v>
                </c:pt>
                <c:pt idx="1494">
                  <c:v>52.032258064516128</c:v>
                </c:pt>
                <c:pt idx="1495">
                  <c:v>51.806451612903224</c:v>
                </c:pt>
                <c:pt idx="1496">
                  <c:v>51.903225806451616</c:v>
                </c:pt>
                <c:pt idx="1497">
                  <c:v>51.87096774193548</c:v>
                </c:pt>
                <c:pt idx="1498">
                  <c:v>51.806451612903224</c:v>
                </c:pt>
                <c:pt idx="1499">
                  <c:v>51.741935483870968</c:v>
                </c:pt>
                <c:pt idx="1500">
                  <c:v>51.741935483870968</c:v>
                </c:pt>
                <c:pt idx="1501">
                  <c:v>51.774193548387096</c:v>
                </c:pt>
                <c:pt idx="1502">
                  <c:v>51.516129032258064</c:v>
                </c:pt>
                <c:pt idx="1503">
                  <c:v>51.29032258064516</c:v>
                </c:pt>
                <c:pt idx="1504">
                  <c:v>51.258064516129032</c:v>
                </c:pt>
                <c:pt idx="1505">
                  <c:v>51.096774193548384</c:v>
                </c:pt>
                <c:pt idx="1506">
                  <c:v>51.096774193548384</c:v>
                </c:pt>
                <c:pt idx="1507">
                  <c:v>50.935483870967744</c:v>
                </c:pt>
                <c:pt idx="1508">
                  <c:v>50.645161290322584</c:v>
                </c:pt>
                <c:pt idx="1509">
                  <c:v>50.354838709677416</c:v>
                </c:pt>
                <c:pt idx="1510">
                  <c:v>50.193548387096776</c:v>
                </c:pt>
                <c:pt idx="1511">
                  <c:v>50</c:v>
                </c:pt>
                <c:pt idx="1512">
                  <c:v>49.967741935483872</c:v>
                </c:pt>
                <c:pt idx="1513">
                  <c:v>49.774193548387096</c:v>
                </c:pt>
                <c:pt idx="1514">
                  <c:v>49.838709677419352</c:v>
                </c:pt>
                <c:pt idx="1515">
                  <c:v>49.774193548387096</c:v>
                </c:pt>
                <c:pt idx="1516">
                  <c:v>49.612903225806448</c:v>
                </c:pt>
                <c:pt idx="1517">
                  <c:v>49.612903225806448</c:v>
                </c:pt>
                <c:pt idx="1518">
                  <c:v>49.612903225806448</c:v>
                </c:pt>
                <c:pt idx="1519">
                  <c:v>49.806451612903224</c:v>
                </c:pt>
                <c:pt idx="1520">
                  <c:v>49.548387096774192</c:v>
                </c:pt>
                <c:pt idx="1521">
                  <c:v>49.516129032258064</c:v>
                </c:pt>
                <c:pt idx="1522">
                  <c:v>49.41935483870968</c:v>
                </c:pt>
                <c:pt idx="1523">
                  <c:v>49.483870967741936</c:v>
                </c:pt>
                <c:pt idx="1524">
                  <c:v>49.29032258064516</c:v>
                </c:pt>
                <c:pt idx="1525">
                  <c:v>49.41935483870968</c:v>
                </c:pt>
                <c:pt idx="1526">
                  <c:v>49.41935483870968</c:v>
                </c:pt>
                <c:pt idx="1527">
                  <c:v>49.483870967741936</c:v>
                </c:pt>
                <c:pt idx="1528">
                  <c:v>49.451612903225808</c:v>
                </c:pt>
                <c:pt idx="1529">
                  <c:v>49.354838709677416</c:v>
                </c:pt>
                <c:pt idx="1530">
                  <c:v>49.516129032258064</c:v>
                </c:pt>
                <c:pt idx="1531">
                  <c:v>49.483870967741936</c:v>
                </c:pt>
                <c:pt idx="1532">
                  <c:v>49.451612903225808</c:v>
                </c:pt>
                <c:pt idx="1533">
                  <c:v>49.516129032258064</c:v>
                </c:pt>
                <c:pt idx="1534">
                  <c:v>49.774193548387096</c:v>
                </c:pt>
                <c:pt idx="1535">
                  <c:v>49.58064516129032</c:v>
                </c:pt>
                <c:pt idx="1536">
                  <c:v>49.677419354838712</c:v>
                </c:pt>
                <c:pt idx="1537">
                  <c:v>49.677419354838712</c:v>
                </c:pt>
                <c:pt idx="1538">
                  <c:v>49.806451612903224</c:v>
                </c:pt>
                <c:pt idx="1539">
                  <c:v>49.967741935483872</c:v>
                </c:pt>
                <c:pt idx="1540">
                  <c:v>50.064516129032256</c:v>
                </c:pt>
                <c:pt idx="1541">
                  <c:v>49.935483870967744</c:v>
                </c:pt>
                <c:pt idx="1542">
                  <c:v>50.225806451612904</c:v>
                </c:pt>
                <c:pt idx="1543">
                  <c:v>50.225806451612904</c:v>
                </c:pt>
                <c:pt idx="1544">
                  <c:v>50.41935483870968</c:v>
                </c:pt>
                <c:pt idx="1545">
                  <c:v>50.451612903225808</c:v>
                </c:pt>
                <c:pt idx="1546">
                  <c:v>50.483870967741936</c:v>
                </c:pt>
                <c:pt idx="1547">
                  <c:v>50.645161290322584</c:v>
                </c:pt>
                <c:pt idx="1548">
                  <c:v>50.70967741935484</c:v>
                </c:pt>
                <c:pt idx="1549">
                  <c:v>50.677419354838712</c:v>
                </c:pt>
                <c:pt idx="1550">
                  <c:v>50.516129032258064</c:v>
                </c:pt>
                <c:pt idx="1551">
                  <c:v>50.741935483870968</c:v>
                </c:pt>
                <c:pt idx="1552">
                  <c:v>50.87096774193548</c:v>
                </c:pt>
                <c:pt idx="1553">
                  <c:v>50.935483870967744</c:v>
                </c:pt>
                <c:pt idx="1554">
                  <c:v>50.677419354838712</c:v>
                </c:pt>
                <c:pt idx="1555">
                  <c:v>50.87096774193548</c:v>
                </c:pt>
                <c:pt idx="1556">
                  <c:v>50.838709677419352</c:v>
                </c:pt>
                <c:pt idx="1557">
                  <c:v>50.967741935483872</c:v>
                </c:pt>
                <c:pt idx="1558">
                  <c:v>50.87096774193548</c:v>
                </c:pt>
                <c:pt idx="1559">
                  <c:v>51.12903225806452</c:v>
                </c:pt>
                <c:pt idx="1560">
                  <c:v>51.29032258064516</c:v>
                </c:pt>
                <c:pt idx="1561">
                  <c:v>51.193548387096776</c:v>
                </c:pt>
                <c:pt idx="1562">
                  <c:v>51.225806451612904</c:v>
                </c:pt>
                <c:pt idx="1563">
                  <c:v>51.032258064516128</c:v>
                </c:pt>
                <c:pt idx="1564">
                  <c:v>51.161290322580648</c:v>
                </c:pt>
                <c:pt idx="1565">
                  <c:v>50.935483870967744</c:v>
                </c:pt>
                <c:pt idx="1566">
                  <c:v>51.193548387096776</c:v>
                </c:pt>
                <c:pt idx="1567">
                  <c:v>51.096774193548384</c:v>
                </c:pt>
                <c:pt idx="1568">
                  <c:v>51.096774193548384</c:v>
                </c:pt>
                <c:pt idx="1569">
                  <c:v>51.032258064516128</c:v>
                </c:pt>
                <c:pt idx="1570">
                  <c:v>50.935483870967744</c:v>
                </c:pt>
                <c:pt idx="1571">
                  <c:v>51.032258064516128</c:v>
                </c:pt>
                <c:pt idx="1572">
                  <c:v>51.032258064516128</c:v>
                </c:pt>
                <c:pt idx="1573">
                  <c:v>50.903225806451616</c:v>
                </c:pt>
                <c:pt idx="1574">
                  <c:v>51.064516129032256</c:v>
                </c:pt>
                <c:pt idx="1575">
                  <c:v>51</c:v>
                </c:pt>
                <c:pt idx="1576">
                  <c:v>50.87096774193548</c:v>
                </c:pt>
                <c:pt idx="1577">
                  <c:v>50.70967741935484</c:v>
                </c:pt>
                <c:pt idx="1578">
                  <c:v>50.677419354838712</c:v>
                </c:pt>
                <c:pt idx="1579">
                  <c:v>50.612903225806448</c:v>
                </c:pt>
                <c:pt idx="1580">
                  <c:v>50.87096774193548</c:v>
                </c:pt>
                <c:pt idx="1581">
                  <c:v>50.838709677419352</c:v>
                </c:pt>
                <c:pt idx="1582">
                  <c:v>50.838709677419352</c:v>
                </c:pt>
                <c:pt idx="1583">
                  <c:v>50.612903225806448</c:v>
                </c:pt>
                <c:pt idx="1584">
                  <c:v>50.451612903225808</c:v>
                </c:pt>
                <c:pt idx="1585">
                  <c:v>50.58064516129032</c:v>
                </c:pt>
                <c:pt idx="1586">
                  <c:v>50.58064516129032</c:v>
                </c:pt>
                <c:pt idx="1587">
                  <c:v>50.41935483870968</c:v>
                </c:pt>
                <c:pt idx="1588">
                  <c:v>50.387096774193552</c:v>
                </c:pt>
                <c:pt idx="1589">
                  <c:v>50.612903225806448</c:v>
                </c:pt>
                <c:pt idx="1590">
                  <c:v>50.41935483870968</c:v>
                </c:pt>
                <c:pt idx="1591">
                  <c:v>50.451612903225808</c:v>
                </c:pt>
                <c:pt idx="1592">
                  <c:v>50.516129032258064</c:v>
                </c:pt>
                <c:pt idx="1593">
                  <c:v>50.29032258064516</c:v>
                </c:pt>
                <c:pt idx="1594">
                  <c:v>50.483870967741936</c:v>
                </c:pt>
                <c:pt idx="1595">
                  <c:v>50.483870967741936</c:v>
                </c:pt>
                <c:pt idx="1596">
                  <c:v>50.741935483870968</c:v>
                </c:pt>
                <c:pt idx="1597">
                  <c:v>50.58064516129032</c:v>
                </c:pt>
                <c:pt idx="1598">
                  <c:v>50.58064516129032</c:v>
                </c:pt>
                <c:pt idx="1599">
                  <c:v>50.548387096774192</c:v>
                </c:pt>
                <c:pt idx="1600">
                  <c:v>50.516129032258064</c:v>
                </c:pt>
                <c:pt idx="1601">
                  <c:v>50.70967741935484</c:v>
                </c:pt>
                <c:pt idx="1602">
                  <c:v>50.516129032258064</c:v>
                </c:pt>
                <c:pt idx="1603">
                  <c:v>50.806451612903224</c:v>
                </c:pt>
                <c:pt idx="1604">
                  <c:v>50.903225806451616</c:v>
                </c:pt>
                <c:pt idx="1605">
                  <c:v>50.935483870967744</c:v>
                </c:pt>
                <c:pt idx="1606">
                  <c:v>50.806451612903224</c:v>
                </c:pt>
                <c:pt idx="1607">
                  <c:v>51</c:v>
                </c:pt>
                <c:pt idx="1608">
                  <c:v>50.967741935483872</c:v>
                </c:pt>
                <c:pt idx="1609">
                  <c:v>50.903225806451616</c:v>
                </c:pt>
                <c:pt idx="1610">
                  <c:v>50.774193548387096</c:v>
                </c:pt>
                <c:pt idx="1611">
                  <c:v>50.548387096774192</c:v>
                </c:pt>
                <c:pt idx="1612">
                  <c:v>50.774193548387096</c:v>
                </c:pt>
                <c:pt idx="1613">
                  <c:v>50.58064516129032</c:v>
                </c:pt>
                <c:pt idx="1614">
                  <c:v>50.612903225806448</c:v>
                </c:pt>
                <c:pt idx="1615">
                  <c:v>50.677419354838712</c:v>
                </c:pt>
                <c:pt idx="1616">
                  <c:v>50.838709677419352</c:v>
                </c:pt>
                <c:pt idx="1617">
                  <c:v>50.806451612903224</c:v>
                </c:pt>
                <c:pt idx="1618">
                  <c:v>51.032258064516128</c:v>
                </c:pt>
                <c:pt idx="1619">
                  <c:v>51.096774193548384</c:v>
                </c:pt>
                <c:pt idx="1620">
                  <c:v>50.87096774193548</c:v>
                </c:pt>
                <c:pt idx="1621">
                  <c:v>51.096774193548384</c:v>
                </c:pt>
                <c:pt idx="1622">
                  <c:v>51.032258064516128</c:v>
                </c:pt>
                <c:pt idx="1623">
                  <c:v>50.741935483870968</c:v>
                </c:pt>
                <c:pt idx="1624">
                  <c:v>50.677419354838712</c:v>
                </c:pt>
                <c:pt idx="1625">
                  <c:v>50.645161290322584</c:v>
                </c:pt>
                <c:pt idx="1626">
                  <c:v>50.677419354838712</c:v>
                </c:pt>
                <c:pt idx="1627">
                  <c:v>50.516129032258064</c:v>
                </c:pt>
                <c:pt idx="1628">
                  <c:v>50.548387096774192</c:v>
                </c:pt>
                <c:pt idx="1629">
                  <c:v>50.451612903225808</c:v>
                </c:pt>
                <c:pt idx="1630">
                  <c:v>50.41935483870968</c:v>
                </c:pt>
                <c:pt idx="1631">
                  <c:v>50.548387096774192</c:v>
                </c:pt>
                <c:pt idx="1632">
                  <c:v>50.58064516129032</c:v>
                </c:pt>
                <c:pt idx="1633">
                  <c:v>50.677419354838712</c:v>
                </c:pt>
                <c:pt idx="1634">
                  <c:v>50.387096774193552</c:v>
                </c:pt>
                <c:pt idx="1635">
                  <c:v>50.225806451612904</c:v>
                </c:pt>
                <c:pt idx="1636">
                  <c:v>50.354838709677416</c:v>
                </c:pt>
                <c:pt idx="1637">
                  <c:v>50.483870967741936</c:v>
                </c:pt>
                <c:pt idx="1638">
                  <c:v>50.29032258064516</c:v>
                </c:pt>
                <c:pt idx="1639">
                  <c:v>50.41935483870968</c:v>
                </c:pt>
                <c:pt idx="1640">
                  <c:v>50.29032258064516</c:v>
                </c:pt>
                <c:pt idx="1641">
                  <c:v>50.29032258064516</c:v>
                </c:pt>
                <c:pt idx="1642">
                  <c:v>50.354838709677416</c:v>
                </c:pt>
                <c:pt idx="1643">
                  <c:v>50.451612903225808</c:v>
                </c:pt>
                <c:pt idx="1644">
                  <c:v>50.548387096774192</c:v>
                </c:pt>
                <c:pt idx="1645">
                  <c:v>50.645161290322584</c:v>
                </c:pt>
                <c:pt idx="1646">
                  <c:v>50.483870967741936</c:v>
                </c:pt>
                <c:pt idx="1647">
                  <c:v>50.41935483870968</c:v>
                </c:pt>
                <c:pt idx="1648">
                  <c:v>50.41935483870968</c:v>
                </c:pt>
                <c:pt idx="1649">
                  <c:v>50.451612903225808</c:v>
                </c:pt>
                <c:pt idx="1650">
                  <c:v>50.387096774193552</c:v>
                </c:pt>
                <c:pt idx="1651">
                  <c:v>50.58064516129032</c:v>
                </c:pt>
                <c:pt idx="1652">
                  <c:v>50.548387096774192</c:v>
                </c:pt>
                <c:pt idx="1653">
                  <c:v>50.677419354838712</c:v>
                </c:pt>
                <c:pt idx="1654">
                  <c:v>50.806451612903224</c:v>
                </c:pt>
                <c:pt idx="1655">
                  <c:v>50.838709677419352</c:v>
                </c:pt>
                <c:pt idx="1656">
                  <c:v>50.677419354838712</c:v>
                </c:pt>
                <c:pt idx="1657">
                  <c:v>50.451612903225808</c:v>
                </c:pt>
                <c:pt idx="1658">
                  <c:v>50.645161290322584</c:v>
                </c:pt>
                <c:pt idx="1659">
                  <c:v>50.645161290322584</c:v>
                </c:pt>
                <c:pt idx="1660">
                  <c:v>50.87096774193548</c:v>
                </c:pt>
                <c:pt idx="1661">
                  <c:v>50.838709677419352</c:v>
                </c:pt>
                <c:pt idx="1662">
                  <c:v>50.70967741935484</c:v>
                </c:pt>
                <c:pt idx="1663">
                  <c:v>50.41935483870968</c:v>
                </c:pt>
                <c:pt idx="1664">
                  <c:v>50.516129032258064</c:v>
                </c:pt>
                <c:pt idx="1665">
                  <c:v>50.58064516129032</c:v>
                </c:pt>
                <c:pt idx="1666">
                  <c:v>50.677419354838712</c:v>
                </c:pt>
                <c:pt idx="1667">
                  <c:v>50.387096774193552</c:v>
                </c:pt>
                <c:pt idx="1668">
                  <c:v>50.483870967741936</c:v>
                </c:pt>
                <c:pt idx="1669">
                  <c:v>50.451612903225808</c:v>
                </c:pt>
                <c:pt idx="1670">
                  <c:v>50.645161290322584</c:v>
                </c:pt>
                <c:pt idx="1671">
                  <c:v>50.774193548387096</c:v>
                </c:pt>
                <c:pt idx="1672">
                  <c:v>50.87096774193548</c:v>
                </c:pt>
                <c:pt idx="1673">
                  <c:v>50.806451612903224</c:v>
                </c:pt>
                <c:pt idx="1674">
                  <c:v>50.806451612903224</c:v>
                </c:pt>
                <c:pt idx="1675">
                  <c:v>50.935483870967744</c:v>
                </c:pt>
                <c:pt idx="1676">
                  <c:v>50.741935483870968</c:v>
                </c:pt>
                <c:pt idx="1677">
                  <c:v>50.838709677419352</c:v>
                </c:pt>
                <c:pt idx="1678">
                  <c:v>50.87096774193548</c:v>
                </c:pt>
                <c:pt idx="1679">
                  <c:v>50.58064516129032</c:v>
                </c:pt>
                <c:pt idx="1680">
                  <c:v>50.322580645161288</c:v>
                </c:pt>
                <c:pt idx="1681">
                  <c:v>50.354838709677416</c:v>
                </c:pt>
                <c:pt idx="1682">
                  <c:v>50.225806451612904</c:v>
                </c:pt>
                <c:pt idx="1683">
                  <c:v>50.096774193548384</c:v>
                </c:pt>
                <c:pt idx="1684">
                  <c:v>50.064516129032256</c:v>
                </c:pt>
                <c:pt idx="1685">
                  <c:v>50.258064516129032</c:v>
                </c:pt>
                <c:pt idx="1686">
                  <c:v>50.41935483870968</c:v>
                </c:pt>
                <c:pt idx="1687">
                  <c:v>50.58064516129032</c:v>
                </c:pt>
                <c:pt idx="1688">
                  <c:v>50.645161290322584</c:v>
                </c:pt>
                <c:pt idx="1689">
                  <c:v>50.612903225806448</c:v>
                </c:pt>
                <c:pt idx="1690">
                  <c:v>50.612903225806448</c:v>
                </c:pt>
                <c:pt idx="1691">
                  <c:v>50.548387096774192</c:v>
                </c:pt>
                <c:pt idx="1692">
                  <c:v>50.612903225806448</c:v>
                </c:pt>
                <c:pt idx="1693">
                  <c:v>50.645161290322584</c:v>
                </c:pt>
                <c:pt idx="1694">
                  <c:v>50.903225806451616</c:v>
                </c:pt>
                <c:pt idx="1695">
                  <c:v>50.677419354838712</c:v>
                </c:pt>
                <c:pt idx="1696">
                  <c:v>50.935483870967744</c:v>
                </c:pt>
                <c:pt idx="1697">
                  <c:v>50.935483870967744</c:v>
                </c:pt>
                <c:pt idx="1698">
                  <c:v>51.032258064516128</c:v>
                </c:pt>
                <c:pt idx="1699">
                  <c:v>50.967741935483872</c:v>
                </c:pt>
                <c:pt idx="1700">
                  <c:v>51.161290322580648</c:v>
                </c:pt>
                <c:pt idx="1701">
                  <c:v>51.161290322580648</c:v>
                </c:pt>
                <c:pt idx="1702">
                  <c:v>51.258064516129032</c:v>
                </c:pt>
                <c:pt idx="1703">
                  <c:v>51.41935483870968</c:v>
                </c:pt>
                <c:pt idx="1704">
                  <c:v>51.58064516129032</c:v>
                </c:pt>
                <c:pt idx="1705">
                  <c:v>51.58064516129032</c:v>
                </c:pt>
                <c:pt idx="1706">
                  <c:v>51.548387096774192</c:v>
                </c:pt>
                <c:pt idx="1707">
                  <c:v>51.87096774193548</c:v>
                </c:pt>
                <c:pt idx="1708">
                  <c:v>52.032258064516128</c:v>
                </c:pt>
                <c:pt idx="1709">
                  <c:v>52</c:v>
                </c:pt>
                <c:pt idx="1710">
                  <c:v>52.29032258064516</c:v>
                </c:pt>
                <c:pt idx="1711">
                  <c:v>52.451612903225808</c:v>
                </c:pt>
                <c:pt idx="1712">
                  <c:v>52.645161290322584</c:v>
                </c:pt>
                <c:pt idx="1713">
                  <c:v>52.70967741935484</c:v>
                </c:pt>
                <c:pt idx="1714">
                  <c:v>52.774193548387096</c:v>
                </c:pt>
                <c:pt idx="1715">
                  <c:v>52.741935483870968</c:v>
                </c:pt>
                <c:pt idx="1716">
                  <c:v>52.645161290322584</c:v>
                </c:pt>
                <c:pt idx="1717">
                  <c:v>52.645161290322584</c:v>
                </c:pt>
                <c:pt idx="1718">
                  <c:v>52.741935483870968</c:v>
                </c:pt>
                <c:pt idx="1719">
                  <c:v>52.838709677419352</c:v>
                </c:pt>
                <c:pt idx="1720">
                  <c:v>52.806451612903224</c:v>
                </c:pt>
                <c:pt idx="1721">
                  <c:v>52.903225806451616</c:v>
                </c:pt>
                <c:pt idx="1722">
                  <c:v>52.967741935483872</c:v>
                </c:pt>
                <c:pt idx="1723">
                  <c:v>53</c:v>
                </c:pt>
                <c:pt idx="1724">
                  <c:v>53.064516129032256</c:v>
                </c:pt>
                <c:pt idx="1725">
                  <c:v>53.12903225806452</c:v>
                </c:pt>
                <c:pt idx="1726">
                  <c:v>53.451612903225808</c:v>
                </c:pt>
                <c:pt idx="1727">
                  <c:v>53.387096774193552</c:v>
                </c:pt>
                <c:pt idx="1728">
                  <c:v>53.451612903225808</c:v>
                </c:pt>
                <c:pt idx="1729">
                  <c:v>53.58064516129032</c:v>
                </c:pt>
                <c:pt idx="1730">
                  <c:v>53.58064516129032</c:v>
                </c:pt>
                <c:pt idx="1731">
                  <c:v>53.548387096774192</c:v>
                </c:pt>
                <c:pt idx="1732">
                  <c:v>53.483870967741936</c:v>
                </c:pt>
                <c:pt idx="1733">
                  <c:v>53.41935483870968</c:v>
                </c:pt>
                <c:pt idx="1734">
                  <c:v>53.354838709677416</c:v>
                </c:pt>
                <c:pt idx="1735">
                  <c:v>53.387096774193552</c:v>
                </c:pt>
                <c:pt idx="1736">
                  <c:v>53.29032258064516</c:v>
                </c:pt>
                <c:pt idx="1737">
                  <c:v>53.322580645161288</c:v>
                </c:pt>
                <c:pt idx="1738">
                  <c:v>53.322580645161288</c:v>
                </c:pt>
                <c:pt idx="1739">
                  <c:v>53.258064516129032</c:v>
                </c:pt>
                <c:pt idx="1740">
                  <c:v>53.29032258064516</c:v>
                </c:pt>
                <c:pt idx="1741">
                  <c:v>53.225806451612904</c:v>
                </c:pt>
                <c:pt idx="1742">
                  <c:v>53.258064516129032</c:v>
                </c:pt>
                <c:pt idx="1743">
                  <c:v>52.967741935483872</c:v>
                </c:pt>
                <c:pt idx="1744">
                  <c:v>52.806451612903224</c:v>
                </c:pt>
                <c:pt idx="1745">
                  <c:v>52.645161290322584</c:v>
                </c:pt>
                <c:pt idx="1746">
                  <c:v>52.516129032258064</c:v>
                </c:pt>
                <c:pt idx="1747">
                  <c:v>52.322580645161288</c:v>
                </c:pt>
                <c:pt idx="1748">
                  <c:v>52.161290322580648</c:v>
                </c:pt>
                <c:pt idx="1749">
                  <c:v>51.87096774193548</c:v>
                </c:pt>
                <c:pt idx="1750">
                  <c:v>51.677419354838712</c:v>
                </c:pt>
                <c:pt idx="1751">
                  <c:v>51.70967741935484</c:v>
                </c:pt>
                <c:pt idx="1752">
                  <c:v>51.483870967741936</c:v>
                </c:pt>
                <c:pt idx="1753">
                  <c:v>51.451612903225808</c:v>
                </c:pt>
                <c:pt idx="1754">
                  <c:v>51.322580645161288</c:v>
                </c:pt>
                <c:pt idx="1755">
                  <c:v>51.225806451612904</c:v>
                </c:pt>
                <c:pt idx="1756">
                  <c:v>50.967741935483872</c:v>
                </c:pt>
                <c:pt idx="1757">
                  <c:v>50.645161290322584</c:v>
                </c:pt>
                <c:pt idx="1758">
                  <c:v>50.70967741935484</c:v>
                </c:pt>
                <c:pt idx="1759">
                  <c:v>50.548387096774192</c:v>
                </c:pt>
                <c:pt idx="1760">
                  <c:v>50.354838709677416</c:v>
                </c:pt>
                <c:pt idx="1761">
                  <c:v>50.29032258064516</c:v>
                </c:pt>
                <c:pt idx="1762">
                  <c:v>50.29032258064516</c:v>
                </c:pt>
                <c:pt idx="1763">
                  <c:v>50.161290322580648</c:v>
                </c:pt>
                <c:pt idx="1764">
                  <c:v>50.161290322580648</c:v>
                </c:pt>
                <c:pt idx="1765">
                  <c:v>49.967741935483872</c:v>
                </c:pt>
                <c:pt idx="1766">
                  <c:v>49.967741935483872</c:v>
                </c:pt>
                <c:pt idx="1767">
                  <c:v>49.806451612903224</c:v>
                </c:pt>
                <c:pt idx="1768">
                  <c:v>49.87096774193548</c:v>
                </c:pt>
                <c:pt idx="1769">
                  <c:v>49.58064516129032</c:v>
                </c:pt>
                <c:pt idx="1770">
                  <c:v>49.677419354838712</c:v>
                </c:pt>
                <c:pt idx="1771">
                  <c:v>49.612903225806448</c:v>
                </c:pt>
                <c:pt idx="1772">
                  <c:v>49.516129032258064</c:v>
                </c:pt>
                <c:pt idx="1773">
                  <c:v>49.29032258064516</c:v>
                </c:pt>
                <c:pt idx="1774">
                  <c:v>49.322580645161288</c:v>
                </c:pt>
                <c:pt idx="1775">
                  <c:v>49.387096774193552</c:v>
                </c:pt>
                <c:pt idx="1776">
                  <c:v>49.58064516129032</c:v>
                </c:pt>
                <c:pt idx="1777">
                  <c:v>49.548387096774192</c:v>
                </c:pt>
                <c:pt idx="1778">
                  <c:v>49.838709677419352</c:v>
                </c:pt>
                <c:pt idx="1779">
                  <c:v>49.967741935483872</c:v>
                </c:pt>
                <c:pt idx="1780">
                  <c:v>50.225806451612904</c:v>
                </c:pt>
                <c:pt idx="1781">
                  <c:v>50.451612903225808</c:v>
                </c:pt>
                <c:pt idx="1782">
                  <c:v>50.193548387096776</c:v>
                </c:pt>
                <c:pt idx="1783">
                  <c:v>50.451612903225808</c:v>
                </c:pt>
                <c:pt idx="1784">
                  <c:v>50.193548387096776</c:v>
                </c:pt>
                <c:pt idx="1785">
                  <c:v>50.096774193548384</c:v>
                </c:pt>
                <c:pt idx="1786">
                  <c:v>50</c:v>
                </c:pt>
                <c:pt idx="1787">
                  <c:v>50.193548387096776</c:v>
                </c:pt>
                <c:pt idx="1788">
                  <c:v>50.354838709677416</c:v>
                </c:pt>
                <c:pt idx="1789">
                  <c:v>50.12903225806452</c:v>
                </c:pt>
                <c:pt idx="1790">
                  <c:v>50.064516129032256</c:v>
                </c:pt>
                <c:pt idx="1791">
                  <c:v>50.322580645161288</c:v>
                </c:pt>
                <c:pt idx="1792">
                  <c:v>50.161290322580648</c:v>
                </c:pt>
                <c:pt idx="1793">
                  <c:v>50.161290322580648</c:v>
                </c:pt>
                <c:pt idx="1794">
                  <c:v>50.032258064516128</c:v>
                </c:pt>
                <c:pt idx="1795">
                  <c:v>50.096774193548384</c:v>
                </c:pt>
                <c:pt idx="1796">
                  <c:v>50.193548387096776</c:v>
                </c:pt>
                <c:pt idx="1797">
                  <c:v>50.161290322580648</c:v>
                </c:pt>
                <c:pt idx="1798">
                  <c:v>50.29032258064516</c:v>
                </c:pt>
                <c:pt idx="1799">
                  <c:v>50.032258064516128</c:v>
                </c:pt>
                <c:pt idx="1800">
                  <c:v>50.322580645161288</c:v>
                </c:pt>
                <c:pt idx="1801">
                  <c:v>50.322580645161288</c:v>
                </c:pt>
                <c:pt idx="1802">
                  <c:v>50.096774193548384</c:v>
                </c:pt>
                <c:pt idx="1803">
                  <c:v>50.064516129032256</c:v>
                </c:pt>
                <c:pt idx="1804">
                  <c:v>50.12903225806452</c:v>
                </c:pt>
                <c:pt idx="1805">
                  <c:v>50.322580645161288</c:v>
                </c:pt>
                <c:pt idx="1806">
                  <c:v>50.516129032258064</c:v>
                </c:pt>
                <c:pt idx="1807">
                  <c:v>50.41935483870968</c:v>
                </c:pt>
                <c:pt idx="1808">
                  <c:v>50.645161290322584</c:v>
                </c:pt>
                <c:pt idx="1809">
                  <c:v>50.612903225806448</c:v>
                </c:pt>
                <c:pt idx="1810">
                  <c:v>50.516129032258064</c:v>
                </c:pt>
                <c:pt idx="1811">
                  <c:v>50.225806451612904</c:v>
                </c:pt>
                <c:pt idx="1812">
                  <c:v>50.096774193548384</c:v>
                </c:pt>
                <c:pt idx="1813">
                  <c:v>50.193548387096776</c:v>
                </c:pt>
                <c:pt idx="1814">
                  <c:v>50.193548387096776</c:v>
                </c:pt>
                <c:pt idx="1815">
                  <c:v>50.322580645161288</c:v>
                </c:pt>
                <c:pt idx="1816">
                  <c:v>50.322580645161288</c:v>
                </c:pt>
                <c:pt idx="1817">
                  <c:v>50.258064516129032</c:v>
                </c:pt>
                <c:pt idx="1818">
                  <c:v>50</c:v>
                </c:pt>
                <c:pt idx="1819">
                  <c:v>49.838709677419352</c:v>
                </c:pt>
                <c:pt idx="1820">
                  <c:v>49.903225806451616</c:v>
                </c:pt>
                <c:pt idx="1821">
                  <c:v>49.87096774193548</c:v>
                </c:pt>
                <c:pt idx="1822">
                  <c:v>49.806451612903224</c:v>
                </c:pt>
                <c:pt idx="1823">
                  <c:v>49.967741935483872</c:v>
                </c:pt>
                <c:pt idx="1824">
                  <c:v>49.774193548387096</c:v>
                </c:pt>
                <c:pt idx="1825">
                  <c:v>49.806451612903224</c:v>
                </c:pt>
                <c:pt idx="1826">
                  <c:v>49.645161290322584</c:v>
                </c:pt>
                <c:pt idx="1827">
                  <c:v>49.70967741935484</c:v>
                </c:pt>
                <c:pt idx="1828">
                  <c:v>49.548387096774192</c:v>
                </c:pt>
                <c:pt idx="1829">
                  <c:v>49.677419354838712</c:v>
                </c:pt>
                <c:pt idx="1830">
                  <c:v>49.806451612903224</c:v>
                </c:pt>
                <c:pt idx="1831">
                  <c:v>49.806451612903224</c:v>
                </c:pt>
                <c:pt idx="1832">
                  <c:v>49.516129032258064</c:v>
                </c:pt>
                <c:pt idx="1833">
                  <c:v>49.774193548387096</c:v>
                </c:pt>
                <c:pt idx="1834">
                  <c:v>49.903225806451616</c:v>
                </c:pt>
                <c:pt idx="1835">
                  <c:v>49.935483870967744</c:v>
                </c:pt>
                <c:pt idx="1836">
                  <c:v>49.774193548387096</c:v>
                </c:pt>
                <c:pt idx="1837">
                  <c:v>49.483870967741936</c:v>
                </c:pt>
                <c:pt idx="1838">
                  <c:v>49.451612903225808</c:v>
                </c:pt>
                <c:pt idx="1839">
                  <c:v>49.193548387096776</c:v>
                </c:pt>
                <c:pt idx="1840">
                  <c:v>49.032258064516128</c:v>
                </c:pt>
                <c:pt idx="1841">
                  <c:v>49.193548387096776</c:v>
                </c:pt>
                <c:pt idx="1842">
                  <c:v>49.451612903225808</c:v>
                </c:pt>
                <c:pt idx="1843">
                  <c:v>49.41935483870968</c:v>
                </c:pt>
                <c:pt idx="1844">
                  <c:v>49.516129032258064</c:v>
                </c:pt>
                <c:pt idx="1845">
                  <c:v>49.548387096774192</c:v>
                </c:pt>
                <c:pt idx="1846">
                  <c:v>49.516129032258064</c:v>
                </c:pt>
                <c:pt idx="1847">
                  <c:v>49.516129032258064</c:v>
                </c:pt>
                <c:pt idx="1848">
                  <c:v>49.774193548387096</c:v>
                </c:pt>
                <c:pt idx="1849">
                  <c:v>50</c:v>
                </c:pt>
                <c:pt idx="1850">
                  <c:v>50.29032258064516</c:v>
                </c:pt>
                <c:pt idx="1851">
                  <c:v>50.12903225806452</c:v>
                </c:pt>
                <c:pt idx="1852">
                  <c:v>50.225806451612904</c:v>
                </c:pt>
                <c:pt idx="1853">
                  <c:v>50</c:v>
                </c:pt>
                <c:pt idx="1854">
                  <c:v>49.806451612903224</c:v>
                </c:pt>
                <c:pt idx="1855">
                  <c:v>49.903225806451616</c:v>
                </c:pt>
                <c:pt idx="1856">
                  <c:v>50.161290322580648</c:v>
                </c:pt>
                <c:pt idx="1857">
                  <c:v>50.225806451612904</c:v>
                </c:pt>
                <c:pt idx="1858">
                  <c:v>50.322580645161288</c:v>
                </c:pt>
                <c:pt idx="1859">
                  <c:v>50.41935483870968</c:v>
                </c:pt>
                <c:pt idx="1860">
                  <c:v>50.354838709677416</c:v>
                </c:pt>
                <c:pt idx="1861">
                  <c:v>50.483870967741936</c:v>
                </c:pt>
                <c:pt idx="1862">
                  <c:v>50.161290322580648</c:v>
                </c:pt>
                <c:pt idx="1863">
                  <c:v>50.12903225806452</c:v>
                </c:pt>
                <c:pt idx="1864">
                  <c:v>49.903225806451616</c:v>
                </c:pt>
                <c:pt idx="1865">
                  <c:v>49.903225806451616</c:v>
                </c:pt>
                <c:pt idx="1866">
                  <c:v>50</c:v>
                </c:pt>
                <c:pt idx="1867">
                  <c:v>50.161290322580648</c:v>
                </c:pt>
                <c:pt idx="1868">
                  <c:v>50.451612903225808</c:v>
                </c:pt>
                <c:pt idx="1869">
                  <c:v>50.387096774193552</c:v>
                </c:pt>
                <c:pt idx="1870">
                  <c:v>50.58064516129032</c:v>
                </c:pt>
                <c:pt idx="1871">
                  <c:v>50.645161290322584</c:v>
                </c:pt>
                <c:pt idx="1872">
                  <c:v>50.451612903225808</c:v>
                </c:pt>
                <c:pt idx="1873">
                  <c:v>50.193548387096776</c:v>
                </c:pt>
                <c:pt idx="1874">
                  <c:v>50.354838709677416</c:v>
                </c:pt>
                <c:pt idx="1875">
                  <c:v>50.258064516129032</c:v>
                </c:pt>
                <c:pt idx="1876">
                  <c:v>50.096774193548384</c:v>
                </c:pt>
                <c:pt idx="1877">
                  <c:v>50.096774193548384</c:v>
                </c:pt>
                <c:pt idx="1878">
                  <c:v>50.064516129032256</c:v>
                </c:pt>
                <c:pt idx="1879">
                  <c:v>50.064516129032256</c:v>
                </c:pt>
                <c:pt idx="1880">
                  <c:v>50.032258064516128</c:v>
                </c:pt>
                <c:pt idx="1881">
                  <c:v>49.967741935483872</c:v>
                </c:pt>
                <c:pt idx="1882">
                  <c:v>50.225806451612904</c:v>
                </c:pt>
                <c:pt idx="1883">
                  <c:v>50.12903225806452</c:v>
                </c:pt>
                <c:pt idx="1884">
                  <c:v>50.225806451612904</c:v>
                </c:pt>
                <c:pt idx="1885">
                  <c:v>50.41935483870968</c:v>
                </c:pt>
                <c:pt idx="1886">
                  <c:v>50.41935483870968</c:v>
                </c:pt>
                <c:pt idx="1887">
                  <c:v>50.354838709677416</c:v>
                </c:pt>
                <c:pt idx="1888">
                  <c:v>50.451612903225808</c:v>
                </c:pt>
                <c:pt idx="1889">
                  <c:v>50.387096774193552</c:v>
                </c:pt>
                <c:pt idx="1890">
                  <c:v>50.483870967741936</c:v>
                </c:pt>
                <c:pt idx="1891">
                  <c:v>50.516129032258064</c:v>
                </c:pt>
                <c:pt idx="1892">
                  <c:v>50.516129032258064</c:v>
                </c:pt>
                <c:pt idx="1893">
                  <c:v>50.741935483870968</c:v>
                </c:pt>
                <c:pt idx="1894">
                  <c:v>51.032258064516128</c:v>
                </c:pt>
                <c:pt idx="1895">
                  <c:v>51.225806451612904</c:v>
                </c:pt>
                <c:pt idx="1896">
                  <c:v>51.258064516129032</c:v>
                </c:pt>
                <c:pt idx="1897">
                  <c:v>51.322580645161288</c:v>
                </c:pt>
                <c:pt idx="1898">
                  <c:v>51.29032258064516</c:v>
                </c:pt>
                <c:pt idx="1899">
                  <c:v>51.193548387096776</c:v>
                </c:pt>
                <c:pt idx="1900">
                  <c:v>51.41935483870968</c:v>
                </c:pt>
                <c:pt idx="1901">
                  <c:v>51.483870967741936</c:v>
                </c:pt>
                <c:pt idx="1902">
                  <c:v>51.58064516129032</c:v>
                </c:pt>
                <c:pt idx="1903">
                  <c:v>51.838709677419352</c:v>
                </c:pt>
                <c:pt idx="1904">
                  <c:v>52.096774193548384</c:v>
                </c:pt>
                <c:pt idx="1905">
                  <c:v>52.12903225806452</c:v>
                </c:pt>
                <c:pt idx="1906">
                  <c:v>52.322580645161288</c:v>
                </c:pt>
                <c:pt idx="1907">
                  <c:v>52.387096774193552</c:v>
                </c:pt>
                <c:pt idx="1908">
                  <c:v>52.58064516129032</c:v>
                </c:pt>
                <c:pt idx="1909">
                  <c:v>52.774193548387096</c:v>
                </c:pt>
                <c:pt idx="1910">
                  <c:v>52.70967741935484</c:v>
                </c:pt>
                <c:pt idx="1911">
                  <c:v>52.838709677419352</c:v>
                </c:pt>
                <c:pt idx="1912">
                  <c:v>52.838709677419352</c:v>
                </c:pt>
                <c:pt idx="1913">
                  <c:v>52.806451612903224</c:v>
                </c:pt>
                <c:pt idx="1914">
                  <c:v>53.064516129032256</c:v>
                </c:pt>
                <c:pt idx="1915">
                  <c:v>53.193548387096776</c:v>
                </c:pt>
                <c:pt idx="1916">
                  <c:v>53.322580645161288</c:v>
                </c:pt>
                <c:pt idx="1917">
                  <c:v>53.451612903225808</c:v>
                </c:pt>
                <c:pt idx="1918">
                  <c:v>53.516129032258064</c:v>
                </c:pt>
                <c:pt idx="1919">
                  <c:v>53.451612903225808</c:v>
                </c:pt>
                <c:pt idx="1920">
                  <c:v>53.483870967741936</c:v>
                </c:pt>
                <c:pt idx="1921">
                  <c:v>53.451612903225808</c:v>
                </c:pt>
                <c:pt idx="1922">
                  <c:v>53.387096774193552</c:v>
                </c:pt>
                <c:pt idx="1923">
                  <c:v>53.322580645161288</c:v>
                </c:pt>
                <c:pt idx="1924">
                  <c:v>53.354838709677416</c:v>
                </c:pt>
                <c:pt idx="1925">
                  <c:v>53.322580645161288</c:v>
                </c:pt>
                <c:pt idx="1926">
                  <c:v>53.354838709677416</c:v>
                </c:pt>
                <c:pt idx="1927">
                  <c:v>53.41935483870968</c:v>
                </c:pt>
                <c:pt idx="1928">
                  <c:v>53.451612903225808</c:v>
                </c:pt>
                <c:pt idx="1929">
                  <c:v>53.516129032258064</c:v>
                </c:pt>
                <c:pt idx="1930">
                  <c:v>53.58064516129032</c:v>
                </c:pt>
                <c:pt idx="1931">
                  <c:v>53.354838709677416</c:v>
                </c:pt>
                <c:pt idx="1932">
                  <c:v>53.064516129032256</c:v>
                </c:pt>
                <c:pt idx="1933">
                  <c:v>52.967741935483872</c:v>
                </c:pt>
                <c:pt idx="1934">
                  <c:v>52.967741935483872</c:v>
                </c:pt>
                <c:pt idx="1935">
                  <c:v>53</c:v>
                </c:pt>
                <c:pt idx="1936">
                  <c:v>52.967741935483872</c:v>
                </c:pt>
                <c:pt idx="1937">
                  <c:v>52.774193548387096</c:v>
                </c:pt>
                <c:pt idx="1938">
                  <c:v>52.70967741935484</c:v>
                </c:pt>
                <c:pt idx="1939">
                  <c:v>52.451612903225808</c:v>
                </c:pt>
                <c:pt idx="1940">
                  <c:v>52.193548387096776</c:v>
                </c:pt>
                <c:pt idx="1941">
                  <c:v>52.064516129032256</c:v>
                </c:pt>
                <c:pt idx="1942">
                  <c:v>51.838709677419352</c:v>
                </c:pt>
                <c:pt idx="1943">
                  <c:v>51.838709677419352</c:v>
                </c:pt>
                <c:pt idx="1944">
                  <c:v>51.87096774193548</c:v>
                </c:pt>
                <c:pt idx="1945">
                  <c:v>51.87096774193548</c:v>
                </c:pt>
                <c:pt idx="1946">
                  <c:v>51.70967741935484</c:v>
                </c:pt>
                <c:pt idx="1947">
                  <c:v>51.58064516129032</c:v>
                </c:pt>
                <c:pt idx="1948">
                  <c:v>51.612903225806448</c:v>
                </c:pt>
                <c:pt idx="1949">
                  <c:v>51.645161290322584</c:v>
                </c:pt>
                <c:pt idx="1950">
                  <c:v>51.548387096774192</c:v>
                </c:pt>
                <c:pt idx="1951">
                  <c:v>51.451612903225808</c:v>
                </c:pt>
                <c:pt idx="1952">
                  <c:v>51.29032258064516</c:v>
                </c:pt>
                <c:pt idx="1953">
                  <c:v>51.225806451612904</c:v>
                </c:pt>
                <c:pt idx="1954">
                  <c:v>51.225806451612904</c:v>
                </c:pt>
                <c:pt idx="1955">
                  <c:v>51.161290322580648</c:v>
                </c:pt>
                <c:pt idx="1956">
                  <c:v>51.12903225806452</c:v>
                </c:pt>
                <c:pt idx="1957">
                  <c:v>51</c:v>
                </c:pt>
                <c:pt idx="1958">
                  <c:v>50.87096774193548</c:v>
                </c:pt>
                <c:pt idx="1959">
                  <c:v>50.70967741935484</c:v>
                </c:pt>
                <c:pt idx="1960">
                  <c:v>50.645161290322584</c:v>
                </c:pt>
                <c:pt idx="1961">
                  <c:v>50.645161290322584</c:v>
                </c:pt>
                <c:pt idx="1962">
                  <c:v>50.903225806451616</c:v>
                </c:pt>
                <c:pt idx="1963">
                  <c:v>51.064516129032256</c:v>
                </c:pt>
                <c:pt idx="1964">
                  <c:v>50.903225806451616</c:v>
                </c:pt>
                <c:pt idx="1965">
                  <c:v>50.774193548387096</c:v>
                </c:pt>
                <c:pt idx="1966">
                  <c:v>50.806451612903224</c:v>
                </c:pt>
                <c:pt idx="1967">
                  <c:v>50.645161290322584</c:v>
                </c:pt>
                <c:pt idx="1968">
                  <c:v>50.70967741935484</c:v>
                </c:pt>
                <c:pt idx="1969">
                  <c:v>50.806451612903224</c:v>
                </c:pt>
                <c:pt idx="1970">
                  <c:v>50.903225806451616</c:v>
                </c:pt>
                <c:pt idx="1971">
                  <c:v>51.225806451612904</c:v>
                </c:pt>
                <c:pt idx="1972">
                  <c:v>51.161290322580648</c:v>
                </c:pt>
                <c:pt idx="1973">
                  <c:v>51.387096774193552</c:v>
                </c:pt>
                <c:pt idx="1974">
                  <c:v>51.451612903225808</c:v>
                </c:pt>
                <c:pt idx="1975">
                  <c:v>51.451612903225808</c:v>
                </c:pt>
                <c:pt idx="1976">
                  <c:v>51.225806451612904</c:v>
                </c:pt>
                <c:pt idx="1977">
                  <c:v>51.29032258064516</c:v>
                </c:pt>
                <c:pt idx="1978">
                  <c:v>51.12903225806452</c:v>
                </c:pt>
                <c:pt idx="1979">
                  <c:v>51.12903225806452</c:v>
                </c:pt>
                <c:pt idx="1980">
                  <c:v>51.032258064516128</c:v>
                </c:pt>
                <c:pt idx="1981">
                  <c:v>51</c:v>
                </c:pt>
                <c:pt idx="1982">
                  <c:v>50.806451612903224</c:v>
                </c:pt>
                <c:pt idx="1983">
                  <c:v>50.967741935483872</c:v>
                </c:pt>
                <c:pt idx="1984">
                  <c:v>50.903225806451616</c:v>
                </c:pt>
                <c:pt idx="1985">
                  <c:v>50.967741935483872</c:v>
                </c:pt>
                <c:pt idx="1986">
                  <c:v>51.064516129032256</c:v>
                </c:pt>
                <c:pt idx="1987">
                  <c:v>51</c:v>
                </c:pt>
                <c:pt idx="1988">
                  <c:v>51.12903225806452</c:v>
                </c:pt>
                <c:pt idx="1989">
                  <c:v>50.967741935483872</c:v>
                </c:pt>
                <c:pt idx="1990">
                  <c:v>50.87096774193548</c:v>
                </c:pt>
                <c:pt idx="1991">
                  <c:v>50.935483870967744</c:v>
                </c:pt>
                <c:pt idx="1992">
                  <c:v>50.903225806451616</c:v>
                </c:pt>
                <c:pt idx="1993">
                  <c:v>50.677419354838712</c:v>
                </c:pt>
                <c:pt idx="1994">
                  <c:v>50.483870967741936</c:v>
                </c:pt>
                <c:pt idx="1995">
                  <c:v>50.741935483870968</c:v>
                </c:pt>
                <c:pt idx="1996">
                  <c:v>50.774193548387096</c:v>
                </c:pt>
                <c:pt idx="1997">
                  <c:v>50.548387096774192</c:v>
                </c:pt>
                <c:pt idx="1998">
                  <c:v>50.645161290322584</c:v>
                </c:pt>
                <c:pt idx="1999">
                  <c:v>50.677419354838712</c:v>
                </c:pt>
                <c:pt idx="2000">
                  <c:v>50.677419354838712</c:v>
                </c:pt>
                <c:pt idx="2001">
                  <c:v>50.741935483870968</c:v>
                </c:pt>
                <c:pt idx="2002">
                  <c:v>50.70967741935484</c:v>
                </c:pt>
                <c:pt idx="2003">
                  <c:v>50.87096774193548</c:v>
                </c:pt>
                <c:pt idx="2004">
                  <c:v>50.548387096774192</c:v>
                </c:pt>
                <c:pt idx="2005">
                  <c:v>50.258064516129032</c:v>
                </c:pt>
                <c:pt idx="2006">
                  <c:v>50.258064516129032</c:v>
                </c:pt>
                <c:pt idx="2007">
                  <c:v>50.516129032258064</c:v>
                </c:pt>
                <c:pt idx="2008">
                  <c:v>50.387096774193552</c:v>
                </c:pt>
                <c:pt idx="2009">
                  <c:v>50.58064516129032</c:v>
                </c:pt>
                <c:pt idx="2010">
                  <c:v>50.58064516129032</c:v>
                </c:pt>
                <c:pt idx="2011">
                  <c:v>50.354838709677416</c:v>
                </c:pt>
                <c:pt idx="2012">
                  <c:v>50.483870967741936</c:v>
                </c:pt>
                <c:pt idx="2013">
                  <c:v>50.58064516129032</c:v>
                </c:pt>
                <c:pt idx="2014">
                  <c:v>50.58064516129032</c:v>
                </c:pt>
                <c:pt idx="2015">
                  <c:v>50.741935483870968</c:v>
                </c:pt>
                <c:pt idx="2016">
                  <c:v>50.516129032258064</c:v>
                </c:pt>
                <c:pt idx="2017">
                  <c:v>50.483870967741936</c:v>
                </c:pt>
                <c:pt idx="2018">
                  <c:v>50.41935483870968</c:v>
                </c:pt>
                <c:pt idx="2019">
                  <c:v>50.322580645161288</c:v>
                </c:pt>
                <c:pt idx="2020">
                  <c:v>50.29032258064516</c:v>
                </c:pt>
                <c:pt idx="2021">
                  <c:v>50.258064516129032</c:v>
                </c:pt>
                <c:pt idx="2022">
                  <c:v>50.225806451612904</c:v>
                </c:pt>
                <c:pt idx="2023">
                  <c:v>50.064516129032256</c:v>
                </c:pt>
                <c:pt idx="2024">
                  <c:v>50.096774193548384</c:v>
                </c:pt>
                <c:pt idx="2025">
                  <c:v>50.354838709677416</c:v>
                </c:pt>
                <c:pt idx="2026">
                  <c:v>50.161290322580648</c:v>
                </c:pt>
                <c:pt idx="2027">
                  <c:v>50.161290322580648</c:v>
                </c:pt>
                <c:pt idx="2028">
                  <c:v>50.29032258064516</c:v>
                </c:pt>
                <c:pt idx="2029">
                  <c:v>50.12903225806452</c:v>
                </c:pt>
                <c:pt idx="2030">
                  <c:v>49.903225806451616</c:v>
                </c:pt>
                <c:pt idx="2031">
                  <c:v>49.677419354838712</c:v>
                </c:pt>
                <c:pt idx="2032">
                  <c:v>49.70967741935484</c:v>
                </c:pt>
                <c:pt idx="2033">
                  <c:v>49.548387096774192</c:v>
                </c:pt>
                <c:pt idx="2034">
                  <c:v>49.516129032258064</c:v>
                </c:pt>
                <c:pt idx="2035">
                  <c:v>49.741935483870968</c:v>
                </c:pt>
                <c:pt idx="2036">
                  <c:v>49.967741935483872</c:v>
                </c:pt>
                <c:pt idx="2037">
                  <c:v>49.838709677419352</c:v>
                </c:pt>
                <c:pt idx="2038">
                  <c:v>49.838709677419352</c:v>
                </c:pt>
                <c:pt idx="2039">
                  <c:v>49.903225806451616</c:v>
                </c:pt>
                <c:pt idx="2040">
                  <c:v>49.806451612903224</c:v>
                </c:pt>
                <c:pt idx="2041">
                  <c:v>49.806451612903224</c:v>
                </c:pt>
                <c:pt idx="2042">
                  <c:v>50</c:v>
                </c:pt>
                <c:pt idx="2043">
                  <c:v>49.838709677419352</c:v>
                </c:pt>
                <c:pt idx="2044">
                  <c:v>49.935483870967744</c:v>
                </c:pt>
                <c:pt idx="2045">
                  <c:v>49.87096774193548</c:v>
                </c:pt>
                <c:pt idx="2046">
                  <c:v>49.645161290322584</c:v>
                </c:pt>
                <c:pt idx="2047">
                  <c:v>49.806451612903224</c:v>
                </c:pt>
                <c:pt idx="2048">
                  <c:v>49.741935483870968</c:v>
                </c:pt>
                <c:pt idx="2049">
                  <c:v>49.806451612903224</c:v>
                </c:pt>
                <c:pt idx="2050">
                  <c:v>49.70967741935484</c:v>
                </c:pt>
                <c:pt idx="2051">
                  <c:v>49.806451612903224</c:v>
                </c:pt>
                <c:pt idx="2052">
                  <c:v>49.935483870967744</c:v>
                </c:pt>
                <c:pt idx="2053">
                  <c:v>49.741935483870968</c:v>
                </c:pt>
                <c:pt idx="2054">
                  <c:v>49.903225806451616</c:v>
                </c:pt>
                <c:pt idx="2055">
                  <c:v>50</c:v>
                </c:pt>
                <c:pt idx="2056">
                  <c:v>50</c:v>
                </c:pt>
                <c:pt idx="2057">
                  <c:v>49.903225806451616</c:v>
                </c:pt>
                <c:pt idx="2058">
                  <c:v>49.70967741935484</c:v>
                </c:pt>
                <c:pt idx="2059">
                  <c:v>49.70967741935484</c:v>
                </c:pt>
                <c:pt idx="2060">
                  <c:v>49.967741935483872</c:v>
                </c:pt>
                <c:pt idx="2061">
                  <c:v>50.064516129032256</c:v>
                </c:pt>
                <c:pt idx="2062">
                  <c:v>50.096774193548384</c:v>
                </c:pt>
                <c:pt idx="2063">
                  <c:v>50.096774193548384</c:v>
                </c:pt>
                <c:pt idx="2064">
                  <c:v>50.193548387096776</c:v>
                </c:pt>
                <c:pt idx="2065">
                  <c:v>50.064516129032256</c:v>
                </c:pt>
                <c:pt idx="2066">
                  <c:v>50</c:v>
                </c:pt>
                <c:pt idx="2067">
                  <c:v>49.87096774193548</c:v>
                </c:pt>
                <c:pt idx="2068">
                  <c:v>49.87096774193548</c:v>
                </c:pt>
                <c:pt idx="2069">
                  <c:v>49.70967741935484</c:v>
                </c:pt>
                <c:pt idx="2070">
                  <c:v>49.903225806451616</c:v>
                </c:pt>
                <c:pt idx="2071">
                  <c:v>49.903225806451616</c:v>
                </c:pt>
                <c:pt idx="2072">
                  <c:v>49.612903225806448</c:v>
                </c:pt>
                <c:pt idx="2073">
                  <c:v>49.548387096774192</c:v>
                </c:pt>
                <c:pt idx="2074">
                  <c:v>49.548387096774192</c:v>
                </c:pt>
                <c:pt idx="2075">
                  <c:v>49.451612903225808</c:v>
                </c:pt>
                <c:pt idx="2076">
                  <c:v>49.29032258064516</c:v>
                </c:pt>
                <c:pt idx="2077">
                  <c:v>49.548387096774192</c:v>
                </c:pt>
                <c:pt idx="2078">
                  <c:v>49.41935483870968</c:v>
                </c:pt>
                <c:pt idx="2079">
                  <c:v>49.483870967741936</c:v>
                </c:pt>
                <c:pt idx="2080">
                  <c:v>49.387096774193552</c:v>
                </c:pt>
                <c:pt idx="2081">
                  <c:v>49.41935483870968</c:v>
                </c:pt>
                <c:pt idx="2082">
                  <c:v>49.387096774193552</c:v>
                </c:pt>
                <c:pt idx="2083">
                  <c:v>49.322580645161288</c:v>
                </c:pt>
                <c:pt idx="2084">
                  <c:v>49.322580645161288</c:v>
                </c:pt>
                <c:pt idx="2085">
                  <c:v>49.12903225806452</c:v>
                </c:pt>
                <c:pt idx="2086">
                  <c:v>49.193548387096776</c:v>
                </c:pt>
                <c:pt idx="2087">
                  <c:v>49.12903225806452</c:v>
                </c:pt>
                <c:pt idx="2088">
                  <c:v>49.12903225806452</c:v>
                </c:pt>
                <c:pt idx="2089">
                  <c:v>49.193548387096776</c:v>
                </c:pt>
                <c:pt idx="2090">
                  <c:v>48.967741935483872</c:v>
                </c:pt>
                <c:pt idx="2091">
                  <c:v>48.806451612903224</c:v>
                </c:pt>
                <c:pt idx="2092">
                  <c:v>48.70967741935484</c:v>
                </c:pt>
                <c:pt idx="2093">
                  <c:v>48.87096774193548</c:v>
                </c:pt>
                <c:pt idx="2094">
                  <c:v>48.903225806451616</c:v>
                </c:pt>
                <c:pt idx="2095">
                  <c:v>48.677419354838712</c:v>
                </c:pt>
                <c:pt idx="2096">
                  <c:v>48.838709677419352</c:v>
                </c:pt>
                <c:pt idx="2097">
                  <c:v>48.741935483870968</c:v>
                </c:pt>
                <c:pt idx="2098">
                  <c:v>48.774193548387096</c:v>
                </c:pt>
                <c:pt idx="2099">
                  <c:v>48.935483870967744</c:v>
                </c:pt>
                <c:pt idx="2100">
                  <c:v>49.032258064516128</c:v>
                </c:pt>
                <c:pt idx="2101">
                  <c:v>48.741935483870968</c:v>
                </c:pt>
                <c:pt idx="2102">
                  <c:v>48.935483870967744</c:v>
                </c:pt>
                <c:pt idx="2103">
                  <c:v>49.096774193548384</c:v>
                </c:pt>
                <c:pt idx="2104">
                  <c:v>49.29032258064516</c:v>
                </c:pt>
                <c:pt idx="2105">
                  <c:v>49.516129032258064</c:v>
                </c:pt>
                <c:pt idx="2106">
                  <c:v>49.70967741935484</c:v>
                </c:pt>
                <c:pt idx="2107">
                  <c:v>49.741935483870968</c:v>
                </c:pt>
                <c:pt idx="2108">
                  <c:v>49.548387096774192</c:v>
                </c:pt>
                <c:pt idx="2109">
                  <c:v>49.741935483870968</c:v>
                </c:pt>
                <c:pt idx="2110">
                  <c:v>49.806451612903224</c:v>
                </c:pt>
                <c:pt idx="2111">
                  <c:v>49.806451612903224</c:v>
                </c:pt>
                <c:pt idx="2112">
                  <c:v>49.87096774193548</c:v>
                </c:pt>
                <c:pt idx="2113">
                  <c:v>49.87096774193548</c:v>
                </c:pt>
                <c:pt idx="2114">
                  <c:v>49.87096774193548</c:v>
                </c:pt>
                <c:pt idx="2115">
                  <c:v>49.903225806451616</c:v>
                </c:pt>
                <c:pt idx="2116">
                  <c:v>50.161290322580648</c:v>
                </c:pt>
                <c:pt idx="2117">
                  <c:v>49.87096774193548</c:v>
                </c:pt>
                <c:pt idx="2118">
                  <c:v>49.70967741935484</c:v>
                </c:pt>
                <c:pt idx="2119">
                  <c:v>49.838709677419352</c:v>
                </c:pt>
                <c:pt idx="2120">
                  <c:v>49.87096774193548</c:v>
                </c:pt>
                <c:pt idx="2121">
                  <c:v>49.87096774193548</c:v>
                </c:pt>
                <c:pt idx="2122">
                  <c:v>49.935483870967744</c:v>
                </c:pt>
                <c:pt idx="2123">
                  <c:v>50.064516129032256</c:v>
                </c:pt>
                <c:pt idx="2124">
                  <c:v>50.161290322580648</c:v>
                </c:pt>
                <c:pt idx="2125">
                  <c:v>49.903225806451616</c:v>
                </c:pt>
                <c:pt idx="2126">
                  <c:v>50.12903225806452</c:v>
                </c:pt>
                <c:pt idx="2127">
                  <c:v>50</c:v>
                </c:pt>
                <c:pt idx="2128">
                  <c:v>50.064516129032256</c:v>
                </c:pt>
                <c:pt idx="2129">
                  <c:v>50.258064516129032</c:v>
                </c:pt>
                <c:pt idx="2130">
                  <c:v>50.161290322580648</c:v>
                </c:pt>
                <c:pt idx="2131">
                  <c:v>50.12903225806452</c:v>
                </c:pt>
                <c:pt idx="2132">
                  <c:v>50.161290322580648</c:v>
                </c:pt>
                <c:pt idx="2133">
                  <c:v>49.838709677419352</c:v>
                </c:pt>
                <c:pt idx="2134">
                  <c:v>49.774193548387096</c:v>
                </c:pt>
                <c:pt idx="2135">
                  <c:v>49.451612903225808</c:v>
                </c:pt>
                <c:pt idx="2136">
                  <c:v>49.451612903225808</c:v>
                </c:pt>
                <c:pt idx="2137">
                  <c:v>49.258064516129032</c:v>
                </c:pt>
                <c:pt idx="2138">
                  <c:v>49.451612903225808</c:v>
                </c:pt>
                <c:pt idx="2139">
                  <c:v>49.548387096774192</c:v>
                </c:pt>
                <c:pt idx="2140">
                  <c:v>49.258064516129032</c:v>
                </c:pt>
                <c:pt idx="2141">
                  <c:v>49.032258064516128</c:v>
                </c:pt>
                <c:pt idx="2142">
                  <c:v>49.258064516129032</c:v>
                </c:pt>
                <c:pt idx="2143">
                  <c:v>49.225806451612904</c:v>
                </c:pt>
                <c:pt idx="2144">
                  <c:v>49.451612903225808</c:v>
                </c:pt>
                <c:pt idx="2145">
                  <c:v>49.612903225806448</c:v>
                </c:pt>
                <c:pt idx="2146">
                  <c:v>49.548387096774192</c:v>
                </c:pt>
                <c:pt idx="2147">
                  <c:v>49.322580645161288</c:v>
                </c:pt>
                <c:pt idx="2148">
                  <c:v>49.548387096774192</c:v>
                </c:pt>
                <c:pt idx="2149">
                  <c:v>49.645161290322584</c:v>
                </c:pt>
                <c:pt idx="2150">
                  <c:v>49.70967741935484</c:v>
                </c:pt>
                <c:pt idx="2151">
                  <c:v>49.58064516129032</c:v>
                </c:pt>
                <c:pt idx="2152">
                  <c:v>49.903225806451616</c:v>
                </c:pt>
                <c:pt idx="2153">
                  <c:v>49.70967741935484</c:v>
                </c:pt>
                <c:pt idx="2154">
                  <c:v>49.70967741935484</c:v>
                </c:pt>
                <c:pt idx="2155">
                  <c:v>49.645161290322584</c:v>
                </c:pt>
                <c:pt idx="2156">
                  <c:v>49.903225806451616</c:v>
                </c:pt>
                <c:pt idx="2157">
                  <c:v>49.903225806451616</c:v>
                </c:pt>
                <c:pt idx="2158">
                  <c:v>50.096774193548384</c:v>
                </c:pt>
                <c:pt idx="2159">
                  <c:v>50.258064516129032</c:v>
                </c:pt>
                <c:pt idx="2160">
                  <c:v>50.096774193548384</c:v>
                </c:pt>
                <c:pt idx="2161">
                  <c:v>50.193548387096776</c:v>
                </c:pt>
                <c:pt idx="2162">
                  <c:v>50.064516129032256</c:v>
                </c:pt>
                <c:pt idx="2163">
                  <c:v>50.322580645161288</c:v>
                </c:pt>
                <c:pt idx="2164">
                  <c:v>50.548387096774192</c:v>
                </c:pt>
                <c:pt idx="2165">
                  <c:v>50.548387096774192</c:v>
                </c:pt>
                <c:pt idx="2166">
                  <c:v>50.806451612903224</c:v>
                </c:pt>
                <c:pt idx="2167">
                  <c:v>50.645161290322584</c:v>
                </c:pt>
                <c:pt idx="2168">
                  <c:v>50.774193548387096</c:v>
                </c:pt>
                <c:pt idx="2169">
                  <c:v>50.677419354838712</c:v>
                </c:pt>
                <c:pt idx="2170">
                  <c:v>50.516129032258064</c:v>
                </c:pt>
                <c:pt idx="2171">
                  <c:v>50.645161290322584</c:v>
                </c:pt>
                <c:pt idx="2172">
                  <c:v>50.774193548387096</c:v>
                </c:pt>
                <c:pt idx="2173">
                  <c:v>50.612903225806448</c:v>
                </c:pt>
                <c:pt idx="2174">
                  <c:v>50.806451612903224</c:v>
                </c:pt>
                <c:pt idx="2175">
                  <c:v>50.838709677419352</c:v>
                </c:pt>
                <c:pt idx="2176">
                  <c:v>50.58064516129032</c:v>
                </c:pt>
                <c:pt idx="2177">
                  <c:v>50.70967741935484</c:v>
                </c:pt>
                <c:pt idx="2178">
                  <c:v>50.741935483870968</c:v>
                </c:pt>
                <c:pt idx="2179">
                  <c:v>50.548387096774192</c:v>
                </c:pt>
                <c:pt idx="2180">
                  <c:v>50.645161290322584</c:v>
                </c:pt>
                <c:pt idx="2181">
                  <c:v>50.548387096774192</c:v>
                </c:pt>
                <c:pt idx="2182">
                  <c:v>50.548387096774192</c:v>
                </c:pt>
                <c:pt idx="2183">
                  <c:v>50.548387096774192</c:v>
                </c:pt>
                <c:pt idx="2184">
                  <c:v>50.838709677419352</c:v>
                </c:pt>
                <c:pt idx="2185">
                  <c:v>51.032258064516128</c:v>
                </c:pt>
                <c:pt idx="2186">
                  <c:v>50.838709677419352</c:v>
                </c:pt>
                <c:pt idx="2187">
                  <c:v>50.774193548387096</c:v>
                </c:pt>
                <c:pt idx="2188">
                  <c:v>50.58064516129032</c:v>
                </c:pt>
                <c:pt idx="2189">
                  <c:v>50.41935483870968</c:v>
                </c:pt>
                <c:pt idx="2190">
                  <c:v>50.225806451612904</c:v>
                </c:pt>
                <c:pt idx="2191">
                  <c:v>50.387096774193552</c:v>
                </c:pt>
                <c:pt idx="2192">
                  <c:v>50.41935483870968</c:v>
                </c:pt>
                <c:pt idx="2193">
                  <c:v>50.516129032258064</c:v>
                </c:pt>
                <c:pt idx="2194">
                  <c:v>50.354838709677416</c:v>
                </c:pt>
                <c:pt idx="2195">
                  <c:v>50.322580645161288</c:v>
                </c:pt>
                <c:pt idx="2196">
                  <c:v>50.193548387096776</c:v>
                </c:pt>
                <c:pt idx="2197">
                  <c:v>50.193548387096776</c:v>
                </c:pt>
                <c:pt idx="2198">
                  <c:v>50.032258064516128</c:v>
                </c:pt>
                <c:pt idx="2199">
                  <c:v>49.935483870967744</c:v>
                </c:pt>
                <c:pt idx="2200">
                  <c:v>50.12903225806452</c:v>
                </c:pt>
                <c:pt idx="2201">
                  <c:v>50.096774193548384</c:v>
                </c:pt>
                <c:pt idx="2202">
                  <c:v>50.258064516129032</c:v>
                </c:pt>
                <c:pt idx="2203">
                  <c:v>50.064516129032256</c:v>
                </c:pt>
                <c:pt idx="2204">
                  <c:v>50</c:v>
                </c:pt>
                <c:pt idx="2205">
                  <c:v>50</c:v>
                </c:pt>
                <c:pt idx="2206">
                  <c:v>49.70967741935484</c:v>
                </c:pt>
                <c:pt idx="2207">
                  <c:v>49.967741935483872</c:v>
                </c:pt>
                <c:pt idx="2208">
                  <c:v>50.096774193548384</c:v>
                </c:pt>
                <c:pt idx="2209">
                  <c:v>50.032258064516128</c:v>
                </c:pt>
                <c:pt idx="2210">
                  <c:v>50.032258064516128</c:v>
                </c:pt>
                <c:pt idx="2211">
                  <c:v>49.903225806451616</c:v>
                </c:pt>
                <c:pt idx="2212">
                  <c:v>49.967741935483872</c:v>
                </c:pt>
                <c:pt idx="2213">
                  <c:v>50.258064516129032</c:v>
                </c:pt>
                <c:pt idx="2214">
                  <c:v>50</c:v>
                </c:pt>
                <c:pt idx="2215">
                  <c:v>49.903225806451616</c:v>
                </c:pt>
                <c:pt idx="2216">
                  <c:v>49.806451612903224</c:v>
                </c:pt>
                <c:pt idx="2217">
                  <c:v>49.935483870967744</c:v>
                </c:pt>
                <c:pt idx="2218">
                  <c:v>49.838709677419352</c:v>
                </c:pt>
                <c:pt idx="2219">
                  <c:v>50</c:v>
                </c:pt>
                <c:pt idx="2220">
                  <c:v>49.967741935483872</c:v>
                </c:pt>
                <c:pt idx="2221">
                  <c:v>50.193548387096776</c:v>
                </c:pt>
                <c:pt idx="2222">
                  <c:v>50.064516129032256</c:v>
                </c:pt>
                <c:pt idx="2223">
                  <c:v>50.12903225806452</c:v>
                </c:pt>
                <c:pt idx="2224">
                  <c:v>50.225806451612904</c:v>
                </c:pt>
                <c:pt idx="2225">
                  <c:v>50.548387096774192</c:v>
                </c:pt>
                <c:pt idx="2226">
                  <c:v>50.70967741935484</c:v>
                </c:pt>
                <c:pt idx="2227">
                  <c:v>51.064516129032256</c:v>
                </c:pt>
                <c:pt idx="2228">
                  <c:v>51.258064516129032</c:v>
                </c:pt>
                <c:pt idx="2229">
                  <c:v>51.677419354838712</c:v>
                </c:pt>
                <c:pt idx="2230">
                  <c:v>51.903225806451616</c:v>
                </c:pt>
                <c:pt idx="2231">
                  <c:v>51.87096774193548</c:v>
                </c:pt>
                <c:pt idx="2232">
                  <c:v>52.225806451612904</c:v>
                </c:pt>
                <c:pt idx="2233">
                  <c:v>52.225806451612904</c:v>
                </c:pt>
                <c:pt idx="2234">
                  <c:v>52.483870967741936</c:v>
                </c:pt>
                <c:pt idx="2235">
                  <c:v>52.70967741935484</c:v>
                </c:pt>
                <c:pt idx="2236">
                  <c:v>52.838709677419352</c:v>
                </c:pt>
                <c:pt idx="2237">
                  <c:v>53.096774193548384</c:v>
                </c:pt>
                <c:pt idx="2238">
                  <c:v>53.29032258064516</c:v>
                </c:pt>
                <c:pt idx="2239">
                  <c:v>53.41935483870968</c:v>
                </c:pt>
                <c:pt idx="2240">
                  <c:v>53.677419354838712</c:v>
                </c:pt>
                <c:pt idx="2241">
                  <c:v>54.096774193548384</c:v>
                </c:pt>
                <c:pt idx="2242">
                  <c:v>54.354838709677416</c:v>
                </c:pt>
                <c:pt idx="2243">
                  <c:v>54.58064516129032</c:v>
                </c:pt>
                <c:pt idx="2244">
                  <c:v>54.645161290322584</c:v>
                </c:pt>
                <c:pt idx="2245">
                  <c:v>55</c:v>
                </c:pt>
                <c:pt idx="2246">
                  <c:v>55.096774193548384</c:v>
                </c:pt>
                <c:pt idx="2247">
                  <c:v>55.322580645161288</c:v>
                </c:pt>
                <c:pt idx="2248">
                  <c:v>55.58064516129032</c:v>
                </c:pt>
                <c:pt idx="2249">
                  <c:v>55.935483870967744</c:v>
                </c:pt>
                <c:pt idx="2250">
                  <c:v>56.096774193548384</c:v>
                </c:pt>
                <c:pt idx="2251">
                  <c:v>56.322580645161288</c:v>
                </c:pt>
                <c:pt idx="2252">
                  <c:v>56.322580645161288</c:v>
                </c:pt>
                <c:pt idx="2253">
                  <c:v>56.451612903225808</c:v>
                </c:pt>
                <c:pt idx="2254">
                  <c:v>56.483870967741936</c:v>
                </c:pt>
                <c:pt idx="2255">
                  <c:v>56.58064516129032</c:v>
                </c:pt>
                <c:pt idx="2256">
                  <c:v>56.58064516129032</c:v>
                </c:pt>
                <c:pt idx="2257">
                  <c:v>56.677419354838712</c:v>
                </c:pt>
                <c:pt idx="2258">
                  <c:v>56.774193548387096</c:v>
                </c:pt>
                <c:pt idx="2259">
                  <c:v>56.741935483870968</c:v>
                </c:pt>
                <c:pt idx="2260">
                  <c:v>56.741935483870968</c:v>
                </c:pt>
                <c:pt idx="2261">
                  <c:v>56.70967741935484</c:v>
                </c:pt>
                <c:pt idx="2262">
                  <c:v>56.741935483870968</c:v>
                </c:pt>
                <c:pt idx="2263">
                  <c:v>56.677419354838712</c:v>
                </c:pt>
                <c:pt idx="2264">
                  <c:v>56.774193548387096</c:v>
                </c:pt>
                <c:pt idx="2265">
                  <c:v>56.935483870967744</c:v>
                </c:pt>
                <c:pt idx="2266">
                  <c:v>57.225806451612904</c:v>
                </c:pt>
                <c:pt idx="2267">
                  <c:v>57.41935483870968</c:v>
                </c:pt>
                <c:pt idx="2268">
                  <c:v>57.70967741935484</c:v>
                </c:pt>
                <c:pt idx="2269">
                  <c:v>57.774193548387096</c:v>
                </c:pt>
                <c:pt idx="2270">
                  <c:v>57.87096774193548</c:v>
                </c:pt>
                <c:pt idx="2271">
                  <c:v>58.161290322580648</c:v>
                </c:pt>
                <c:pt idx="2272">
                  <c:v>58.193548387096776</c:v>
                </c:pt>
                <c:pt idx="2273">
                  <c:v>58.41935483870968</c:v>
                </c:pt>
                <c:pt idx="2274">
                  <c:v>58.58064516129032</c:v>
                </c:pt>
                <c:pt idx="2275">
                  <c:v>56.774193548387096</c:v>
                </c:pt>
                <c:pt idx="2276">
                  <c:v>54.903225806451616</c:v>
                </c:pt>
                <c:pt idx="2277">
                  <c:v>53.161290322580648</c:v>
                </c:pt>
                <c:pt idx="2278">
                  <c:v>51.258064516129032</c:v>
                </c:pt>
                <c:pt idx="2279">
                  <c:v>49.354838709677416</c:v>
                </c:pt>
                <c:pt idx="2280">
                  <c:v>47.451612903225808</c:v>
                </c:pt>
                <c:pt idx="2281">
                  <c:v>45.645161290322584</c:v>
                </c:pt>
                <c:pt idx="2282">
                  <c:v>43.903225806451616</c:v>
                </c:pt>
                <c:pt idx="2283">
                  <c:v>42.12903225806452</c:v>
                </c:pt>
                <c:pt idx="2284">
                  <c:v>40.354838709677416</c:v>
                </c:pt>
                <c:pt idx="2285">
                  <c:v>38.483870967741936</c:v>
                </c:pt>
                <c:pt idx="2286">
                  <c:v>36.645161290322584</c:v>
                </c:pt>
                <c:pt idx="2287">
                  <c:v>34.741935483870968</c:v>
                </c:pt>
                <c:pt idx="2288">
                  <c:v>32.838709677419352</c:v>
                </c:pt>
                <c:pt idx="2289">
                  <c:v>30.93548387096774</c:v>
                </c:pt>
                <c:pt idx="2290">
                  <c:v>29.06451612903226</c:v>
                </c:pt>
                <c:pt idx="2291">
                  <c:v>28.70967741935484</c:v>
                </c:pt>
                <c:pt idx="2292">
                  <c:v>28.387096774193548</c:v>
                </c:pt>
                <c:pt idx="2293">
                  <c:v>28.225806451612904</c:v>
                </c:pt>
                <c:pt idx="2294">
                  <c:v>27.967741935483872</c:v>
                </c:pt>
                <c:pt idx="2295">
                  <c:v>27.870967741935484</c:v>
                </c:pt>
                <c:pt idx="2296">
                  <c:v>27.70967741935484</c:v>
                </c:pt>
                <c:pt idx="2297">
                  <c:v>27.258064516129032</c:v>
                </c:pt>
                <c:pt idx="2298">
                  <c:v>26.64516129032258</c:v>
                </c:pt>
                <c:pt idx="2299">
                  <c:v>26.06451612903226</c:v>
                </c:pt>
                <c:pt idx="2300">
                  <c:v>25.806451612903224</c:v>
                </c:pt>
                <c:pt idx="2301">
                  <c:v>25.387096774193548</c:v>
                </c:pt>
                <c:pt idx="2302">
                  <c:v>24.967741935483872</c:v>
                </c:pt>
                <c:pt idx="2303">
                  <c:v>24.677419354838708</c:v>
                </c:pt>
                <c:pt idx="2304">
                  <c:v>24.129032258064516</c:v>
                </c:pt>
                <c:pt idx="2305">
                  <c:v>23.870967741935484</c:v>
                </c:pt>
                <c:pt idx="2306">
                  <c:v>25.580645161290324</c:v>
                </c:pt>
                <c:pt idx="2307">
                  <c:v>27.35483870967742</c:v>
                </c:pt>
                <c:pt idx="2308">
                  <c:v>29</c:v>
                </c:pt>
                <c:pt idx="2309">
                  <c:v>30.741935483870968</c:v>
                </c:pt>
                <c:pt idx="2310">
                  <c:v>32.225806451612904</c:v>
                </c:pt>
                <c:pt idx="2311">
                  <c:v>33.87096774193548</c:v>
                </c:pt>
                <c:pt idx="2312">
                  <c:v>35.483870967741936</c:v>
                </c:pt>
                <c:pt idx="2313">
                  <c:v>37.064516129032256</c:v>
                </c:pt>
                <c:pt idx="2314">
                  <c:v>38.677419354838712</c:v>
                </c:pt>
                <c:pt idx="2315">
                  <c:v>40.29032258064516</c:v>
                </c:pt>
                <c:pt idx="2316">
                  <c:v>41.935483870967744</c:v>
                </c:pt>
                <c:pt idx="2317">
                  <c:v>43.677419354838712</c:v>
                </c:pt>
                <c:pt idx="2318">
                  <c:v>45.258064516129032</c:v>
                </c:pt>
                <c:pt idx="2319">
                  <c:v>46.903225806451616</c:v>
                </c:pt>
                <c:pt idx="2320">
                  <c:v>48.483870967741936</c:v>
                </c:pt>
                <c:pt idx="2321">
                  <c:v>50.064516129032256</c:v>
                </c:pt>
                <c:pt idx="2322">
                  <c:v>50.12903225806452</c:v>
                </c:pt>
                <c:pt idx="2323">
                  <c:v>50.41935483870968</c:v>
                </c:pt>
                <c:pt idx="2324">
                  <c:v>50.258064516129032</c:v>
                </c:pt>
                <c:pt idx="2325">
                  <c:v>50.548387096774192</c:v>
                </c:pt>
                <c:pt idx="2326">
                  <c:v>50.322580645161288</c:v>
                </c:pt>
                <c:pt idx="2327">
                  <c:v>50.12903225806452</c:v>
                </c:pt>
                <c:pt idx="2328">
                  <c:v>50.322580645161288</c:v>
                </c:pt>
                <c:pt idx="2329">
                  <c:v>50.451612903225808</c:v>
                </c:pt>
                <c:pt idx="2330">
                  <c:v>50.58064516129032</c:v>
                </c:pt>
                <c:pt idx="2331">
                  <c:v>50.516129032258064</c:v>
                </c:pt>
                <c:pt idx="2332">
                  <c:v>50.677419354838712</c:v>
                </c:pt>
                <c:pt idx="2333">
                  <c:v>50.483870967741936</c:v>
                </c:pt>
                <c:pt idx="2334">
                  <c:v>50.354838709677416</c:v>
                </c:pt>
                <c:pt idx="2335">
                  <c:v>50.548387096774192</c:v>
                </c:pt>
                <c:pt idx="2336">
                  <c:v>50.354838709677416</c:v>
                </c:pt>
                <c:pt idx="2337">
                  <c:v>50.096774193548384</c:v>
                </c:pt>
                <c:pt idx="2338">
                  <c:v>50.064516129032256</c:v>
                </c:pt>
                <c:pt idx="2339">
                  <c:v>50.032258064516128</c:v>
                </c:pt>
                <c:pt idx="2340">
                  <c:v>49.774193548387096</c:v>
                </c:pt>
                <c:pt idx="2341">
                  <c:v>50.032258064516128</c:v>
                </c:pt>
                <c:pt idx="2342">
                  <c:v>50.12903225806452</c:v>
                </c:pt>
                <c:pt idx="2343">
                  <c:v>50.258064516129032</c:v>
                </c:pt>
                <c:pt idx="2344">
                  <c:v>50.387096774193552</c:v>
                </c:pt>
                <c:pt idx="2345">
                  <c:v>50.451612903225808</c:v>
                </c:pt>
                <c:pt idx="2346">
                  <c:v>50.451612903225808</c:v>
                </c:pt>
                <c:pt idx="2347">
                  <c:v>50.354838709677416</c:v>
                </c:pt>
                <c:pt idx="2348">
                  <c:v>50.354838709677416</c:v>
                </c:pt>
                <c:pt idx="2349">
                  <c:v>50.41935483870968</c:v>
                </c:pt>
                <c:pt idx="2350">
                  <c:v>50.225806451612904</c:v>
                </c:pt>
                <c:pt idx="2351">
                  <c:v>50.322580645161288</c:v>
                </c:pt>
                <c:pt idx="2352">
                  <c:v>50.258064516129032</c:v>
                </c:pt>
                <c:pt idx="2353">
                  <c:v>50.225806451612904</c:v>
                </c:pt>
                <c:pt idx="2354">
                  <c:v>50.225806451612904</c:v>
                </c:pt>
                <c:pt idx="2355">
                  <c:v>50.354838709677416</c:v>
                </c:pt>
                <c:pt idx="2356">
                  <c:v>50.29032258064516</c:v>
                </c:pt>
                <c:pt idx="2357">
                  <c:v>50.258064516129032</c:v>
                </c:pt>
                <c:pt idx="2358">
                  <c:v>50.451612903225808</c:v>
                </c:pt>
                <c:pt idx="2359">
                  <c:v>50.193548387096776</c:v>
                </c:pt>
                <c:pt idx="2360">
                  <c:v>50.032258064516128</c:v>
                </c:pt>
                <c:pt idx="2361">
                  <c:v>49.903225806451616</c:v>
                </c:pt>
                <c:pt idx="2362">
                  <c:v>49.741935483870968</c:v>
                </c:pt>
                <c:pt idx="2363">
                  <c:v>49.516129032258064</c:v>
                </c:pt>
                <c:pt idx="2364">
                  <c:v>49.516129032258064</c:v>
                </c:pt>
                <c:pt idx="2365">
                  <c:v>49.483870967741936</c:v>
                </c:pt>
                <c:pt idx="2366">
                  <c:v>49.41935483870968</c:v>
                </c:pt>
                <c:pt idx="2367">
                  <c:v>49.58064516129032</c:v>
                </c:pt>
                <c:pt idx="2368">
                  <c:v>49.741935483870968</c:v>
                </c:pt>
                <c:pt idx="2369">
                  <c:v>49.70967741935484</c:v>
                </c:pt>
                <c:pt idx="2370">
                  <c:v>49.741935483870968</c:v>
                </c:pt>
                <c:pt idx="2371">
                  <c:v>49.806451612903224</c:v>
                </c:pt>
                <c:pt idx="2372">
                  <c:v>49.58064516129032</c:v>
                </c:pt>
                <c:pt idx="2373">
                  <c:v>49.322580645161288</c:v>
                </c:pt>
                <c:pt idx="2374">
                  <c:v>49.161290322580648</c:v>
                </c:pt>
                <c:pt idx="2375">
                  <c:v>49.096774193548384</c:v>
                </c:pt>
                <c:pt idx="2376">
                  <c:v>49.064516129032256</c:v>
                </c:pt>
                <c:pt idx="2377">
                  <c:v>49.193548387096776</c:v>
                </c:pt>
                <c:pt idx="2378">
                  <c:v>49.12903225806452</c:v>
                </c:pt>
                <c:pt idx="2379">
                  <c:v>49.032258064516128</c:v>
                </c:pt>
                <c:pt idx="2380">
                  <c:v>48.903225806451616</c:v>
                </c:pt>
                <c:pt idx="2381">
                  <c:v>49.193548387096776</c:v>
                </c:pt>
                <c:pt idx="2382">
                  <c:v>49.258064516129032</c:v>
                </c:pt>
                <c:pt idx="2383">
                  <c:v>49.451612903225808</c:v>
                </c:pt>
                <c:pt idx="2384">
                  <c:v>49.645161290322584</c:v>
                </c:pt>
                <c:pt idx="2385">
                  <c:v>49.58064516129032</c:v>
                </c:pt>
                <c:pt idx="2386">
                  <c:v>49.516129032258064</c:v>
                </c:pt>
                <c:pt idx="2387">
                  <c:v>49.451612903225808</c:v>
                </c:pt>
                <c:pt idx="2388">
                  <c:v>49.41935483870968</c:v>
                </c:pt>
                <c:pt idx="2389">
                  <c:v>49.451612903225808</c:v>
                </c:pt>
                <c:pt idx="2390">
                  <c:v>49.387096774193552</c:v>
                </c:pt>
                <c:pt idx="2391">
                  <c:v>49.516129032258064</c:v>
                </c:pt>
                <c:pt idx="2392">
                  <c:v>49.70967741935484</c:v>
                </c:pt>
                <c:pt idx="2393">
                  <c:v>49.935483870967744</c:v>
                </c:pt>
                <c:pt idx="2394">
                  <c:v>50.064516129032256</c:v>
                </c:pt>
                <c:pt idx="2395">
                  <c:v>50.064516129032256</c:v>
                </c:pt>
                <c:pt idx="2396">
                  <c:v>50.064516129032256</c:v>
                </c:pt>
                <c:pt idx="2397">
                  <c:v>50.064516129032256</c:v>
                </c:pt>
                <c:pt idx="2398">
                  <c:v>50.032258064516128</c:v>
                </c:pt>
                <c:pt idx="2399">
                  <c:v>49.935483870967744</c:v>
                </c:pt>
                <c:pt idx="2400">
                  <c:v>49.935483870967744</c:v>
                </c:pt>
                <c:pt idx="2401">
                  <c:v>50</c:v>
                </c:pt>
                <c:pt idx="2402">
                  <c:v>50.193548387096776</c:v>
                </c:pt>
                <c:pt idx="2403">
                  <c:v>50.451612903225808</c:v>
                </c:pt>
                <c:pt idx="2404">
                  <c:v>50.548387096774192</c:v>
                </c:pt>
                <c:pt idx="2405">
                  <c:v>50.451612903225808</c:v>
                </c:pt>
                <c:pt idx="2406">
                  <c:v>50.29032258064516</c:v>
                </c:pt>
                <c:pt idx="2407">
                  <c:v>50.161290322580648</c:v>
                </c:pt>
                <c:pt idx="2408">
                  <c:v>49.87096774193548</c:v>
                </c:pt>
                <c:pt idx="2409">
                  <c:v>50</c:v>
                </c:pt>
                <c:pt idx="2410">
                  <c:v>49.87096774193548</c:v>
                </c:pt>
                <c:pt idx="2411">
                  <c:v>50</c:v>
                </c:pt>
                <c:pt idx="2412">
                  <c:v>49.70967741935484</c:v>
                </c:pt>
                <c:pt idx="2413">
                  <c:v>49.41935483870968</c:v>
                </c:pt>
                <c:pt idx="2414">
                  <c:v>49.354838709677416</c:v>
                </c:pt>
                <c:pt idx="2415">
                  <c:v>49.12903225806452</c:v>
                </c:pt>
                <c:pt idx="2416">
                  <c:v>49.032258064516128</c:v>
                </c:pt>
                <c:pt idx="2417">
                  <c:v>49</c:v>
                </c:pt>
                <c:pt idx="2418">
                  <c:v>48.903225806451616</c:v>
                </c:pt>
                <c:pt idx="2419">
                  <c:v>48.967741935483872</c:v>
                </c:pt>
                <c:pt idx="2420">
                  <c:v>48.838709677419352</c:v>
                </c:pt>
                <c:pt idx="2421">
                  <c:v>48.967741935483872</c:v>
                </c:pt>
                <c:pt idx="2422">
                  <c:v>49.12903225806452</c:v>
                </c:pt>
                <c:pt idx="2423">
                  <c:v>49.06666666666667</c:v>
                </c:pt>
                <c:pt idx="2424">
                  <c:v>48.931034482758619</c:v>
                </c:pt>
                <c:pt idx="2425">
                  <c:v>48.892857142857146</c:v>
                </c:pt>
                <c:pt idx="2426">
                  <c:v>49.037037037037038</c:v>
                </c:pt>
                <c:pt idx="2427">
                  <c:v>49.153846153846153</c:v>
                </c:pt>
                <c:pt idx="2428">
                  <c:v>49.12</c:v>
                </c:pt>
                <c:pt idx="2429">
                  <c:v>49</c:v>
                </c:pt>
                <c:pt idx="2430">
                  <c:v>49.086956521739133</c:v>
                </c:pt>
                <c:pt idx="2431">
                  <c:v>48.909090909090907</c:v>
                </c:pt>
                <c:pt idx="2432">
                  <c:v>48.714285714285715</c:v>
                </c:pt>
                <c:pt idx="2433">
                  <c:v>48.45</c:v>
                </c:pt>
                <c:pt idx="2434">
                  <c:v>48.10526315789474</c:v>
                </c:pt>
                <c:pt idx="2435">
                  <c:v>48.055555555555557</c:v>
                </c:pt>
                <c:pt idx="2436">
                  <c:v>48.176470588235297</c:v>
                </c:pt>
                <c:pt idx="2437">
                  <c:v>48.3125</c:v>
                </c:pt>
                <c:pt idx="2438">
                  <c:v>48.4</c:v>
                </c:pt>
                <c:pt idx="2439">
                  <c:v>48.642857142857146</c:v>
                </c:pt>
                <c:pt idx="2440">
                  <c:v>48.53846153846154</c:v>
                </c:pt>
                <c:pt idx="2441">
                  <c:v>48.666666666666664</c:v>
                </c:pt>
                <c:pt idx="2442">
                  <c:v>48.454545454545453</c:v>
                </c:pt>
                <c:pt idx="2443">
                  <c:v>48.8</c:v>
                </c:pt>
                <c:pt idx="2444">
                  <c:v>49.222222222222221</c:v>
                </c:pt>
                <c:pt idx="2445">
                  <c:v>49</c:v>
                </c:pt>
                <c:pt idx="2446">
                  <c:v>49.285714285714285</c:v>
                </c:pt>
                <c:pt idx="2447">
                  <c:v>49.333333333333336</c:v>
                </c:pt>
                <c:pt idx="2448">
                  <c:v>50</c:v>
                </c:pt>
                <c:pt idx="2449">
                  <c:v>50.5</c:v>
                </c:pt>
                <c:pt idx="2450">
                  <c:v>51.333333333333336</c:v>
                </c:pt>
                <c:pt idx="2451">
                  <c:v>51.5</c:v>
                </c:pt>
              </c:numCache>
            </c:numRef>
          </c:val>
          <c:smooth val="0"/>
          <c:extLst>
            <c:ext xmlns:c16="http://schemas.microsoft.com/office/drawing/2014/chart" uri="{C3380CC4-5D6E-409C-BE32-E72D297353CC}">
              <c16:uniqueId val="{00000002-A317-4990-AD5E-DF35E9825BF6}"/>
            </c:ext>
          </c:extLst>
        </c:ser>
        <c:ser>
          <c:idx val="6"/>
          <c:order val="6"/>
          <c:tx>
            <c:strRef>
              <c:f>'DRT Rolling Mean'!$I$1</c:f>
              <c:strCache>
                <c:ptCount val="1"/>
                <c:pt idx="0">
                  <c:v>Pump Efficiency</c:v>
                </c:pt>
              </c:strCache>
            </c:strRef>
          </c:tx>
          <c:spPr>
            <a:ln w="28575" cap="rnd">
              <a:solidFill>
                <a:schemeClr val="accent1">
                  <a:lumMod val="60000"/>
                </a:schemeClr>
              </a:solidFill>
              <a:round/>
            </a:ln>
            <a:effectLst/>
          </c:spPr>
          <c:marker>
            <c:symbol val="none"/>
          </c:marker>
          <c:cat>
            <c:numRef>
              <c:f>'DRT Rolling Mean'!$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I$2:$I$2453</c:f>
              <c:numCache>
                <c:formatCode>#,##0.00</c:formatCode>
                <c:ptCount val="2452"/>
                <c:pt idx="0">
                  <c:v>75.922580645161275</c:v>
                </c:pt>
                <c:pt idx="1">
                  <c:v>75.892082111436963</c:v>
                </c:pt>
                <c:pt idx="2">
                  <c:v>75.99061583577712</c:v>
                </c:pt>
                <c:pt idx="3">
                  <c:v>76.051612903225816</c:v>
                </c:pt>
                <c:pt idx="4">
                  <c:v>76.205278592375365</c:v>
                </c:pt>
                <c:pt idx="5">
                  <c:v>76.185337243401747</c:v>
                </c:pt>
                <c:pt idx="6">
                  <c:v>76.369501466275651</c:v>
                </c:pt>
                <c:pt idx="7">
                  <c:v>76.316129032258047</c:v>
                </c:pt>
                <c:pt idx="8">
                  <c:v>76.373020527859225</c:v>
                </c:pt>
                <c:pt idx="9">
                  <c:v>76.34134897360704</c:v>
                </c:pt>
                <c:pt idx="10">
                  <c:v>76.394134897360715</c:v>
                </c:pt>
                <c:pt idx="11">
                  <c:v>76.500879765395908</c:v>
                </c:pt>
                <c:pt idx="12">
                  <c:v>76.357184750733168</c:v>
                </c:pt>
                <c:pt idx="13">
                  <c:v>76.23929618768328</c:v>
                </c:pt>
                <c:pt idx="14">
                  <c:v>76.143695014662768</c:v>
                </c:pt>
                <c:pt idx="15">
                  <c:v>76.073313782991221</c:v>
                </c:pt>
                <c:pt idx="16">
                  <c:v>76.167155425219946</c:v>
                </c:pt>
                <c:pt idx="17">
                  <c:v>76.169501466275662</c:v>
                </c:pt>
                <c:pt idx="18">
                  <c:v>76.158357771260995</c:v>
                </c:pt>
                <c:pt idx="19">
                  <c:v>76.141348973607023</c:v>
                </c:pt>
                <c:pt idx="20">
                  <c:v>76.094428152492668</c:v>
                </c:pt>
                <c:pt idx="21">
                  <c:v>76.202932551319648</c:v>
                </c:pt>
                <c:pt idx="22">
                  <c:v>76.089149560117292</c:v>
                </c:pt>
                <c:pt idx="23">
                  <c:v>76.219354838709663</c:v>
                </c:pt>
                <c:pt idx="24">
                  <c:v>76.250439882697933</c:v>
                </c:pt>
                <c:pt idx="25">
                  <c:v>76.247507331378287</c:v>
                </c:pt>
                <c:pt idx="26">
                  <c:v>76.414662756598247</c:v>
                </c:pt>
                <c:pt idx="27">
                  <c:v>76.40351906158358</c:v>
                </c:pt>
                <c:pt idx="28">
                  <c:v>76.500293255131965</c:v>
                </c:pt>
                <c:pt idx="29">
                  <c:v>76.419941348973595</c:v>
                </c:pt>
                <c:pt idx="30">
                  <c:v>76.394134897360715</c:v>
                </c:pt>
                <c:pt idx="31">
                  <c:v>76.55542521994137</c:v>
                </c:pt>
                <c:pt idx="32">
                  <c:v>76.531378299120249</c:v>
                </c:pt>
                <c:pt idx="33">
                  <c:v>76.391202346041069</c:v>
                </c:pt>
                <c:pt idx="34">
                  <c:v>76.3777126099707</c:v>
                </c:pt>
                <c:pt idx="35">
                  <c:v>76.31319648093843</c:v>
                </c:pt>
                <c:pt idx="36">
                  <c:v>76.219354838709677</c:v>
                </c:pt>
                <c:pt idx="37">
                  <c:v>76.049853372434029</c:v>
                </c:pt>
                <c:pt idx="38">
                  <c:v>76.224633431085053</c:v>
                </c:pt>
                <c:pt idx="39">
                  <c:v>76.201173020527847</c:v>
                </c:pt>
                <c:pt idx="40">
                  <c:v>76.327272727272728</c:v>
                </c:pt>
                <c:pt idx="41">
                  <c:v>76.366568914956019</c:v>
                </c:pt>
                <c:pt idx="42">
                  <c:v>76.226979472140755</c:v>
                </c:pt>
                <c:pt idx="43">
                  <c:v>76.269794721407621</c:v>
                </c:pt>
                <c:pt idx="44">
                  <c:v>76.290322580645139</c:v>
                </c:pt>
                <c:pt idx="45">
                  <c:v>76.380058651026388</c:v>
                </c:pt>
                <c:pt idx="46">
                  <c:v>76.32903225806453</c:v>
                </c:pt>
                <c:pt idx="47">
                  <c:v>76.321994134897366</c:v>
                </c:pt>
                <c:pt idx="48">
                  <c:v>76.26686217008799</c:v>
                </c:pt>
                <c:pt idx="49">
                  <c:v>76.205278592375365</c:v>
                </c:pt>
                <c:pt idx="50">
                  <c:v>76.408211143695013</c:v>
                </c:pt>
                <c:pt idx="51">
                  <c:v>76.348973607038133</c:v>
                </c:pt>
                <c:pt idx="52">
                  <c:v>76.187096774193549</c:v>
                </c:pt>
                <c:pt idx="53">
                  <c:v>76.35953079178887</c:v>
                </c:pt>
                <c:pt idx="54">
                  <c:v>76.373020527859254</c:v>
                </c:pt>
                <c:pt idx="55">
                  <c:v>76.425219941348985</c:v>
                </c:pt>
                <c:pt idx="56">
                  <c:v>76.401173020527864</c:v>
                </c:pt>
                <c:pt idx="57">
                  <c:v>76.27976539589443</c:v>
                </c:pt>
                <c:pt idx="58">
                  <c:v>76.149560117302059</c:v>
                </c:pt>
                <c:pt idx="59">
                  <c:v>76.159530791788853</c:v>
                </c:pt>
                <c:pt idx="60">
                  <c:v>76.319061583577735</c:v>
                </c:pt>
                <c:pt idx="61">
                  <c:v>76.335483870967749</c:v>
                </c:pt>
                <c:pt idx="62">
                  <c:v>76.26686217008799</c:v>
                </c:pt>
                <c:pt idx="63">
                  <c:v>76.265102639296188</c:v>
                </c:pt>
                <c:pt idx="64">
                  <c:v>76.400586510263921</c:v>
                </c:pt>
                <c:pt idx="65">
                  <c:v>76.336656891495608</c:v>
                </c:pt>
                <c:pt idx="66">
                  <c:v>76.273313782991195</c:v>
                </c:pt>
                <c:pt idx="67">
                  <c:v>76.385337243401764</c:v>
                </c:pt>
                <c:pt idx="68">
                  <c:v>76.405865102639297</c:v>
                </c:pt>
                <c:pt idx="69">
                  <c:v>76.32903225806453</c:v>
                </c:pt>
                <c:pt idx="70">
                  <c:v>76.236950146627564</c:v>
                </c:pt>
                <c:pt idx="71">
                  <c:v>76.23284457478006</c:v>
                </c:pt>
                <c:pt idx="72">
                  <c:v>76.147214076246328</c:v>
                </c:pt>
                <c:pt idx="73">
                  <c:v>76.310850439882699</c:v>
                </c:pt>
                <c:pt idx="74">
                  <c:v>76.315542521994146</c:v>
                </c:pt>
                <c:pt idx="75">
                  <c:v>76.430498533724361</c:v>
                </c:pt>
                <c:pt idx="76">
                  <c:v>76.405865102639325</c:v>
                </c:pt>
                <c:pt idx="77">
                  <c:v>76.432258064516148</c:v>
                </c:pt>
                <c:pt idx="78">
                  <c:v>76.295601173020543</c:v>
                </c:pt>
                <c:pt idx="79">
                  <c:v>76.243401759530784</c:v>
                </c:pt>
                <c:pt idx="80">
                  <c:v>76.40351906158358</c:v>
                </c:pt>
                <c:pt idx="81">
                  <c:v>76.27976539589443</c:v>
                </c:pt>
                <c:pt idx="82">
                  <c:v>76.28328445747799</c:v>
                </c:pt>
                <c:pt idx="83">
                  <c:v>76.453372434017567</c:v>
                </c:pt>
                <c:pt idx="84">
                  <c:v>76.287976539589422</c:v>
                </c:pt>
                <c:pt idx="85">
                  <c:v>76.21818181818179</c:v>
                </c:pt>
                <c:pt idx="86">
                  <c:v>76.112023460410541</c:v>
                </c:pt>
                <c:pt idx="87">
                  <c:v>76.113782991202328</c:v>
                </c:pt>
                <c:pt idx="88">
                  <c:v>76.140762463343094</c:v>
                </c:pt>
                <c:pt idx="89">
                  <c:v>76.171847507331364</c:v>
                </c:pt>
                <c:pt idx="90">
                  <c:v>76.160117302052768</c:v>
                </c:pt>
                <c:pt idx="91">
                  <c:v>75.992375366568893</c:v>
                </c:pt>
                <c:pt idx="92">
                  <c:v>76.130791788856271</c:v>
                </c:pt>
                <c:pt idx="93">
                  <c:v>76.086803519061561</c:v>
                </c:pt>
                <c:pt idx="94">
                  <c:v>76.221114369501436</c:v>
                </c:pt>
                <c:pt idx="95">
                  <c:v>76.253958944281493</c:v>
                </c:pt>
                <c:pt idx="96">
                  <c:v>76.206451612903209</c:v>
                </c:pt>
                <c:pt idx="97">
                  <c:v>76.217595307917875</c:v>
                </c:pt>
                <c:pt idx="98">
                  <c:v>76.060410557184738</c:v>
                </c:pt>
                <c:pt idx="99">
                  <c:v>76.149560117302045</c:v>
                </c:pt>
                <c:pt idx="100">
                  <c:v>76.059237536656894</c:v>
                </c:pt>
                <c:pt idx="101">
                  <c:v>76.074486803519079</c:v>
                </c:pt>
                <c:pt idx="102">
                  <c:v>76.086217008797647</c:v>
                </c:pt>
                <c:pt idx="103">
                  <c:v>76.062756598240483</c:v>
                </c:pt>
                <c:pt idx="104">
                  <c:v>76.065689149560114</c:v>
                </c:pt>
                <c:pt idx="105">
                  <c:v>76.003519061583589</c:v>
                </c:pt>
                <c:pt idx="106">
                  <c:v>75.969501466275659</c:v>
                </c:pt>
                <c:pt idx="107">
                  <c:v>75.893841642228736</c:v>
                </c:pt>
                <c:pt idx="108">
                  <c:v>75.927272727272722</c:v>
                </c:pt>
                <c:pt idx="109">
                  <c:v>76.02463343108505</c:v>
                </c:pt>
                <c:pt idx="110">
                  <c:v>76.066862170087973</c:v>
                </c:pt>
                <c:pt idx="111">
                  <c:v>76.119648093841633</c:v>
                </c:pt>
                <c:pt idx="112">
                  <c:v>76.055131964809377</c:v>
                </c:pt>
                <c:pt idx="113">
                  <c:v>76.23401759530789</c:v>
                </c:pt>
                <c:pt idx="114">
                  <c:v>76.137829912023435</c:v>
                </c:pt>
                <c:pt idx="115">
                  <c:v>76.128445747800555</c:v>
                </c:pt>
                <c:pt idx="116">
                  <c:v>76.078592375366568</c:v>
                </c:pt>
                <c:pt idx="117">
                  <c:v>76.091495601173008</c:v>
                </c:pt>
                <c:pt idx="118">
                  <c:v>76.009970674486794</c:v>
                </c:pt>
                <c:pt idx="119">
                  <c:v>75.956011730205276</c:v>
                </c:pt>
                <c:pt idx="120">
                  <c:v>75.921994134897346</c:v>
                </c:pt>
                <c:pt idx="121">
                  <c:v>75.878005865102637</c:v>
                </c:pt>
                <c:pt idx="122">
                  <c:v>76.035777126099703</c:v>
                </c:pt>
                <c:pt idx="123">
                  <c:v>75.887390029325502</c:v>
                </c:pt>
                <c:pt idx="124">
                  <c:v>75.897360703812311</c:v>
                </c:pt>
                <c:pt idx="125">
                  <c:v>75.864516129032253</c:v>
                </c:pt>
                <c:pt idx="126">
                  <c:v>75.758357771260975</c:v>
                </c:pt>
                <c:pt idx="127">
                  <c:v>75.969501466275659</c:v>
                </c:pt>
                <c:pt idx="128">
                  <c:v>75.948973607038127</c:v>
                </c:pt>
                <c:pt idx="129">
                  <c:v>76.071554252199405</c:v>
                </c:pt>
                <c:pt idx="130">
                  <c:v>75.995307917888553</c:v>
                </c:pt>
                <c:pt idx="131">
                  <c:v>76.076832844574767</c:v>
                </c:pt>
                <c:pt idx="132">
                  <c:v>76.205865102639279</c:v>
                </c:pt>
                <c:pt idx="133">
                  <c:v>76.0815249266862</c:v>
                </c:pt>
                <c:pt idx="134">
                  <c:v>76.196480938416428</c:v>
                </c:pt>
                <c:pt idx="135">
                  <c:v>76.138416422287392</c:v>
                </c:pt>
                <c:pt idx="136">
                  <c:v>76.18651026392962</c:v>
                </c:pt>
                <c:pt idx="137">
                  <c:v>76.187683284457492</c:v>
                </c:pt>
                <c:pt idx="138">
                  <c:v>76.229325513196486</c:v>
                </c:pt>
                <c:pt idx="139">
                  <c:v>76.190029325513194</c:v>
                </c:pt>
                <c:pt idx="140">
                  <c:v>76.048093841642228</c:v>
                </c:pt>
                <c:pt idx="141">
                  <c:v>75.905571847507332</c:v>
                </c:pt>
                <c:pt idx="142">
                  <c:v>75.874486803519062</c:v>
                </c:pt>
                <c:pt idx="143">
                  <c:v>76.022287390029334</c:v>
                </c:pt>
                <c:pt idx="144">
                  <c:v>75.929618768328453</c:v>
                </c:pt>
                <c:pt idx="145">
                  <c:v>75.975953079178893</c:v>
                </c:pt>
                <c:pt idx="146">
                  <c:v>75.950733137829928</c:v>
                </c:pt>
                <c:pt idx="147">
                  <c:v>76.033431085043986</c:v>
                </c:pt>
                <c:pt idx="148">
                  <c:v>76.171847507331393</c:v>
                </c:pt>
                <c:pt idx="149">
                  <c:v>76.306158357771281</c:v>
                </c:pt>
                <c:pt idx="150">
                  <c:v>76.46217008797656</c:v>
                </c:pt>
                <c:pt idx="151">
                  <c:v>76.456304985337241</c:v>
                </c:pt>
                <c:pt idx="152">
                  <c:v>76.488563049853369</c:v>
                </c:pt>
                <c:pt idx="153">
                  <c:v>76.439882697947212</c:v>
                </c:pt>
                <c:pt idx="154">
                  <c:v>76.572434017595285</c:v>
                </c:pt>
                <c:pt idx="155">
                  <c:v>76.664516129032236</c:v>
                </c:pt>
                <c:pt idx="156">
                  <c:v>76.628739002932534</c:v>
                </c:pt>
                <c:pt idx="157">
                  <c:v>76.693255131964804</c:v>
                </c:pt>
                <c:pt idx="158">
                  <c:v>76.652785923753655</c:v>
                </c:pt>
                <c:pt idx="159">
                  <c:v>76.608797653958931</c:v>
                </c:pt>
                <c:pt idx="160">
                  <c:v>76.653958944281513</c:v>
                </c:pt>
                <c:pt idx="161">
                  <c:v>76.764809384164224</c:v>
                </c:pt>
                <c:pt idx="162">
                  <c:v>76.733137829912025</c:v>
                </c:pt>
                <c:pt idx="163">
                  <c:v>76.703812316715542</c:v>
                </c:pt>
                <c:pt idx="164">
                  <c:v>76.684457478005854</c:v>
                </c:pt>
                <c:pt idx="165">
                  <c:v>76.679765395894407</c:v>
                </c:pt>
                <c:pt idx="166">
                  <c:v>76.69325513196479</c:v>
                </c:pt>
                <c:pt idx="167">
                  <c:v>76.688563049853357</c:v>
                </c:pt>
                <c:pt idx="168">
                  <c:v>76.638709677419328</c:v>
                </c:pt>
                <c:pt idx="169">
                  <c:v>76.689149560117286</c:v>
                </c:pt>
                <c:pt idx="170">
                  <c:v>76.808211143695033</c:v>
                </c:pt>
                <c:pt idx="171">
                  <c:v>76.957184750733134</c:v>
                </c:pt>
                <c:pt idx="172">
                  <c:v>77.143108504398811</c:v>
                </c:pt>
                <c:pt idx="173">
                  <c:v>76.952492668621687</c:v>
                </c:pt>
                <c:pt idx="174">
                  <c:v>76.889736070381218</c:v>
                </c:pt>
                <c:pt idx="175">
                  <c:v>76.924926686216992</c:v>
                </c:pt>
                <c:pt idx="176">
                  <c:v>76.754838709677401</c:v>
                </c:pt>
                <c:pt idx="177">
                  <c:v>76.756011730205287</c:v>
                </c:pt>
                <c:pt idx="178">
                  <c:v>76.641642228739002</c:v>
                </c:pt>
                <c:pt idx="179">
                  <c:v>76.639296187683286</c:v>
                </c:pt>
                <c:pt idx="180">
                  <c:v>76.551319648093838</c:v>
                </c:pt>
                <c:pt idx="181">
                  <c:v>76.4258064516129</c:v>
                </c:pt>
                <c:pt idx="182">
                  <c:v>76.437536656891496</c:v>
                </c:pt>
                <c:pt idx="183">
                  <c:v>76.472727272727283</c:v>
                </c:pt>
                <c:pt idx="184">
                  <c:v>76.50322580645161</c:v>
                </c:pt>
                <c:pt idx="185">
                  <c:v>76.336070381231679</c:v>
                </c:pt>
                <c:pt idx="186">
                  <c:v>76.22346041055718</c:v>
                </c:pt>
                <c:pt idx="187">
                  <c:v>76.306158357771253</c:v>
                </c:pt>
                <c:pt idx="188">
                  <c:v>76.171260997067421</c:v>
                </c:pt>
                <c:pt idx="189">
                  <c:v>76.007624633431064</c:v>
                </c:pt>
                <c:pt idx="190">
                  <c:v>76.095601173020512</c:v>
                </c:pt>
                <c:pt idx="191">
                  <c:v>75.957771260997049</c:v>
                </c:pt>
                <c:pt idx="192">
                  <c:v>75.946627565982411</c:v>
                </c:pt>
                <c:pt idx="193">
                  <c:v>76.031671554252199</c:v>
                </c:pt>
                <c:pt idx="194">
                  <c:v>75.90674486803519</c:v>
                </c:pt>
                <c:pt idx="195">
                  <c:v>76.026392961876823</c:v>
                </c:pt>
                <c:pt idx="196">
                  <c:v>76.076246334310838</c:v>
                </c:pt>
                <c:pt idx="197">
                  <c:v>75.978299120234595</c:v>
                </c:pt>
                <c:pt idx="198">
                  <c:v>76.043401759530781</c:v>
                </c:pt>
                <c:pt idx="199">
                  <c:v>75.950146627565985</c:v>
                </c:pt>
                <c:pt idx="200">
                  <c:v>75.9841642228739</c:v>
                </c:pt>
                <c:pt idx="201">
                  <c:v>75.910263929618765</c:v>
                </c:pt>
                <c:pt idx="202">
                  <c:v>75.845161290322579</c:v>
                </c:pt>
                <c:pt idx="203">
                  <c:v>75.652199413489726</c:v>
                </c:pt>
                <c:pt idx="204">
                  <c:v>75.794134897360706</c:v>
                </c:pt>
                <c:pt idx="205">
                  <c:v>75.817008797653969</c:v>
                </c:pt>
                <c:pt idx="206">
                  <c:v>75.68328445747801</c:v>
                </c:pt>
                <c:pt idx="207">
                  <c:v>75.700879765395896</c:v>
                </c:pt>
                <c:pt idx="208">
                  <c:v>75.737243401759528</c:v>
                </c:pt>
                <c:pt idx="209">
                  <c:v>75.906158357771261</c:v>
                </c:pt>
                <c:pt idx="210">
                  <c:v>75.807624633431075</c:v>
                </c:pt>
                <c:pt idx="211">
                  <c:v>75.700293255131953</c:v>
                </c:pt>
                <c:pt idx="212">
                  <c:v>75.634604105571839</c:v>
                </c:pt>
                <c:pt idx="213">
                  <c:v>75.76715542521994</c:v>
                </c:pt>
                <c:pt idx="214">
                  <c:v>75.765982404692082</c:v>
                </c:pt>
                <c:pt idx="215">
                  <c:v>75.700879765395882</c:v>
                </c:pt>
                <c:pt idx="216">
                  <c:v>75.825219941348976</c:v>
                </c:pt>
                <c:pt idx="217">
                  <c:v>76.013489736070383</c:v>
                </c:pt>
                <c:pt idx="218">
                  <c:v>76.123753665689151</c:v>
                </c:pt>
                <c:pt idx="219">
                  <c:v>76.276246334310855</c:v>
                </c:pt>
                <c:pt idx="220">
                  <c:v>76.385337243401764</c:v>
                </c:pt>
                <c:pt idx="221">
                  <c:v>76.43753665689151</c:v>
                </c:pt>
                <c:pt idx="222">
                  <c:v>76.576539589442817</c:v>
                </c:pt>
                <c:pt idx="223">
                  <c:v>76.694428152492662</c:v>
                </c:pt>
                <c:pt idx="224">
                  <c:v>76.744281524926677</c:v>
                </c:pt>
                <c:pt idx="225">
                  <c:v>76.899120234604098</c:v>
                </c:pt>
                <c:pt idx="226">
                  <c:v>76.860997067448693</c:v>
                </c:pt>
                <c:pt idx="227">
                  <c:v>76.924926686216992</c:v>
                </c:pt>
                <c:pt idx="228">
                  <c:v>76.966568914956042</c:v>
                </c:pt>
                <c:pt idx="229">
                  <c:v>77.073900293255136</c:v>
                </c:pt>
                <c:pt idx="230">
                  <c:v>77.302639296187692</c:v>
                </c:pt>
                <c:pt idx="231">
                  <c:v>77.222287390029308</c:v>
                </c:pt>
                <c:pt idx="232">
                  <c:v>77.364222873900289</c:v>
                </c:pt>
                <c:pt idx="233">
                  <c:v>77.354252199413509</c:v>
                </c:pt>
                <c:pt idx="234">
                  <c:v>77.555425219941355</c:v>
                </c:pt>
                <c:pt idx="235">
                  <c:v>77.557184750733143</c:v>
                </c:pt>
                <c:pt idx="236">
                  <c:v>77.546041055718462</c:v>
                </c:pt>
                <c:pt idx="237">
                  <c:v>77.720821114369485</c:v>
                </c:pt>
                <c:pt idx="238">
                  <c:v>77.974193548387078</c:v>
                </c:pt>
                <c:pt idx="239">
                  <c:v>78.076832844574767</c:v>
                </c:pt>
                <c:pt idx="240">
                  <c:v>78.04398826979471</c:v>
                </c:pt>
                <c:pt idx="241">
                  <c:v>78.142521994134881</c:v>
                </c:pt>
                <c:pt idx="242">
                  <c:v>78.306158357771253</c:v>
                </c:pt>
                <c:pt idx="243">
                  <c:v>78.547800586510277</c:v>
                </c:pt>
                <c:pt idx="244">
                  <c:v>78.678592375366563</c:v>
                </c:pt>
                <c:pt idx="245">
                  <c:v>78.707331378299116</c:v>
                </c:pt>
                <c:pt idx="246">
                  <c:v>78.871554252199402</c:v>
                </c:pt>
                <c:pt idx="247">
                  <c:v>78.937243401759517</c:v>
                </c:pt>
                <c:pt idx="248">
                  <c:v>78.913782991202339</c:v>
                </c:pt>
                <c:pt idx="249">
                  <c:v>78.918475073313772</c:v>
                </c:pt>
                <c:pt idx="250">
                  <c:v>78.959530791788822</c:v>
                </c:pt>
                <c:pt idx="251">
                  <c:v>78.998826979472113</c:v>
                </c:pt>
                <c:pt idx="252">
                  <c:v>79.043988269794696</c:v>
                </c:pt>
                <c:pt idx="253">
                  <c:v>78.990029325513177</c:v>
                </c:pt>
                <c:pt idx="254">
                  <c:v>78.852785923753643</c:v>
                </c:pt>
                <c:pt idx="255">
                  <c:v>78.840469208211132</c:v>
                </c:pt>
                <c:pt idx="256">
                  <c:v>78.792375366568905</c:v>
                </c:pt>
                <c:pt idx="257">
                  <c:v>78.64692082111435</c:v>
                </c:pt>
                <c:pt idx="258">
                  <c:v>78.463929618768319</c:v>
                </c:pt>
                <c:pt idx="259">
                  <c:v>78.392961876832828</c:v>
                </c:pt>
                <c:pt idx="260">
                  <c:v>78.26686217008799</c:v>
                </c:pt>
                <c:pt idx="261">
                  <c:v>78.076832844574781</c:v>
                </c:pt>
                <c:pt idx="262">
                  <c:v>78.110263929618768</c:v>
                </c:pt>
                <c:pt idx="263">
                  <c:v>77.953079178885631</c:v>
                </c:pt>
                <c:pt idx="264">
                  <c:v>77.839296187683303</c:v>
                </c:pt>
                <c:pt idx="265">
                  <c:v>77.735483870967769</c:v>
                </c:pt>
                <c:pt idx="266">
                  <c:v>77.588269794721413</c:v>
                </c:pt>
                <c:pt idx="267">
                  <c:v>77.490322580645184</c:v>
                </c:pt>
                <c:pt idx="268">
                  <c:v>77.340175953079196</c:v>
                </c:pt>
                <c:pt idx="269">
                  <c:v>77.074486803519065</c:v>
                </c:pt>
                <c:pt idx="270">
                  <c:v>76.956598240469205</c:v>
                </c:pt>
                <c:pt idx="271">
                  <c:v>76.948973607038127</c:v>
                </c:pt>
                <c:pt idx="272">
                  <c:v>76.834017595307913</c:v>
                </c:pt>
                <c:pt idx="273">
                  <c:v>76.733137829911996</c:v>
                </c:pt>
                <c:pt idx="274">
                  <c:v>76.699120234604081</c:v>
                </c:pt>
                <c:pt idx="275">
                  <c:v>76.647507331378279</c:v>
                </c:pt>
                <c:pt idx="276">
                  <c:v>76.583577712609952</c:v>
                </c:pt>
                <c:pt idx="277">
                  <c:v>76.320821114369494</c:v>
                </c:pt>
                <c:pt idx="278">
                  <c:v>76.22346041055718</c:v>
                </c:pt>
                <c:pt idx="279">
                  <c:v>76.022873900293249</c:v>
                </c:pt>
                <c:pt idx="280">
                  <c:v>75.860997067448679</c:v>
                </c:pt>
                <c:pt idx="281">
                  <c:v>75.675659824046917</c:v>
                </c:pt>
                <c:pt idx="282">
                  <c:v>75.713196480938421</c:v>
                </c:pt>
                <c:pt idx="283">
                  <c:v>75.51260997067449</c:v>
                </c:pt>
                <c:pt idx="284">
                  <c:v>75.374780058651027</c:v>
                </c:pt>
                <c:pt idx="285">
                  <c:v>75.341935483870969</c:v>
                </c:pt>
                <c:pt idx="286">
                  <c:v>75.244574780058642</c:v>
                </c:pt>
                <c:pt idx="287">
                  <c:v>75.147214076246328</c:v>
                </c:pt>
                <c:pt idx="288">
                  <c:v>75.2457478005865</c:v>
                </c:pt>
                <c:pt idx="289">
                  <c:v>75.194721407624641</c:v>
                </c:pt>
                <c:pt idx="290">
                  <c:v>75.251612903225819</c:v>
                </c:pt>
                <c:pt idx="291">
                  <c:v>75.364222873900303</c:v>
                </c:pt>
                <c:pt idx="292">
                  <c:v>75.524926686217015</c:v>
                </c:pt>
                <c:pt idx="293">
                  <c:v>75.401759530791793</c:v>
                </c:pt>
                <c:pt idx="294">
                  <c:v>75.406451612903226</c:v>
                </c:pt>
                <c:pt idx="295">
                  <c:v>75.609970674486789</c:v>
                </c:pt>
                <c:pt idx="296">
                  <c:v>75.59999999999998</c:v>
                </c:pt>
                <c:pt idx="297">
                  <c:v>75.604105571847484</c:v>
                </c:pt>
                <c:pt idx="298">
                  <c:v>75.787096774193543</c:v>
                </c:pt>
                <c:pt idx="299">
                  <c:v>75.987096774193546</c:v>
                </c:pt>
                <c:pt idx="300">
                  <c:v>76.007038123167163</c:v>
                </c:pt>
                <c:pt idx="301">
                  <c:v>76.005865102639305</c:v>
                </c:pt>
                <c:pt idx="302">
                  <c:v>75.873900293255133</c:v>
                </c:pt>
                <c:pt idx="303">
                  <c:v>76.017595307917887</c:v>
                </c:pt>
                <c:pt idx="304">
                  <c:v>76.026392961876851</c:v>
                </c:pt>
                <c:pt idx="305">
                  <c:v>76.026392961876837</c:v>
                </c:pt>
                <c:pt idx="306">
                  <c:v>75.985923753665702</c:v>
                </c:pt>
                <c:pt idx="307">
                  <c:v>75.814662756598267</c:v>
                </c:pt>
                <c:pt idx="308">
                  <c:v>75.980645161290326</c:v>
                </c:pt>
                <c:pt idx="309">
                  <c:v>76.045747800586511</c:v>
                </c:pt>
                <c:pt idx="310">
                  <c:v>76.158944281524924</c:v>
                </c:pt>
                <c:pt idx="311">
                  <c:v>76.101466275659831</c:v>
                </c:pt>
                <c:pt idx="312">
                  <c:v>76.14897360703813</c:v>
                </c:pt>
                <c:pt idx="313">
                  <c:v>76.001173020527858</c:v>
                </c:pt>
                <c:pt idx="314">
                  <c:v>76.212316715542514</c:v>
                </c:pt>
                <c:pt idx="315">
                  <c:v>76.241642228738982</c:v>
                </c:pt>
                <c:pt idx="316">
                  <c:v>76.148387096774172</c:v>
                </c:pt>
                <c:pt idx="317">
                  <c:v>76.134310850439874</c:v>
                </c:pt>
                <c:pt idx="318">
                  <c:v>76.117302052785917</c:v>
                </c:pt>
                <c:pt idx="319">
                  <c:v>76.121994134897349</c:v>
                </c:pt>
                <c:pt idx="320">
                  <c:v>76.288563049853366</c:v>
                </c:pt>
                <c:pt idx="321">
                  <c:v>76.338416422287381</c:v>
                </c:pt>
                <c:pt idx="322">
                  <c:v>76.293841642228728</c:v>
                </c:pt>
                <c:pt idx="323">
                  <c:v>76.263929618768302</c:v>
                </c:pt>
                <c:pt idx="324">
                  <c:v>76.307917888563054</c:v>
                </c:pt>
                <c:pt idx="325">
                  <c:v>76.264516129032273</c:v>
                </c:pt>
                <c:pt idx="326">
                  <c:v>76.171260997067449</c:v>
                </c:pt>
                <c:pt idx="327">
                  <c:v>76.233431085044032</c:v>
                </c:pt>
                <c:pt idx="328">
                  <c:v>76.386510263929637</c:v>
                </c:pt>
                <c:pt idx="329">
                  <c:v>76.394134897360729</c:v>
                </c:pt>
                <c:pt idx="330">
                  <c:v>76.21114369501467</c:v>
                </c:pt>
                <c:pt idx="331">
                  <c:v>76.293255131964813</c:v>
                </c:pt>
                <c:pt idx="332">
                  <c:v>76.261583577712614</c:v>
                </c:pt>
                <c:pt idx="333">
                  <c:v>76.287390029325522</c:v>
                </c:pt>
                <c:pt idx="334">
                  <c:v>76.239882697947195</c:v>
                </c:pt>
                <c:pt idx="335">
                  <c:v>76.262756598240443</c:v>
                </c:pt>
                <c:pt idx="336">
                  <c:v>76.119648093841633</c:v>
                </c:pt>
                <c:pt idx="337">
                  <c:v>76.156011730205265</c:v>
                </c:pt>
                <c:pt idx="338">
                  <c:v>76.226979472140741</c:v>
                </c:pt>
                <c:pt idx="339">
                  <c:v>76.260997067448685</c:v>
                </c:pt>
                <c:pt idx="340">
                  <c:v>76.231085043988259</c:v>
                </c:pt>
                <c:pt idx="341">
                  <c:v>76.29208211143694</c:v>
                </c:pt>
                <c:pt idx="342">
                  <c:v>76.448093841642233</c:v>
                </c:pt>
                <c:pt idx="343">
                  <c:v>76.531378299120234</c:v>
                </c:pt>
                <c:pt idx="344">
                  <c:v>76.620527859237527</c:v>
                </c:pt>
                <c:pt idx="345">
                  <c:v>76.457478005865099</c:v>
                </c:pt>
                <c:pt idx="346">
                  <c:v>76.591788856304973</c:v>
                </c:pt>
                <c:pt idx="347">
                  <c:v>76.698533724340166</c:v>
                </c:pt>
                <c:pt idx="348">
                  <c:v>76.770674486803514</c:v>
                </c:pt>
                <c:pt idx="349">
                  <c:v>76.827565982404678</c:v>
                </c:pt>
                <c:pt idx="350">
                  <c:v>76.879178885630495</c:v>
                </c:pt>
                <c:pt idx="351">
                  <c:v>76.758357771261004</c:v>
                </c:pt>
                <c:pt idx="352">
                  <c:v>76.718475073313769</c:v>
                </c:pt>
                <c:pt idx="353">
                  <c:v>76.749560117302067</c:v>
                </c:pt>
                <c:pt idx="354">
                  <c:v>76.713196480938407</c:v>
                </c:pt>
                <c:pt idx="355">
                  <c:v>76.700879765395882</c:v>
                </c:pt>
                <c:pt idx="356">
                  <c:v>76.832258064516125</c:v>
                </c:pt>
                <c:pt idx="357">
                  <c:v>76.750733137829926</c:v>
                </c:pt>
                <c:pt idx="358">
                  <c:v>76.64926686217008</c:v>
                </c:pt>
                <c:pt idx="359">
                  <c:v>76.50615835777127</c:v>
                </c:pt>
                <c:pt idx="360">
                  <c:v>76.425219941348985</c:v>
                </c:pt>
                <c:pt idx="361">
                  <c:v>76.386510263929637</c:v>
                </c:pt>
                <c:pt idx="362">
                  <c:v>76.290909090909111</c:v>
                </c:pt>
                <c:pt idx="363">
                  <c:v>76.334897360703835</c:v>
                </c:pt>
                <c:pt idx="364">
                  <c:v>76.472140762463368</c:v>
                </c:pt>
                <c:pt idx="365">
                  <c:v>76.306158357771281</c:v>
                </c:pt>
                <c:pt idx="366">
                  <c:v>76.379472140762488</c:v>
                </c:pt>
                <c:pt idx="367">
                  <c:v>76.397653958944304</c:v>
                </c:pt>
                <c:pt idx="368">
                  <c:v>76.314956011730231</c:v>
                </c:pt>
                <c:pt idx="369">
                  <c:v>76.350733137829934</c:v>
                </c:pt>
                <c:pt idx="370">
                  <c:v>76.219354838709663</c:v>
                </c:pt>
                <c:pt idx="371">
                  <c:v>76.145454545454541</c:v>
                </c:pt>
                <c:pt idx="372">
                  <c:v>76.131964809384158</c:v>
                </c:pt>
                <c:pt idx="373">
                  <c:v>75.977126099706737</c:v>
                </c:pt>
                <c:pt idx="374">
                  <c:v>75.857478005865119</c:v>
                </c:pt>
                <c:pt idx="375">
                  <c:v>75.828739002932565</c:v>
                </c:pt>
                <c:pt idx="376">
                  <c:v>75.77888563049855</c:v>
                </c:pt>
                <c:pt idx="377">
                  <c:v>75.767741935483869</c:v>
                </c:pt>
                <c:pt idx="378">
                  <c:v>75.683870967741925</c:v>
                </c:pt>
                <c:pt idx="379">
                  <c:v>75.729032258064507</c:v>
                </c:pt>
                <c:pt idx="380">
                  <c:v>75.754252199413472</c:v>
                </c:pt>
                <c:pt idx="381">
                  <c:v>75.72023460410557</c:v>
                </c:pt>
                <c:pt idx="382">
                  <c:v>75.715542521994124</c:v>
                </c:pt>
                <c:pt idx="383">
                  <c:v>75.744281524926677</c:v>
                </c:pt>
                <c:pt idx="384">
                  <c:v>75.750733137829897</c:v>
                </c:pt>
                <c:pt idx="385">
                  <c:v>75.8</c:v>
                </c:pt>
                <c:pt idx="386">
                  <c:v>75.793548387096777</c:v>
                </c:pt>
                <c:pt idx="387">
                  <c:v>75.663343108504378</c:v>
                </c:pt>
                <c:pt idx="388">
                  <c:v>75.714369501466265</c:v>
                </c:pt>
                <c:pt idx="389">
                  <c:v>75.806451612903231</c:v>
                </c:pt>
                <c:pt idx="390">
                  <c:v>75.806451612903231</c:v>
                </c:pt>
                <c:pt idx="391">
                  <c:v>75.728445747800563</c:v>
                </c:pt>
                <c:pt idx="392">
                  <c:v>75.853372434017587</c:v>
                </c:pt>
                <c:pt idx="393">
                  <c:v>75.991788856304979</c:v>
                </c:pt>
                <c:pt idx="394">
                  <c:v>76.052199413489703</c:v>
                </c:pt>
                <c:pt idx="395">
                  <c:v>75.99061583577712</c:v>
                </c:pt>
                <c:pt idx="396">
                  <c:v>76.005278592375348</c:v>
                </c:pt>
                <c:pt idx="397">
                  <c:v>75.980058651026383</c:v>
                </c:pt>
                <c:pt idx="398">
                  <c:v>76.109677419354824</c:v>
                </c:pt>
                <c:pt idx="399">
                  <c:v>76.008211143694993</c:v>
                </c:pt>
                <c:pt idx="400">
                  <c:v>76.120821114369477</c:v>
                </c:pt>
                <c:pt idx="401">
                  <c:v>76.058064516129022</c:v>
                </c:pt>
                <c:pt idx="402">
                  <c:v>76.085043988269774</c:v>
                </c:pt>
                <c:pt idx="403">
                  <c:v>76.083284457477987</c:v>
                </c:pt>
                <c:pt idx="404">
                  <c:v>76.25102639296189</c:v>
                </c:pt>
                <c:pt idx="405">
                  <c:v>76.251612903225819</c:v>
                </c:pt>
                <c:pt idx="406">
                  <c:v>76.198826979472145</c:v>
                </c:pt>
                <c:pt idx="407">
                  <c:v>76.215835777126102</c:v>
                </c:pt>
                <c:pt idx="408">
                  <c:v>76.137243401759548</c:v>
                </c:pt>
                <c:pt idx="409">
                  <c:v>76.27331378299121</c:v>
                </c:pt>
                <c:pt idx="410">
                  <c:v>76.170674486803506</c:v>
                </c:pt>
                <c:pt idx="411">
                  <c:v>76.209970674486812</c:v>
                </c:pt>
                <c:pt idx="412">
                  <c:v>76.278592375366557</c:v>
                </c:pt>
                <c:pt idx="413">
                  <c:v>76.310263929618756</c:v>
                </c:pt>
                <c:pt idx="414">
                  <c:v>76.156598240469208</c:v>
                </c:pt>
                <c:pt idx="415">
                  <c:v>76.106744868035193</c:v>
                </c:pt>
                <c:pt idx="416">
                  <c:v>75.972434017595333</c:v>
                </c:pt>
                <c:pt idx="417">
                  <c:v>75.978885630498553</c:v>
                </c:pt>
                <c:pt idx="418">
                  <c:v>76.015249266862185</c:v>
                </c:pt>
                <c:pt idx="419">
                  <c:v>76.13958944281525</c:v>
                </c:pt>
                <c:pt idx="420">
                  <c:v>76.018181818181816</c:v>
                </c:pt>
                <c:pt idx="421">
                  <c:v>76.212316715542514</c:v>
                </c:pt>
                <c:pt idx="422">
                  <c:v>76.255131964809394</c:v>
                </c:pt>
                <c:pt idx="423">
                  <c:v>76.143108504398839</c:v>
                </c:pt>
                <c:pt idx="424">
                  <c:v>76.061583577712625</c:v>
                </c:pt>
                <c:pt idx="425">
                  <c:v>76.045161290322582</c:v>
                </c:pt>
                <c:pt idx="426">
                  <c:v>76.029912023460412</c:v>
                </c:pt>
                <c:pt idx="427">
                  <c:v>76.211730205278585</c:v>
                </c:pt>
                <c:pt idx="428">
                  <c:v>76.268621700879763</c:v>
                </c:pt>
                <c:pt idx="429">
                  <c:v>76.213489736070372</c:v>
                </c:pt>
                <c:pt idx="430">
                  <c:v>76.373607038123154</c:v>
                </c:pt>
                <c:pt idx="431">
                  <c:v>76.350146627565991</c:v>
                </c:pt>
                <c:pt idx="432">
                  <c:v>76.519648093841639</c:v>
                </c:pt>
                <c:pt idx="433">
                  <c:v>76.546627565982419</c:v>
                </c:pt>
                <c:pt idx="434">
                  <c:v>76.468035190615851</c:v>
                </c:pt>
                <c:pt idx="435">
                  <c:v>76.310263929618799</c:v>
                </c:pt>
                <c:pt idx="436">
                  <c:v>76.485630498533752</c:v>
                </c:pt>
                <c:pt idx="437">
                  <c:v>76.505571847507355</c:v>
                </c:pt>
                <c:pt idx="438">
                  <c:v>76.503812316715567</c:v>
                </c:pt>
                <c:pt idx="439">
                  <c:v>76.448680351906162</c:v>
                </c:pt>
                <c:pt idx="440">
                  <c:v>76.383577712609977</c:v>
                </c:pt>
                <c:pt idx="441">
                  <c:v>76.341935483870984</c:v>
                </c:pt>
                <c:pt idx="442">
                  <c:v>76.344868035190629</c:v>
                </c:pt>
                <c:pt idx="443">
                  <c:v>76.171260997067449</c:v>
                </c:pt>
                <c:pt idx="444">
                  <c:v>76.269208211143706</c:v>
                </c:pt>
                <c:pt idx="445">
                  <c:v>76.401759530791807</c:v>
                </c:pt>
                <c:pt idx="446">
                  <c:v>76.42815249266863</c:v>
                </c:pt>
                <c:pt idx="447">
                  <c:v>76.519648093841639</c:v>
                </c:pt>
                <c:pt idx="448">
                  <c:v>76.548973607038107</c:v>
                </c:pt>
                <c:pt idx="449">
                  <c:v>76.665689149560095</c:v>
                </c:pt>
                <c:pt idx="450">
                  <c:v>76.639296187683257</c:v>
                </c:pt>
                <c:pt idx="451">
                  <c:v>76.837536656891501</c:v>
                </c:pt>
                <c:pt idx="452">
                  <c:v>76.80117302052787</c:v>
                </c:pt>
                <c:pt idx="453">
                  <c:v>76.87565982404692</c:v>
                </c:pt>
                <c:pt idx="454">
                  <c:v>77.032844574780057</c:v>
                </c:pt>
                <c:pt idx="455">
                  <c:v>76.97536656891495</c:v>
                </c:pt>
                <c:pt idx="456">
                  <c:v>77.082697947214072</c:v>
                </c:pt>
                <c:pt idx="457">
                  <c:v>77.008211143695007</c:v>
                </c:pt>
                <c:pt idx="458">
                  <c:v>76.843401759530792</c:v>
                </c:pt>
                <c:pt idx="459">
                  <c:v>76.686803519061584</c:v>
                </c:pt>
                <c:pt idx="460">
                  <c:v>76.604692082111455</c:v>
                </c:pt>
                <c:pt idx="461">
                  <c:v>76.436950146627581</c:v>
                </c:pt>
                <c:pt idx="462">
                  <c:v>76.392375366568928</c:v>
                </c:pt>
                <c:pt idx="463">
                  <c:v>76.418181818181822</c:v>
                </c:pt>
                <c:pt idx="464">
                  <c:v>76.37536656891497</c:v>
                </c:pt>
                <c:pt idx="465">
                  <c:v>76.292668621700884</c:v>
                </c:pt>
                <c:pt idx="466">
                  <c:v>76.245161290322613</c:v>
                </c:pt>
                <c:pt idx="467">
                  <c:v>76.022287390029334</c:v>
                </c:pt>
                <c:pt idx="468">
                  <c:v>76.080351906158384</c:v>
                </c:pt>
                <c:pt idx="469">
                  <c:v>76.263929618768344</c:v>
                </c:pt>
                <c:pt idx="470">
                  <c:v>76.452199413489737</c:v>
                </c:pt>
                <c:pt idx="471">
                  <c:v>76.418181818181807</c:v>
                </c:pt>
                <c:pt idx="472">
                  <c:v>76.482697947214049</c:v>
                </c:pt>
                <c:pt idx="473">
                  <c:v>76.434017595307907</c:v>
                </c:pt>
                <c:pt idx="474">
                  <c:v>76.480938416422291</c:v>
                </c:pt>
                <c:pt idx="475">
                  <c:v>76.432258064516148</c:v>
                </c:pt>
                <c:pt idx="476">
                  <c:v>76.378885630498544</c:v>
                </c:pt>
                <c:pt idx="477">
                  <c:v>76.2950146627566</c:v>
                </c:pt>
                <c:pt idx="478">
                  <c:v>76.237536656891479</c:v>
                </c:pt>
                <c:pt idx="479">
                  <c:v>76.200586510263918</c:v>
                </c:pt>
                <c:pt idx="480">
                  <c:v>76.087390029325505</c:v>
                </c:pt>
                <c:pt idx="481">
                  <c:v>75.990615835777135</c:v>
                </c:pt>
                <c:pt idx="482">
                  <c:v>75.917302052785914</c:v>
                </c:pt>
                <c:pt idx="483">
                  <c:v>75.899706744868027</c:v>
                </c:pt>
                <c:pt idx="484">
                  <c:v>75.799999999999983</c:v>
                </c:pt>
                <c:pt idx="485">
                  <c:v>75.669794721407598</c:v>
                </c:pt>
                <c:pt idx="486">
                  <c:v>75.821700879765388</c:v>
                </c:pt>
                <c:pt idx="487">
                  <c:v>75.661583577712605</c:v>
                </c:pt>
                <c:pt idx="488">
                  <c:v>75.72727272727272</c:v>
                </c:pt>
                <c:pt idx="489">
                  <c:v>75.875073313782991</c:v>
                </c:pt>
                <c:pt idx="490">
                  <c:v>75.834604105571856</c:v>
                </c:pt>
                <c:pt idx="491">
                  <c:v>75.784750733137841</c:v>
                </c:pt>
                <c:pt idx="492">
                  <c:v>75.926686217008807</c:v>
                </c:pt>
                <c:pt idx="493">
                  <c:v>75.864516129032268</c:v>
                </c:pt>
                <c:pt idx="494">
                  <c:v>75.785923753665685</c:v>
                </c:pt>
                <c:pt idx="495">
                  <c:v>75.771847507331373</c:v>
                </c:pt>
                <c:pt idx="496">
                  <c:v>75.837536656891487</c:v>
                </c:pt>
                <c:pt idx="497">
                  <c:v>75.863929618768324</c:v>
                </c:pt>
                <c:pt idx="498">
                  <c:v>75.887390029325502</c:v>
                </c:pt>
                <c:pt idx="499">
                  <c:v>75.853958944281516</c:v>
                </c:pt>
                <c:pt idx="500">
                  <c:v>75.832258064516125</c:v>
                </c:pt>
                <c:pt idx="501">
                  <c:v>75.826392961876834</c:v>
                </c:pt>
                <c:pt idx="502">
                  <c:v>75.824046920821104</c:v>
                </c:pt>
                <c:pt idx="503">
                  <c:v>75.710850439882677</c:v>
                </c:pt>
                <c:pt idx="504">
                  <c:v>75.825806451612905</c:v>
                </c:pt>
                <c:pt idx="505">
                  <c:v>75.883284457477998</c:v>
                </c:pt>
                <c:pt idx="506">
                  <c:v>75.919061583577701</c:v>
                </c:pt>
                <c:pt idx="507">
                  <c:v>75.958357771260992</c:v>
                </c:pt>
                <c:pt idx="508">
                  <c:v>75.890909090909076</c:v>
                </c:pt>
                <c:pt idx="509">
                  <c:v>75.992961876832837</c:v>
                </c:pt>
                <c:pt idx="510">
                  <c:v>76.156598240469194</c:v>
                </c:pt>
                <c:pt idx="511">
                  <c:v>76.315542521994132</c:v>
                </c:pt>
                <c:pt idx="512">
                  <c:v>76.395894428152488</c:v>
                </c:pt>
                <c:pt idx="513">
                  <c:v>76.330791788856317</c:v>
                </c:pt>
                <c:pt idx="514">
                  <c:v>76.291495601173011</c:v>
                </c:pt>
                <c:pt idx="515">
                  <c:v>76.353665689149565</c:v>
                </c:pt>
                <c:pt idx="516">
                  <c:v>76.519061583577709</c:v>
                </c:pt>
                <c:pt idx="517">
                  <c:v>76.560703812316703</c:v>
                </c:pt>
                <c:pt idx="518">
                  <c:v>76.626979472140746</c:v>
                </c:pt>
                <c:pt idx="519">
                  <c:v>76.726686217008776</c:v>
                </c:pt>
                <c:pt idx="520">
                  <c:v>76.629912023460406</c:v>
                </c:pt>
                <c:pt idx="521">
                  <c:v>76.710850439882691</c:v>
                </c:pt>
                <c:pt idx="522">
                  <c:v>76.870381231671573</c:v>
                </c:pt>
                <c:pt idx="523">
                  <c:v>76.812316715542536</c:v>
                </c:pt>
                <c:pt idx="524">
                  <c:v>76.74780058651028</c:v>
                </c:pt>
                <c:pt idx="525">
                  <c:v>76.736656891495599</c:v>
                </c:pt>
                <c:pt idx="526">
                  <c:v>76.85630498533726</c:v>
                </c:pt>
                <c:pt idx="527">
                  <c:v>76.844574780058664</c:v>
                </c:pt>
                <c:pt idx="528">
                  <c:v>77.008211143695021</c:v>
                </c:pt>
                <c:pt idx="529">
                  <c:v>77.195894428152485</c:v>
                </c:pt>
                <c:pt idx="530">
                  <c:v>77.139002932551307</c:v>
                </c:pt>
                <c:pt idx="531">
                  <c:v>77.087976539589434</c:v>
                </c:pt>
                <c:pt idx="532">
                  <c:v>77.075659824046909</c:v>
                </c:pt>
                <c:pt idx="533">
                  <c:v>77.189442815249251</c:v>
                </c:pt>
                <c:pt idx="534">
                  <c:v>77.412316715542516</c:v>
                </c:pt>
                <c:pt idx="535">
                  <c:v>77.330791788856288</c:v>
                </c:pt>
                <c:pt idx="536">
                  <c:v>77.393548387096757</c:v>
                </c:pt>
                <c:pt idx="537">
                  <c:v>77.216422287390017</c:v>
                </c:pt>
                <c:pt idx="538">
                  <c:v>77.117302052785931</c:v>
                </c:pt>
                <c:pt idx="539">
                  <c:v>77.277419354838727</c:v>
                </c:pt>
                <c:pt idx="540">
                  <c:v>77.262170087976543</c:v>
                </c:pt>
                <c:pt idx="541">
                  <c:v>77.036950146627575</c:v>
                </c:pt>
                <c:pt idx="542">
                  <c:v>76.851612903225828</c:v>
                </c:pt>
                <c:pt idx="543">
                  <c:v>76.901466275659843</c:v>
                </c:pt>
                <c:pt idx="544">
                  <c:v>76.831671554252225</c:v>
                </c:pt>
                <c:pt idx="545">
                  <c:v>76.826392961876849</c:v>
                </c:pt>
                <c:pt idx="546">
                  <c:v>76.750146627565996</c:v>
                </c:pt>
                <c:pt idx="547">
                  <c:v>76.750146627565968</c:v>
                </c:pt>
                <c:pt idx="548">
                  <c:v>76.66510263929618</c:v>
                </c:pt>
                <c:pt idx="549">
                  <c:v>76.744868035190606</c:v>
                </c:pt>
                <c:pt idx="550">
                  <c:v>76.716715542521996</c:v>
                </c:pt>
                <c:pt idx="551">
                  <c:v>76.767741935483883</c:v>
                </c:pt>
                <c:pt idx="552">
                  <c:v>76.758944281524933</c:v>
                </c:pt>
                <c:pt idx="553">
                  <c:v>76.634604105571853</c:v>
                </c:pt>
                <c:pt idx="554">
                  <c:v>76.726686217008805</c:v>
                </c:pt>
                <c:pt idx="555">
                  <c:v>76.753079178885642</c:v>
                </c:pt>
                <c:pt idx="556">
                  <c:v>76.842228739002948</c:v>
                </c:pt>
                <c:pt idx="557">
                  <c:v>76.850439882697955</c:v>
                </c:pt>
                <c:pt idx="558">
                  <c:v>76.970674486803517</c:v>
                </c:pt>
                <c:pt idx="559">
                  <c:v>76.767155425219954</c:v>
                </c:pt>
                <c:pt idx="560">
                  <c:v>76.771847507331387</c:v>
                </c:pt>
                <c:pt idx="561">
                  <c:v>76.945454545454567</c:v>
                </c:pt>
                <c:pt idx="562">
                  <c:v>76.815249266862182</c:v>
                </c:pt>
                <c:pt idx="563">
                  <c:v>76.632258064516137</c:v>
                </c:pt>
                <c:pt idx="564">
                  <c:v>76.56187683284459</c:v>
                </c:pt>
                <c:pt idx="565">
                  <c:v>76.417595307917907</c:v>
                </c:pt>
                <c:pt idx="566">
                  <c:v>76.392375366568942</c:v>
                </c:pt>
                <c:pt idx="567">
                  <c:v>76.295014662756614</c:v>
                </c:pt>
                <c:pt idx="568">
                  <c:v>76.296187683284472</c:v>
                </c:pt>
                <c:pt idx="569">
                  <c:v>76.377126099706757</c:v>
                </c:pt>
                <c:pt idx="570">
                  <c:v>76.354838709677438</c:v>
                </c:pt>
                <c:pt idx="571">
                  <c:v>76.201173020527875</c:v>
                </c:pt>
                <c:pt idx="572">
                  <c:v>76.351906158357792</c:v>
                </c:pt>
                <c:pt idx="573">
                  <c:v>76.548973607038135</c:v>
                </c:pt>
                <c:pt idx="574">
                  <c:v>76.333137829912033</c:v>
                </c:pt>
                <c:pt idx="575">
                  <c:v>76.374780058651027</c:v>
                </c:pt>
                <c:pt idx="576">
                  <c:v>76.350733137829906</c:v>
                </c:pt>
                <c:pt idx="577">
                  <c:v>76.454545454545453</c:v>
                </c:pt>
                <c:pt idx="578">
                  <c:v>76.398240469208204</c:v>
                </c:pt>
                <c:pt idx="579">
                  <c:v>76.377126099706743</c:v>
                </c:pt>
                <c:pt idx="580">
                  <c:v>76.229325513196471</c:v>
                </c:pt>
                <c:pt idx="581">
                  <c:v>76.1642228739003</c:v>
                </c:pt>
                <c:pt idx="582">
                  <c:v>76.080351906158356</c:v>
                </c:pt>
                <c:pt idx="583">
                  <c:v>76.103812316715548</c:v>
                </c:pt>
                <c:pt idx="584">
                  <c:v>76.066862170087973</c:v>
                </c:pt>
                <c:pt idx="585">
                  <c:v>75.950146627565999</c:v>
                </c:pt>
                <c:pt idx="586">
                  <c:v>75.998240469208227</c:v>
                </c:pt>
                <c:pt idx="587">
                  <c:v>75.872727272727303</c:v>
                </c:pt>
                <c:pt idx="588">
                  <c:v>75.715542521994138</c:v>
                </c:pt>
                <c:pt idx="589">
                  <c:v>75.735483870967741</c:v>
                </c:pt>
                <c:pt idx="590">
                  <c:v>75.890909090909091</c:v>
                </c:pt>
                <c:pt idx="591">
                  <c:v>75.771847507331373</c:v>
                </c:pt>
                <c:pt idx="592">
                  <c:v>75.680938416422265</c:v>
                </c:pt>
                <c:pt idx="593">
                  <c:v>75.751906158357741</c:v>
                </c:pt>
                <c:pt idx="594">
                  <c:v>75.91319648093841</c:v>
                </c:pt>
                <c:pt idx="595">
                  <c:v>76.01935483870966</c:v>
                </c:pt>
                <c:pt idx="596">
                  <c:v>76.154252199413477</c:v>
                </c:pt>
                <c:pt idx="597">
                  <c:v>76.278592375366571</c:v>
                </c:pt>
                <c:pt idx="598">
                  <c:v>76.384750733137821</c:v>
                </c:pt>
                <c:pt idx="599">
                  <c:v>76.51847507331378</c:v>
                </c:pt>
                <c:pt idx="600">
                  <c:v>76.449853372434021</c:v>
                </c:pt>
                <c:pt idx="601">
                  <c:v>76.37888563049853</c:v>
                </c:pt>
                <c:pt idx="602">
                  <c:v>76.629325513196477</c:v>
                </c:pt>
                <c:pt idx="603">
                  <c:v>76.672727272727258</c:v>
                </c:pt>
                <c:pt idx="604">
                  <c:v>76.685043988269783</c:v>
                </c:pt>
                <c:pt idx="605">
                  <c:v>76.937243401759531</c:v>
                </c:pt>
                <c:pt idx="606">
                  <c:v>77.114369501466285</c:v>
                </c:pt>
                <c:pt idx="607">
                  <c:v>77.196480938416414</c:v>
                </c:pt>
                <c:pt idx="608">
                  <c:v>77.233431085043975</c:v>
                </c:pt>
                <c:pt idx="609">
                  <c:v>77.282111436950146</c:v>
                </c:pt>
                <c:pt idx="610">
                  <c:v>77.451612903225794</c:v>
                </c:pt>
                <c:pt idx="611">
                  <c:v>77.557771260997058</c:v>
                </c:pt>
                <c:pt idx="612">
                  <c:v>77.635190615835782</c:v>
                </c:pt>
                <c:pt idx="613">
                  <c:v>77.72668621700879</c:v>
                </c:pt>
                <c:pt idx="614">
                  <c:v>77.814662756598239</c:v>
                </c:pt>
                <c:pt idx="615">
                  <c:v>77.928445747800581</c:v>
                </c:pt>
                <c:pt idx="616">
                  <c:v>77.949560117302056</c:v>
                </c:pt>
                <c:pt idx="617">
                  <c:v>77.99120234604105</c:v>
                </c:pt>
                <c:pt idx="618">
                  <c:v>78.154838709677421</c:v>
                </c:pt>
                <c:pt idx="619">
                  <c:v>78.387683284457481</c:v>
                </c:pt>
                <c:pt idx="620">
                  <c:v>78.329618768328444</c:v>
                </c:pt>
                <c:pt idx="621">
                  <c:v>78.458064516129028</c:v>
                </c:pt>
                <c:pt idx="622">
                  <c:v>78.596480938416406</c:v>
                </c:pt>
                <c:pt idx="623">
                  <c:v>78.633431085043981</c:v>
                </c:pt>
                <c:pt idx="624">
                  <c:v>78.831085043988253</c:v>
                </c:pt>
                <c:pt idx="625">
                  <c:v>78.821114369501458</c:v>
                </c:pt>
                <c:pt idx="626">
                  <c:v>78.826979472140764</c:v>
                </c:pt>
                <c:pt idx="627">
                  <c:v>78.858651026392963</c:v>
                </c:pt>
                <c:pt idx="628">
                  <c:v>78.840469208211161</c:v>
                </c:pt>
                <c:pt idx="629">
                  <c:v>78.897947214076268</c:v>
                </c:pt>
                <c:pt idx="630">
                  <c:v>78.925513196480964</c:v>
                </c:pt>
                <c:pt idx="631">
                  <c:v>79.043401759530809</c:v>
                </c:pt>
                <c:pt idx="632">
                  <c:v>79.129032258064527</c:v>
                </c:pt>
                <c:pt idx="633">
                  <c:v>79.116715542522002</c:v>
                </c:pt>
                <c:pt idx="634">
                  <c:v>79.154252199413492</c:v>
                </c:pt>
                <c:pt idx="635">
                  <c:v>79.04398826979471</c:v>
                </c:pt>
                <c:pt idx="636">
                  <c:v>79.035777126099703</c:v>
                </c:pt>
                <c:pt idx="637">
                  <c:v>79.084457478005874</c:v>
                </c:pt>
                <c:pt idx="638">
                  <c:v>79.108504398826994</c:v>
                </c:pt>
                <c:pt idx="639">
                  <c:v>79.035777126099731</c:v>
                </c:pt>
                <c:pt idx="640">
                  <c:v>79.082111436950171</c:v>
                </c:pt>
                <c:pt idx="641">
                  <c:v>79.086217008797675</c:v>
                </c:pt>
                <c:pt idx="642">
                  <c:v>79.177712609970669</c:v>
                </c:pt>
                <c:pt idx="643">
                  <c:v>79.147800586510257</c:v>
                </c:pt>
                <c:pt idx="644">
                  <c:v>79.19530791788857</c:v>
                </c:pt>
                <c:pt idx="645">
                  <c:v>79.097947214076228</c:v>
                </c:pt>
                <c:pt idx="646">
                  <c:v>78.965395894428156</c:v>
                </c:pt>
                <c:pt idx="647">
                  <c:v>78.982991202346042</c:v>
                </c:pt>
                <c:pt idx="648">
                  <c:v>79.034604105571859</c:v>
                </c:pt>
                <c:pt idx="649">
                  <c:v>78.831671554252196</c:v>
                </c:pt>
                <c:pt idx="650">
                  <c:v>78.667448680351896</c:v>
                </c:pt>
                <c:pt idx="651">
                  <c:v>78.537829912023454</c:v>
                </c:pt>
                <c:pt idx="652">
                  <c:v>78.429325513196488</c:v>
                </c:pt>
                <c:pt idx="653">
                  <c:v>78.312609970674501</c:v>
                </c:pt>
                <c:pt idx="654">
                  <c:v>78.271554252199437</c:v>
                </c:pt>
                <c:pt idx="655">
                  <c:v>78.018181818181816</c:v>
                </c:pt>
                <c:pt idx="656">
                  <c:v>78.04633431085044</c:v>
                </c:pt>
                <c:pt idx="657">
                  <c:v>77.982404692082113</c:v>
                </c:pt>
                <c:pt idx="658">
                  <c:v>77.968328445747801</c:v>
                </c:pt>
                <c:pt idx="659">
                  <c:v>77.883870967741927</c:v>
                </c:pt>
                <c:pt idx="660">
                  <c:v>77.676246334310861</c:v>
                </c:pt>
                <c:pt idx="661">
                  <c:v>77.626392961876832</c:v>
                </c:pt>
                <c:pt idx="662">
                  <c:v>77.6392961876833</c:v>
                </c:pt>
                <c:pt idx="663">
                  <c:v>77.485630498533752</c:v>
                </c:pt>
                <c:pt idx="664">
                  <c:v>77.421114369501467</c:v>
                </c:pt>
                <c:pt idx="665">
                  <c:v>77.234604105571847</c:v>
                </c:pt>
                <c:pt idx="666">
                  <c:v>77.123167155425222</c:v>
                </c:pt>
                <c:pt idx="667">
                  <c:v>76.923167155425219</c:v>
                </c:pt>
                <c:pt idx="668">
                  <c:v>76.649266862170094</c:v>
                </c:pt>
                <c:pt idx="669">
                  <c:v>76.679178885630506</c:v>
                </c:pt>
                <c:pt idx="670">
                  <c:v>76.752492668621713</c:v>
                </c:pt>
                <c:pt idx="671">
                  <c:v>76.56129032258066</c:v>
                </c:pt>
                <c:pt idx="672">
                  <c:v>76.302639296187678</c:v>
                </c:pt>
                <c:pt idx="673">
                  <c:v>76.276246334310855</c:v>
                </c:pt>
                <c:pt idx="674">
                  <c:v>76.148973607038116</c:v>
                </c:pt>
                <c:pt idx="675">
                  <c:v>76.167155425219946</c:v>
                </c:pt>
                <c:pt idx="676">
                  <c:v>76.22111436950145</c:v>
                </c:pt>
                <c:pt idx="677">
                  <c:v>76.292082111436955</c:v>
                </c:pt>
                <c:pt idx="678">
                  <c:v>76.30439882697948</c:v>
                </c:pt>
                <c:pt idx="679">
                  <c:v>76.324926686217012</c:v>
                </c:pt>
                <c:pt idx="680">
                  <c:v>76.464516129032262</c:v>
                </c:pt>
                <c:pt idx="681">
                  <c:v>76.529618768328447</c:v>
                </c:pt>
                <c:pt idx="682">
                  <c:v>76.611143695014661</c:v>
                </c:pt>
                <c:pt idx="683">
                  <c:v>76.627565982404704</c:v>
                </c:pt>
                <c:pt idx="684">
                  <c:v>76.643401759530803</c:v>
                </c:pt>
                <c:pt idx="685">
                  <c:v>76.537829912023469</c:v>
                </c:pt>
                <c:pt idx="686">
                  <c:v>76.615249266862165</c:v>
                </c:pt>
                <c:pt idx="687">
                  <c:v>76.568328445747824</c:v>
                </c:pt>
                <c:pt idx="688">
                  <c:v>76.523167155425227</c:v>
                </c:pt>
                <c:pt idx="689">
                  <c:v>76.469794721407638</c:v>
                </c:pt>
                <c:pt idx="690">
                  <c:v>76.568328445747809</c:v>
                </c:pt>
                <c:pt idx="691">
                  <c:v>76.523167155425227</c:v>
                </c:pt>
                <c:pt idx="692">
                  <c:v>76.410557184750743</c:v>
                </c:pt>
                <c:pt idx="693">
                  <c:v>76.384164222873906</c:v>
                </c:pt>
                <c:pt idx="694">
                  <c:v>76.419354838709666</c:v>
                </c:pt>
                <c:pt idx="695">
                  <c:v>76.360117302052785</c:v>
                </c:pt>
                <c:pt idx="696">
                  <c:v>76.322580645161281</c:v>
                </c:pt>
                <c:pt idx="697">
                  <c:v>76.412903225806431</c:v>
                </c:pt>
                <c:pt idx="698">
                  <c:v>76.412316715542516</c:v>
                </c:pt>
                <c:pt idx="699">
                  <c:v>76.481524926686205</c:v>
                </c:pt>
                <c:pt idx="700">
                  <c:v>76.33900293255131</c:v>
                </c:pt>
                <c:pt idx="701">
                  <c:v>76.327859237536671</c:v>
                </c:pt>
                <c:pt idx="702">
                  <c:v>76.387683284457481</c:v>
                </c:pt>
                <c:pt idx="703">
                  <c:v>76.478592375366574</c:v>
                </c:pt>
                <c:pt idx="704">
                  <c:v>76.461583577712616</c:v>
                </c:pt>
                <c:pt idx="705">
                  <c:v>76.530205278592376</c:v>
                </c:pt>
                <c:pt idx="706">
                  <c:v>76.469208211143695</c:v>
                </c:pt>
                <c:pt idx="707">
                  <c:v>76.488563049853383</c:v>
                </c:pt>
                <c:pt idx="708">
                  <c:v>76.51495601173022</c:v>
                </c:pt>
                <c:pt idx="709">
                  <c:v>76.570087976539583</c:v>
                </c:pt>
                <c:pt idx="710">
                  <c:v>76.49970674486805</c:v>
                </c:pt>
                <c:pt idx="711">
                  <c:v>76.46041055718473</c:v>
                </c:pt>
                <c:pt idx="712">
                  <c:v>76.458651026392971</c:v>
                </c:pt>
                <c:pt idx="713">
                  <c:v>76.517302052785951</c:v>
                </c:pt>
                <c:pt idx="714">
                  <c:v>76.534897360703823</c:v>
                </c:pt>
                <c:pt idx="715">
                  <c:v>76.405278592375382</c:v>
                </c:pt>
                <c:pt idx="716">
                  <c:v>76.533137829912022</c:v>
                </c:pt>
                <c:pt idx="717">
                  <c:v>76.538416422287398</c:v>
                </c:pt>
                <c:pt idx="718">
                  <c:v>76.50322580645161</c:v>
                </c:pt>
                <c:pt idx="719">
                  <c:v>76.548973607038121</c:v>
                </c:pt>
                <c:pt idx="720">
                  <c:v>76.591202346041058</c:v>
                </c:pt>
                <c:pt idx="721">
                  <c:v>76.609970674486803</c:v>
                </c:pt>
                <c:pt idx="722">
                  <c:v>76.823460410557189</c:v>
                </c:pt>
                <c:pt idx="723">
                  <c:v>76.835777126099714</c:v>
                </c:pt>
                <c:pt idx="724">
                  <c:v>76.928445747800595</c:v>
                </c:pt>
                <c:pt idx="725">
                  <c:v>77.082697947214086</c:v>
                </c:pt>
                <c:pt idx="726">
                  <c:v>76.964809384164241</c:v>
                </c:pt>
                <c:pt idx="727">
                  <c:v>76.960117302052794</c:v>
                </c:pt>
                <c:pt idx="728">
                  <c:v>76.977126099706737</c:v>
                </c:pt>
                <c:pt idx="729">
                  <c:v>76.953079178885631</c:v>
                </c:pt>
                <c:pt idx="730">
                  <c:v>77.09032258064515</c:v>
                </c:pt>
                <c:pt idx="731">
                  <c:v>77.003519061583575</c:v>
                </c:pt>
                <c:pt idx="732">
                  <c:v>77.032844574780043</c:v>
                </c:pt>
                <c:pt idx="733">
                  <c:v>77.048680351906143</c:v>
                </c:pt>
                <c:pt idx="734">
                  <c:v>77.097947214076228</c:v>
                </c:pt>
                <c:pt idx="735">
                  <c:v>76.976539589442808</c:v>
                </c:pt>
                <c:pt idx="736">
                  <c:v>77.051612903225816</c:v>
                </c:pt>
                <c:pt idx="737">
                  <c:v>77.087976539589434</c:v>
                </c:pt>
                <c:pt idx="738">
                  <c:v>77.049853372434001</c:v>
                </c:pt>
                <c:pt idx="739">
                  <c:v>77.051612903225788</c:v>
                </c:pt>
                <c:pt idx="740">
                  <c:v>77.015835777126085</c:v>
                </c:pt>
                <c:pt idx="741">
                  <c:v>77.074486803519051</c:v>
                </c:pt>
                <c:pt idx="742">
                  <c:v>76.968328445747787</c:v>
                </c:pt>
                <c:pt idx="743">
                  <c:v>76.912609970674467</c:v>
                </c:pt>
                <c:pt idx="744">
                  <c:v>76.858651026392948</c:v>
                </c:pt>
                <c:pt idx="745">
                  <c:v>76.73958944281523</c:v>
                </c:pt>
                <c:pt idx="746">
                  <c:v>76.865689149560097</c:v>
                </c:pt>
                <c:pt idx="747">
                  <c:v>76.741348973607018</c:v>
                </c:pt>
                <c:pt idx="748">
                  <c:v>76.76187683284455</c:v>
                </c:pt>
                <c:pt idx="749">
                  <c:v>76.717302052785925</c:v>
                </c:pt>
                <c:pt idx="750">
                  <c:v>76.719648093841641</c:v>
                </c:pt>
                <c:pt idx="751">
                  <c:v>76.615835777126108</c:v>
                </c:pt>
                <c:pt idx="752">
                  <c:v>76.568914956011739</c:v>
                </c:pt>
                <c:pt idx="753">
                  <c:v>76.554252199413483</c:v>
                </c:pt>
                <c:pt idx="754">
                  <c:v>76.654545454545456</c:v>
                </c:pt>
                <c:pt idx="755">
                  <c:v>76.441642228739013</c:v>
                </c:pt>
                <c:pt idx="756">
                  <c:v>76.312609970674487</c:v>
                </c:pt>
                <c:pt idx="757">
                  <c:v>76.331378299120246</c:v>
                </c:pt>
                <c:pt idx="758">
                  <c:v>76.353665689149565</c:v>
                </c:pt>
                <c:pt idx="759">
                  <c:v>76.418768328445765</c:v>
                </c:pt>
                <c:pt idx="760">
                  <c:v>76.51495601173022</c:v>
                </c:pt>
                <c:pt idx="761">
                  <c:v>76.434017595307921</c:v>
                </c:pt>
                <c:pt idx="762">
                  <c:v>76.531964809384178</c:v>
                </c:pt>
                <c:pt idx="763">
                  <c:v>76.350146627565991</c:v>
                </c:pt>
                <c:pt idx="764">
                  <c:v>76.377712609970672</c:v>
                </c:pt>
                <c:pt idx="765">
                  <c:v>76.392375366568913</c:v>
                </c:pt>
                <c:pt idx="766">
                  <c:v>76.356011730205282</c:v>
                </c:pt>
                <c:pt idx="767">
                  <c:v>76.297947214076245</c:v>
                </c:pt>
                <c:pt idx="768">
                  <c:v>76.268621700879777</c:v>
                </c:pt>
                <c:pt idx="769">
                  <c:v>76.165982404692087</c:v>
                </c:pt>
                <c:pt idx="770">
                  <c:v>76.2299120234604</c:v>
                </c:pt>
                <c:pt idx="771">
                  <c:v>76.140175953079179</c:v>
                </c:pt>
                <c:pt idx="772">
                  <c:v>76.01290322580644</c:v>
                </c:pt>
                <c:pt idx="773">
                  <c:v>76.123167155425207</c:v>
                </c:pt>
                <c:pt idx="774">
                  <c:v>76.176539589442811</c:v>
                </c:pt>
                <c:pt idx="775">
                  <c:v>76.103225806451618</c:v>
                </c:pt>
                <c:pt idx="776">
                  <c:v>76.123167155425236</c:v>
                </c:pt>
                <c:pt idx="777">
                  <c:v>76.154838709677435</c:v>
                </c:pt>
                <c:pt idx="778">
                  <c:v>76.246920821114387</c:v>
                </c:pt>
                <c:pt idx="779">
                  <c:v>76.286217008797678</c:v>
                </c:pt>
                <c:pt idx="780">
                  <c:v>76.238709677419351</c:v>
                </c:pt>
                <c:pt idx="781">
                  <c:v>76.247507331378316</c:v>
                </c:pt>
                <c:pt idx="782">
                  <c:v>76.319061583577721</c:v>
                </c:pt>
                <c:pt idx="783">
                  <c:v>76.216422287390031</c:v>
                </c:pt>
                <c:pt idx="784">
                  <c:v>76.015249266862185</c:v>
                </c:pt>
                <c:pt idx="785">
                  <c:v>76.075073313783008</c:v>
                </c:pt>
                <c:pt idx="786">
                  <c:v>76.223460410557223</c:v>
                </c:pt>
                <c:pt idx="787">
                  <c:v>76.289149560117323</c:v>
                </c:pt>
                <c:pt idx="788">
                  <c:v>76.265102639296202</c:v>
                </c:pt>
                <c:pt idx="789">
                  <c:v>76.275659824046926</c:v>
                </c:pt>
                <c:pt idx="790">
                  <c:v>76.312023460410558</c:v>
                </c:pt>
                <c:pt idx="791">
                  <c:v>76.247507331378287</c:v>
                </c:pt>
                <c:pt idx="792">
                  <c:v>76.23929618768328</c:v>
                </c:pt>
                <c:pt idx="793">
                  <c:v>76.278592375366586</c:v>
                </c:pt>
                <c:pt idx="794">
                  <c:v>76.292082111436955</c:v>
                </c:pt>
                <c:pt idx="795">
                  <c:v>76.320821114369508</c:v>
                </c:pt>
                <c:pt idx="796">
                  <c:v>76.191202346041052</c:v>
                </c:pt>
                <c:pt idx="797">
                  <c:v>76.204105571847506</c:v>
                </c:pt>
                <c:pt idx="798">
                  <c:v>76.22346041055718</c:v>
                </c:pt>
                <c:pt idx="799">
                  <c:v>76.109677419354824</c:v>
                </c:pt>
                <c:pt idx="800">
                  <c:v>76.240469208211124</c:v>
                </c:pt>
                <c:pt idx="801">
                  <c:v>76.074486803519036</c:v>
                </c:pt>
                <c:pt idx="802">
                  <c:v>76.195894428152471</c:v>
                </c:pt>
                <c:pt idx="803">
                  <c:v>76.194721407624613</c:v>
                </c:pt>
                <c:pt idx="804">
                  <c:v>76.131964809384158</c:v>
                </c:pt>
                <c:pt idx="805">
                  <c:v>76.067448680351916</c:v>
                </c:pt>
                <c:pt idx="806">
                  <c:v>76.15894428152491</c:v>
                </c:pt>
                <c:pt idx="807">
                  <c:v>76.217008797653946</c:v>
                </c:pt>
                <c:pt idx="808">
                  <c:v>76.082111436950115</c:v>
                </c:pt>
                <c:pt idx="809">
                  <c:v>76.029912023460383</c:v>
                </c:pt>
                <c:pt idx="810">
                  <c:v>75.99472140762461</c:v>
                </c:pt>
                <c:pt idx="811">
                  <c:v>76.17829912023457</c:v>
                </c:pt>
                <c:pt idx="812">
                  <c:v>76.157771260997038</c:v>
                </c:pt>
                <c:pt idx="813">
                  <c:v>76.049853372434015</c:v>
                </c:pt>
                <c:pt idx="814">
                  <c:v>76.189442815249251</c:v>
                </c:pt>
                <c:pt idx="815">
                  <c:v>76.191788856304981</c:v>
                </c:pt>
                <c:pt idx="816">
                  <c:v>76.122580645161293</c:v>
                </c:pt>
                <c:pt idx="817">
                  <c:v>75.964809384164226</c:v>
                </c:pt>
                <c:pt idx="818">
                  <c:v>75.849853372434026</c:v>
                </c:pt>
                <c:pt idx="819">
                  <c:v>75.919061583577701</c:v>
                </c:pt>
                <c:pt idx="820">
                  <c:v>76.033431085043986</c:v>
                </c:pt>
                <c:pt idx="821">
                  <c:v>76.01290322580644</c:v>
                </c:pt>
                <c:pt idx="822">
                  <c:v>76.107331378299108</c:v>
                </c:pt>
                <c:pt idx="823">
                  <c:v>76.140175953079151</c:v>
                </c:pt>
                <c:pt idx="824">
                  <c:v>76.028739002932554</c:v>
                </c:pt>
                <c:pt idx="825">
                  <c:v>76.031671554252185</c:v>
                </c:pt>
                <c:pt idx="826">
                  <c:v>76.022873900293263</c:v>
                </c:pt>
                <c:pt idx="827">
                  <c:v>76.147214076246343</c:v>
                </c:pt>
                <c:pt idx="828">
                  <c:v>76.206451612903237</c:v>
                </c:pt>
                <c:pt idx="829">
                  <c:v>76.143108504398811</c:v>
                </c:pt>
                <c:pt idx="830">
                  <c:v>76.180645161290315</c:v>
                </c:pt>
                <c:pt idx="831">
                  <c:v>76.133137829912016</c:v>
                </c:pt>
                <c:pt idx="832">
                  <c:v>76.218768328445719</c:v>
                </c:pt>
                <c:pt idx="833">
                  <c:v>76.050439882697916</c:v>
                </c:pt>
                <c:pt idx="834">
                  <c:v>76.018768328445717</c:v>
                </c:pt>
                <c:pt idx="835">
                  <c:v>76.093255131964796</c:v>
                </c:pt>
                <c:pt idx="836">
                  <c:v>76.000586510263915</c:v>
                </c:pt>
                <c:pt idx="837">
                  <c:v>76.073313782991193</c:v>
                </c:pt>
                <c:pt idx="838">
                  <c:v>75.914956011730197</c:v>
                </c:pt>
                <c:pt idx="839">
                  <c:v>75.961876832844567</c:v>
                </c:pt>
                <c:pt idx="840">
                  <c:v>76.113196480938413</c:v>
                </c:pt>
                <c:pt idx="841">
                  <c:v>76.089736070381221</c:v>
                </c:pt>
                <c:pt idx="842">
                  <c:v>76.049853372434015</c:v>
                </c:pt>
                <c:pt idx="843">
                  <c:v>75.988856304985347</c:v>
                </c:pt>
                <c:pt idx="844">
                  <c:v>76.01173020527861</c:v>
                </c:pt>
                <c:pt idx="845">
                  <c:v>75.902639296187687</c:v>
                </c:pt>
                <c:pt idx="846">
                  <c:v>75.922580645161304</c:v>
                </c:pt>
                <c:pt idx="847">
                  <c:v>75.970674486803517</c:v>
                </c:pt>
                <c:pt idx="848">
                  <c:v>76.109090909090895</c:v>
                </c:pt>
                <c:pt idx="849">
                  <c:v>76.246920821114344</c:v>
                </c:pt>
                <c:pt idx="850">
                  <c:v>76.327859237536643</c:v>
                </c:pt>
                <c:pt idx="851">
                  <c:v>76.333724340175948</c:v>
                </c:pt>
                <c:pt idx="852">
                  <c:v>76.346627565982388</c:v>
                </c:pt>
                <c:pt idx="853">
                  <c:v>76.269794721407621</c:v>
                </c:pt>
                <c:pt idx="854">
                  <c:v>76.320821114369494</c:v>
                </c:pt>
                <c:pt idx="855">
                  <c:v>76.315542521994146</c:v>
                </c:pt>
                <c:pt idx="856">
                  <c:v>76.482697947214078</c:v>
                </c:pt>
                <c:pt idx="857">
                  <c:v>76.378299120234601</c:v>
                </c:pt>
                <c:pt idx="858">
                  <c:v>76.304398826979465</c:v>
                </c:pt>
                <c:pt idx="859">
                  <c:v>76.381231671554247</c:v>
                </c:pt>
                <c:pt idx="860">
                  <c:v>76.52258064516127</c:v>
                </c:pt>
                <c:pt idx="861">
                  <c:v>76.484457478005851</c:v>
                </c:pt>
                <c:pt idx="862">
                  <c:v>76.550146627565951</c:v>
                </c:pt>
                <c:pt idx="863">
                  <c:v>76.55366568914954</c:v>
                </c:pt>
                <c:pt idx="864">
                  <c:v>76.523753665689142</c:v>
                </c:pt>
                <c:pt idx="865">
                  <c:v>76.712609970674478</c:v>
                </c:pt>
                <c:pt idx="866">
                  <c:v>76.751319648093869</c:v>
                </c:pt>
                <c:pt idx="867">
                  <c:v>76.909090909090907</c:v>
                </c:pt>
                <c:pt idx="868">
                  <c:v>76.923167155425219</c:v>
                </c:pt>
                <c:pt idx="869">
                  <c:v>77.009384164222865</c:v>
                </c:pt>
                <c:pt idx="870">
                  <c:v>77.101466275659803</c:v>
                </c:pt>
                <c:pt idx="871">
                  <c:v>77.049266862170072</c:v>
                </c:pt>
                <c:pt idx="872">
                  <c:v>76.995894428152482</c:v>
                </c:pt>
                <c:pt idx="873">
                  <c:v>76.994721407624624</c:v>
                </c:pt>
                <c:pt idx="874">
                  <c:v>77.038123167155419</c:v>
                </c:pt>
                <c:pt idx="875">
                  <c:v>76.998240469208213</c:v>
                </c:pt>
                <c:pt idx="876">
                  <c:v>76.990615835777135</c:v>
                </c:pt>
                <c:pt idx="877">
                  <c:v>77.025219941348965</c:v>
                </c:pt>
                <c:pt idx="878">
                  <c:v>76.946627565982411</c:v>
                </c:pt>
                <c:pt idx="879">
                  <c:v>76.905571847507332</c:v>
                </c:pt>
                <c:pt idx="880">
                  <c:v>76.953665689149545</c:v>
                </c:pt>
                <c:pt idx="881">
                  <c:v>76.858651026392977</c:v>
                </c:pt>
                <c:pt idx="882">
                  <c:v>76.770674486803529</c:v>
                </c:pt>
                <c:pt idx="883">
                  <c:v>76.723753665689131</c:v>
                </c:pt>
                <c:pt idx="884">
                  <c:v>76.843988269794735</c:v>
                </c:pt>
                <c:pt idx="885">
                  <c:v>76.690322580645173</c:v>
                </c:pt>
                <c:pt idx="886">
                  <c:v>76.844574780058664</c:v>
                </c:pt>
                <c:pt idx="887">
                  <c:v>76.7542521994135</c:v>
                </c:pt>
                <c:pt idx="888">
                  <c:v>76.789442815249274</c:v>
                </c:pt>
                <c:pt idx="889">
                  <c:v>76.892082111436963</c:v>
                </c:pt>
                <c:pt idx="890">
                  <c:v>76.836363636363643</c:v>
                </c:pt>
                <c:pt idx="891">
                  <c:v>76.645161290322562</c:v>
                </c:pt>
                <c:pt idx="892">
                  <c:v>76.714369501466265</c:v>
                </c:pt>
                <c:pt idx="893">
                  <c:v>76.720234604105556</c:v>
                </c:pt>
                <c:pt idx="894">
                  <c:v>76.658064516129016</c:v>
                </c:pt>
                <c:pt idx="895">
                  <c:v>76.714956011730195</c:v>
                </c:pt>
                <c:pt idx="896">
                  <c:v>76.60293255131964</c:v>
                </c:pt>
                <c:pt idx="897">
                  <c:v>76.572434017595299</c:v>
                </c:pt>
                <c:pt idx="898">
                  <c:v>76.601173020527852</c:v>
                </c:pt>
                <c:pt idx="899">
                  <c:v>76.414076246334318</c:v>
                </c:pt>
                <c:pt idx="900">
                  <c:v>76.37888563049853</c:v>
                </c:pt>
                <c:pt idx="901">
                  <c:v>76.337243401759522</c:v>
                </c:pt>
                <c:pt idx="902">
                  <c:v>76.256891495601195</c:v>
                </c:pt>
                <c:pt idx="903">
                  <c:v>76.416422287390034</c:v>
                </c:pt>
                <c:pt idx="904">
                  <c:v>76.357184750733154</c:v>
                </c:pt>
                <c:pt idx="905">
                  <c:v>76.452785923753666</c:v>
                </c:pt>
                <c:pt idx="906">
                  <c:v>76.455131964809397</c:v>
                </c:pt>
                <c:pt idx="907">
                  <c:v>76.399413489736077</c:v>
                </c:pt>
                <c:pt idx="908">
                  <c:v>76.515542521994135</c:v>
                </c:pt>
                <c:pt idx="909">
                  <c:v>76.446920821114361</c:v>
                </c:pt>
                <c:pt idx="910">
                  <c:v>76.433431085043978</c:v>
                </c:pt>
                <c:pt idx="911">
                  <c:v>76.244574780058628</c:v>
                </c:pt>
                <c:pt idx="912">
                  <c:v>76.306158357771238</c:v>
                </c:pt>
                <c:pt idx="913">
                  <c:v>76.405278592375353</c:v>
                </c:pt>
                <c:pt idx="914">
                  <c:v>76.311436950146614</c:v>
                </c:pt>
                <c:pt idx="915">
                  <c:v>76.331964809384147</c:v>
                </c:pt>
                <c:pt idx="916">
                  <c:v>76.389442815249254</c:v>
                </c:pt>
                <c:pt idx="917">
                  <c:v>76.242228739002911</c:v>
                </c:pt>
                <c:pt idx="918">
                  <c:v>76.243988269794698</c:v>
                </c:pt>
                <c:pt idx="919">
                  <c:v>76.165395894428144</c:v>
                </c:pt>
                <c:pt idx="920">
                  <c:v>76.039296187683291</c:v>
                </c:pt>
                <c:pt idx="921">
                  <c:v>75.967155425219943</c:v>
                </c:pt>
                <c:pt idx="922">
                  <c:v>76.143695014662754</c:v>
                </c:pt>
                <c:pt idx="923">
                  <c:v>76.135483870967732</c:v>
                </c:pt>
                <c:pt idx="924">
                  <c:v>76.012316715542511</c:v>
                </c:pt>
                <c:pt idx="925">
                  <c:v>76.113196480938399</c:v>
                </c:pt>
                <c:pt idx="926">
                  <c:v>76.265102639296188</c:v>
                </c:pt>
                <c:pt idx="927">
                  <c:v>76.273900293255153</c:v>
                </c:pt>
                <c:pt idx="928">
                  <c:v>76.30381231671555</c:v>
                </c:pt>
                <c:pt idx="929">
                  <c:v>76.141935483870981</c:v>
                </c:pt>
                <c:pt idx="930">
                  <c:v>76.202346041055705</c:v>
                </c:pt>
                <c:pt idx="931">
                  <c:v>76.264516129032259</c:v>
                </c:pt>
                <c:pt idx="932">
                  <c:v>76.187096774193535</c:v>
                </c:pt>
                <c:pt idx="933">
                  <c:v>76.136656891495591</c:v>
                </c:pt>
                <c:pt idx="934">
                  <c:v>76.022873900293234</c:v>
                </c:pt>
                <c:pt idx="935">
                  <c:v>76.062756598240455</c:v>
                </c:pt>
                <c:pt idx="936">
                  <c:v>75.853958944281516</c:v>
                </c:pt>
                <c:pt idx="937">
                  <c:v>75.876246334310835</c:v>
                </c:pt>
                <c:pt idx="938">
                  <c:v>76.035777126099688</c:v>
                </c:pt>
                <c:pt idx="939">
                  <c:v>75.96011730205278</c:v>
                </c:pt>
                <c:pt idx="940">
                  <c:v>75.99120234604105</c:v>
                </c:pt>
                <c:pt idx="941">
                  <c:v>75.956011730205262</c:v>
                </c:pt>
                <c:pt idx="942">
                  <c:v>76.021114369501447</c:v>
                </c:pt>
                <c:pt idx="943">
                  <c:v>76.055131964809362</c:v>
                </c:pt>
                <c:pt idx="944">
                  <c:v>75.987096774193517</c:v>
                </c:pt>
                <c:pt idx="945">
                  <c:v>76.049853372433986</c:v>
                </c:pt>
                <c:pt idx="946">
                  <c:v>76.058651026392951</c:v>
                </c:pt>
                <c:pt idx="947">
                  <c:v>76.017008797653958</c:v>
                </c:pt>
                <c:pt idx="948">
                  <c:v>76.094428152492668</c:v>
                </c:pt>
                <c:pt idx="949">
                  <c:v>76.144281524926683</c:v>
                </c:pt>
                <c:pt idx="950">
                  <c:v>76.311436950146643</c:v>
                </c:pt>
                <c:pt idx="951">
                  <c:v>76.32903225806453</c:v>
                </c:pt>
                <c:pt idx="952">
                  <c:v>76.415835777126105</c:v>
                </c:pt>
                <c:pt idx="953">
                  <c:v>76.390029325513211</c:v>
                </c:pt>
                <c:pt idx="954">
                  <c:v>76.297360703812345</c:v>
                </c:pt>
                <c:pt idx="955">
                  <c:v>76.444574780058659</c:v>
                </c:pt>
                <c:pt idx="956">
                  <c:v>76.368328445747807</c:v>
                </c:pt>
                <c:pt idx="957">
                  <c:v>76.17067448680352</c:v>
                </c:pt>
                <c:pt idx="958">
                  <c:v>76.228152492668613</c:v>
                </c:pt>
                <c:pt idx="959">
                  <c:v>76.242815249266854</c:v>
                </c:pt>
                <c:pt idx="960">
                  <c:v>76.241055718475067</c:v>
                </c:pt>
                <c:pt idx="961">
                  <c:v>76.375953079178899</c:v>
                </c:pt>
                <c:pt idx="962">
                  <c:v>76.270967741935493</c:v>
                </c:pt>
                <c:pt idx="963">
                  <c:v>76.408211143695027</c:v>
                </c:pt>
                <c:pt idx="964">
                  <c:v>76.527272727272745</c:v>
                </c:pt>
                <c:pt idx="965">
                  <c:v>76.572434017595313</c:v>
                </c:pt>
                <c:pt idx="966">
                  <c:v>76.466862170087978</c:v>
                </c:pt>
                <c:pt idx="967">
                  <c:v>76.460410557184758</c:v>
                </c:pt>
                <c:pt idx="968">
                  <c:v>76.593548387096774</c:v>
                </c:pt>
                <c:pt idx="969">
                  <c:v>76.509090909090915</c:v>
                </c:pt>
                <c:pt idx="970">
                  <c:v>76.554252199413497</c:v>
                </c:pt>
                <c:pt idx="971">
                  <c:v>76.690909090909088</c:v>
                </c:pt>
                <c:pt idx="972">
                  <c:v>76.703812316715542</c:v>
                </c:pt>
                <c:pt idx="973">
                  <c:v>76.679765395894435</c:v>
                </c:pt>
                <c:pt idx="974">
                  <c:v>76.738416422287386</c:v>
                </c:pt>
                <c:pt idx="975">
                  <c:v>76.7049853372434</c:v>
                </c:pt>
                <c:pt idx="976">
                  <c:v>76.662170087976548</c:v>
                </c:pt>
                <c:pt idx="977">
                  <c:v>76.5741935483871</c:v>
                </c:pt>
                <c:pt idx="978">
                  <c:v>76.591788856304987</c:v>
                </c:pt>
                <c:pt idx="979">
                  <c:v>76.675659824046917</c:v>
                </c:pt>
                <c:pt idx="980">
                  <c:v>76.675659824046932</c:v>
                </c:pt>
                <c:pt idx="981">
                  <c:v>76.602932551319654</c:v>
                </c:pt>
                <c:pt idx="982">
                  <c:v>76.562463343108504</c:v>
                </c:pt>
                <c:pt idx="983">
                  <c:v>76.453958944281524</c:v>
                </c:pt>
                <c:pt idx="984">
                  <c:v>76.399413489736062</c:v>
                </c:pt>
                <c:pt idx="985">
                  <c:v>76.460997067448673</c:v>
                </c:pt>
                <c:pt idx="986">
                  <c:v>76.292668621700884</c:v>
                </c:pt>
                <c:pt idx="987">
                  <c:v>76.340762463343097</c:v>
                </c:pt>
                <c:pt idx="988">
                  <c:v>76.517302052785908</c:v>
                </c:pt>
                <c:pt idx="989">
                  <c:v>76.476832844574787</c:v>
                </c:pt>
                <c:pt idx="990">
                  <c:v>76.287976539589451</c:v>
                </c:pt>
                <c:pt idx="991">
                  <c:v>76.493255131964816</c:v>
                </c:pt>
                <c:pt idx="992">
                  <c:v>76.354252199413494</c:v>
                </c:pt>
                <c:pt idx="993">
                  <c:v>76.478592375366588</c:v>
                </c:pt>
                <c:pt idx="994">
                  <c:v>76.458064516129028</c:v>
                </c:pt>
                <c:pt idx="995">
                  <c:v>76.358357771260998</c:v>
                </c:pt>
                <c:pt idx="996">
                  <c:v>76.243401759530784</c:v>
                </c:pt>
                <c:pt idx="997">
                  <c:v>76.300293255131976</c:v>
                </c:pt>
                <c:pt idx="998">
                  <c:v>76.429912023460403</c:v>
                </c:pt>
                <c:pt idx="999">
                  <c:v>76.343695014662771</c:v>
                </c:pt>
                <c:pt idx="1000">
                  <c:v>76.320821114369522</c:v>
                </c:pt>
                <c:pt idx="1001">
                  <c:v>76.221114369501464</c:v>
                </c:pt>
                <c:pt idx="1002">
                  <c:v>76.235190615835762</c:v>
                </c:pt>
                <c:pt idx="1003">
                  <c:v>76.255131964809365</c:v>
                </c:pt>
                <c:pt idx="1004">
                  <c:v>76.192375366568896</c:v>
                </c:pt>
                <c:pt idx="1005">
                  <c:v>76.139589442815236</c:v>
                </c:pt>
                <c:pt idx="1006">
                  <c:v>76.145454545454541</c:v>
                </c:pt>
                <c:pt idx="1007">
                  <c:v>76.179472140762456</c:v>
                </c:pt>
                <c:pt idx="1008">
                  <c:v>76.278005865102656</c:v>
                </c:pt>
                <c:pt idx="1009">
                  <c:v>76.326686217008813</c:v>
                </c:pt>
                <c:pt idx="1010">
                  <c:v>76.234604105571847</c:v>
                </c:pt>
                <c:pt idx="1011">
                  <c:v>76.253958944281536</c:v>
                </c:pt>
                <c:pt idx="1012">
                  <c:v>76.252199413489748</c:v>
                </c:pt>
                <c:pt idx="1013">
                  <c:v>76.435777126099694</c:v>
                </c:pt>
                <c:pt idx="1014">
                  <c:v>76.599413489736065</c:v>
                </c:pt>
                <c:pt idx="1015">
                  <c:v>76.580058651026405</c:v>
                </c:pt>
                <c:pt idx="1016">
                  <c:v>76.634604105571853</c:v>
                </c:pt>
                <c:pt idx="1017">
                  <c:v>76.695601173020535</c:v>
                </c:pt>
                <c:pt idx="1018">
                  <c:v>76.808211143695004</c:v>
                </c:pt>
                <c:pt idx="1019">
                  <c:v>76.638123167155413</c:v>
                </c:pt>
                <c:pt idx="1020">
                  <c:v>76.545454545454533</c:v>
                </c:pt>
                <c:pt idx="1021">
                  <c:v>76.533137829912022</c:v>
                </c:pt>
                <c:pt idx="1022">
                  <c:v>76.490909090909085</c:v>
                </c:pt>
                <c:pt idx="1023">
                  <c:v>76.579472140762462</c:v>
                </c:pt>
                <c:pt idx="1024">
                  <c:v>76.541935483870944</c:v>
                </c:pt>
                <c:pt idx="1025">
                  <c:v>76.545454545454533</c:v>
                </c:pt>
                <c:pt idx="1026">
                  <c:v>76.511436950146617</c:v>
                </c:pt>
                <c:pt idx="1027">
                  <c:v>76.575366568914944</c:v>
                </c:pt>
                <c:pt idx="1028">
                  <c:v>76.539589442815242</c:v>
                </c:pt>
                <c:pt idx="1029">
                  <c:v>76.543695014662745</c:v>
                </c:pt>
                <c:pt idx="1030">
                  <c:v>76.448093841642219</c:v>
                </c:pt>
                <c:pt idx="1031">
                  <c:v>76.434017595307921</c:v>
                </c:pt>
                <c:pt idx="1032">
                  <c:v>76.400586510263921</c:v>
                </c:pt>
                <c:pt idx="1033">
                  <c:v>76.413489736070389</c:v>
                </c:pt>
                <c:pt idx="1034">
                  <c:v>76.350146627565991</c:v>
                </c:pt>
                <c:pt idx="1035">
                  <c:v>76.45102639296185</c:v>
                </c:pt>
                <c:pt idx="1036">
                  <c:v>76.382991202346034</c:v>
                </c:pt>
                <c:pt idx="1037">
                  <c:v>76.36363636363636</c:v>
                </c:pt>
                <c:pt idx="1038">
                  <c:v>76.339589442815253</c:v>
                </c:pt>
                <c:pt idx="1039">
                  <c:v>76.235777126099691</c:v>
                </c:pt>
                <c:pt idx="1040">
                  <c:v>76.224633431085024</c:v>
                </c:pt>
                <c:pt idx="1041">
                  <c:v>76.306744868035196</c:v>
                </c:pt>
                <c:pt idx="1042">
                  <c:v>76.314369501466288</c:v>
                </c:pt>
                <c:pt idx="1043">
                  <c:v>76.411143695014673</c:v>
                </c:pt>
                <c:pt idx="1044">
                  <c:v>76.321407624633437</c:v>
                </c:pt>
                <c:pt idx="1045">
                  <c:v>76.2950146627566</c:v>
                </c:pt>
                <c:pt idx="1046">
                  <c:v>76.433431085043992</c:v>
                </c:pt>
                <c:pt idx="1047">
                  <c:v>76.46568914956012</c:v>
                </c:pt>
                <c:pt idx="1048">
                  <c:v>76.569501466275668</c:v>
                </c:pt>
                <c:pt idx="1049">
                  <c:v>76.516129032258064</c:v>
                </c:pt>
                <c:pt idx="1050">
                  <c:v>76.645161290322577</c:v>
                </c:pt>
                <c:pt idx="1051">
                  <c:v>76.794134897360706</c:v>
                </c:pt>
                <c:pt idx="1052">
                  <c:v>77.022287390029319</c:v>
                </c:pt>
                <c:pt idx="1053">
                  <c:v>76.964222873900283</c:v>
                </c:pt>
                <c:pt idx="1054">
                  <c:v>77.049266862170072</c:v>
                </c:pt>
                <c:pt idx="1055">
                  <c:v>77.182404692082088</c:v>
                </c:pt>
                <c:pt idx="1056">
                  <c:v>77.219941348973592</c:v>
                </c:pt>
                <c:pt idx="1057">
                  <c:v>77.39472140762463</c:v>
                </c:pt>
                <c:pt idx="1058">
                  <c:v>77.44105571847507</c:v>
                </c:pt>
                <c:pt idx="1059">
                  <c:v>77.615249266862151</c:v>
                </c:pt>
                <c:pt idx="1060">
                  <c:v>77.763049853372408</c:v>
                </c:pt>
                <c:pt idx="1061">
                  <c:v>77.996480938416411</c:v>
                </c:pt>
                <c:pt idx="1062">
                  <c:v>78.048093841642213</c:v>
                </c:pt>
                <c:pt idx="1063">
                  <c:v>78.157184750733123</c:v>
                </c:pt>
                <c:pt idx="1064">
                  <c:v>78.137829912023449</c:v>
                </c:pt>
                <c:pt idx="1065">
                  <c:v>78.236950146627549</c:v>
                </c:pt>
                <c:pt idx="1066">
                  <c:v>78.296187683284458</c:v>
                </c:pt>
                <c:pt idx="1067">
                  <c:v>78.417595307917878</c:v>
                </c:pt>
                <c:pt idx="1068">
                  <c:v>78.602932551319626</c:v>
                </c:pt>
                <c:pt idx="1069">
                  <c:v>78.744281524926677</c:v>
                </c:pt>
                <c:pt idx="1070">
                  <c:v>78.770674486803529</c:v>
                </c:pt>
                <c:pt idx="1071">
                  <c:v>78.812316715542536</c:v>
                </c:pt>
                <c:pt idx="1072">
                  <c:v>78.858064516129033</c:v>
                </c:pt>
                <c:pt idx="1073">
                  <c:v>78.931964809384155</c:v>
                </c:pt>
                <c:pt idx="1074">
                  <c:v>78.835190615835756</c:v>
                </c:pt>
                <c:pt idx="1075">
                  <c:v>78.917888563049843</c:v>
                </c:pt>
                <c:pt idx="1076">
                  <c:v>78.907331378299105</c:v>
                </c:pt>
                <c:pt idx="1077">
                  <c:v>78.871554252199402</c:v>
                </c:pt>
                <c:pt idx="1078">
                  <c:v>78.992375366568908</c:v>
                </c:pt>
                <c:pt idx="1079">
                  <c:v>78.937829912023446</c:v>
                </c:pt>
                <c:pt idx="1080">
                  <c:v>78.995307917888567</c:v>
                </c:pt>
                <c:pt idx="1081">
                  <c:v>79.068035190615817</c:v>
                </c:pt>
                <c:pt idx="1082">
                  <c:v>79.077419354838696</c:v>
                </c:pt>
                <c:pt idx="1083">
                  <c:v>78.945454545454538</c:v>
                </c:pt>
                <c:pt idx="1084">
                  <c:v>78.990029325513191</c:v>
                </c:pt>
                <c:pt idx="1085">
                  <c:v>78.861583577712608</c:v>
                </c:pt>
                <c:pt idx="1086">
                  <c:v>78.758357771260975</c:v>
                </c:pt>
                <c:pt idx="1087">
                  <c:v>78.672727272727244</c:v>
                </c:pt>
                <c:pt idx="1088">
                  <c:v>78.520821114369483</c:v>
                </c:pt>
                <c:pt idx="1089">
                  <c:v>78.404692082111424</c:v>
                </c:pt>
                <c:pt idx="1090">
                  <c:v>78.22756598240467</c:v>
                </c:pt>
                <c:pt idx="1091">
                  <c:v>77.985923753665688</c:v>
                </c:pt>
                <c:pt idx="1092">
                  <c:v>77.736656891495585</c:v>
                </c:pt>
                <c:pt idx="1093">
                  <c:v>77.735483870967727</c:v>
                </c:pt>
                <c:pt idx="1094">
                  <c:v>77.647507331378293</c:v>
                </c:pt>
                <c:pt idx="1095">
                  <c:v>77.466862170087978</c:v>
                </c:pt>
                <c:pt idx="1096">
                  <c:v>77.364222873900303</c:v>
                </c:pt>
                <c:pt idx="1097">
                  <c:v>77.199999999999989</c:v>
                </c:pt>
                <c:pt idx="1098">
                  <c:v>77.140762463343094</c:v>
                </c:pt>
                <c:pt idx="1099">
                  <c:v>77.003519061583575</c:v>
                </c:pt>
                <c:pt idx="1100">
                  <c:v>76.827565982404678</c:v>
                </c:pt>
                <c:pt idx="1101">
                  <c:v>76.788856304985316</c:v>
                </c:pt>
                <c:pt idx="1102">
                  <c:v>76.821114369501473</c:v>
                </c:pt>
                <c:pt idx="1103">
                  <c:v>76.6715542521994</c:v>
                </c:pt>
                <c:pt idx="1104">
                  <c:v>76.42815249266863</c:v>
                </c:pt>
                <c:pt idx="1105">
                  <c:v>76.39061583577714</c:v>
                </c:pt>
                <c:pt idx="1106">
                  <c:v>76.314956011730217</c:v>
                </c:pt>
                <c:pt idx="1107">
                  <c:v>76.171847507331378</c:v>
                </c:pt>
                <c:pt idx="1108">
                  <c:v>76.078005865102654</c:v>
                </c:pt>
                <c:pt idx="1109">
                  <c:v>75.920234604105573</c:v>
                </c:pt>
                <c:pt idx="1110">
                  <c:v>75.793548387096791</c:v>
                </c:pt>
                <c:pt idx="1111">
                  <c:v>75.574780058651029</c:v>
                </c:pt>
                <c:pt idx="1112">
                  <c:v>75.393548387096786</c:v>
                </c:pt>
                <c:pt idx="1113">
                  <c:v>75.21759530791789</c:v>
                </c:pt>
                <c:pt idx="1114">
                  <c:v>75.27565982404694</c:v>
                </c:pt>
                <c:pt idx="1115">
                  <c:v>75.334310850439891</c:v>
                </c:pt>
                <c:pt idx="1116">
                  <c:v>75.323167155425239</c:v>
                </c:pt>
                <c:pt idx="1117">
                  <c:v>75.382404692082119</c:v>
                </c:pt>
                <c:pt idx="1118">
                  <c:v>75.312023460410558</c:v>
                </c:pt>
                <c:pt idx="1119">
                  <c:v>75.372434017595296</c:v>
                </c:pt>
                <c:pt idx="1120">
                  <c:v>75.370087976539594</c:v>
                </c:pt>
                <c:pt idx="1121">
                  <c:v>75.544281524926689</c:v>
                </c:pt>
                <c:pt idx="1122">
                  <c:v>75.721994134897344</c:v>
                </c:pt>
                <c:pt idx="1123">
                  <c:v>75.907331378299119</c:v>
                </c:pt>
                <c:pt idx="1124">
                  <c:v>75.872727272727275</c:v>
                </c:pt>
                <c:pt idx="1125">
                  <c:v>75.963636363636368</c:v>
                </c:pt>
                <c:pt idx="1126">
                  <c:v>76.041055718475079</c:v>
                </c:pt>
                <c:pt idx="1127">
                  <c:v>76.07741935483871</c:v>
                </c:pt>
                <c:pt idx="1128">
                  <c:v>76.107917888563051</c:v>
                </c:pt>
                <c:pt idx="1129">
                  <c:v>76.104398826979477</c:v>
                </c:pt>
                <c:pt idx="1130">
                  <c:v>76.151906158357775</c:v>
                </c:pt>
                <c:pt idx="1131">
                  <c:v>76.225806451612911</c:v>
                </c:pt>
                <c:pt idx="1132">
                  <c:v>76.149560117302045</c:v>
                </c:pt>
                <c:pt idx="1133">
                  <c:v>75.954252199413489</c:v>
                </c:pt>
                <c:pt idx="1134">
                  <c:v>76.06217008797654</c:v>
                </c:pt>
                <c:pt idx="1135">
                  <c:v>76.141935483870967</c:v>
                </c:pt>
                <c:pt idx="1136">
                  <c:v>76.19941348973606</c:v>
                </c:pt>
                <c:pt idx="1137">
                  <c:v>76.191788856304981</c:v>
                </c:pt>
                <c:pt idx="1138">
                  <c:v>76.351319648093863</c:v>
                </c:pt>
                <c:pt idx="1139">
                  <c:v>76.306158357771267</c:v>
                </c:pt>
                <c:pt idx="1140">
                  <c:v>76.339589442815267</c:v>
                </c:pt>
                <c:pt idx="1141">
                  <c:v>76.398240469208218</c:v>
                </c:pt>
                <c:pt idx="1142">
                  <c:v>76.492668621700872</c:v>
                </c:pt>
                <c:pt idx="1143">
                  <c:v>76.666862170087967</c:v>
                </c:pt>
                <c:pt idx="1144">
                  <c:v>76.660410557184733</c:v>
                </c:pt>
                <c:pt idx="1145">
                  <c:v>76.595307917888576</c:v>
                </c:pt>
                <c:pt idx="1146">
                  <c:v>76.493255131964816</c:v>
                </c:pt>
                <c:pt idx="1147">
                  <c:v>76.401173020527864</c:v>
                </c:pt>
                <c:pt idx="1148">
                  <c:v>76.222287390029322</c:v>
                </c:pt>
                <c:pt idx="1149">
                  <c:v>76.376539589442828</c:v>
                </c:pt>
                <c:pt idx="1150">
                  <c:v>76.497947214076248</c:v>
                </c:pt>
                <c:pt idx="1151">
                  <c:v>76.497360703812319</c:v>
                </c:pt>
                <c:pt idx="1152">
                  <c:v>76.384750733137821</c:v>
                </c:pt>
                <c:pt idx="1153">
                  <c:v>76.177126099706726</c:v>
                </c:pt>
                <c:pt idx="1154">
                  <c:v>76</c:v>
                </c:pt>
                <c:pt idx="1155">
                  <c:v>76.072140762463334</c:v>
                </c:pt>
                <c:pt idx="1156">
                  <c:v>76.121407624633406</c:v>
                </c:pt>
                <c:pt idx="1157">
                  <c:v>76.054545454545433</c:v>
                </c:pt>
                <c:pt idx="1158">
                  <c:v>76.173020527859208</c:v>
                </c:pt>
                <c:pt idx="1159">
                  <c:v>76.194134897360669</c:v>
                </c:pt>
                <c:pt idx="1160">
                  <c:v>76.218181818181804</c:v>
                </c:pt>
                <c:pt idx="1161">
                  <c:v>76.295601173020529</c:v>
                </c:pt>
                <c:pt idx="1162">
                  <c:v>76.198240469208216</c:v>
                </c:pt>
                <c:pt idx="1163">
                  <c:v>76.373020527859268</c:v>
                </c:pt>
                <c:pt idx="1164">
                  <c:v>76.533724340175965</c:v>
                </c:pt>
                <c:pt idx="1165">
                  <c:v>76.417008797653978</c:v>
                </c:pt>
                <c:pt idx="1166">
                  <c:v>76.487976539589454</c:v>
                </c:pt>
                <c:pt idx="1167">
                  <c:v>76.435190615835779</c:v>
                </c:pt>
                <c:pt idx="1168">
                  <c:v>76.30029325513199</c:v>
                </c:pt>
                <c:pt idx="1169">
                  <c:v>76.168328445747804</c:v>
                </c:pt>
                <c:pt idx="1170">
                  <c:v>76.333724340175962</c:v>
                </c:pt>
                <c:pt idx="1171">
                  <c:v>76.365395894428161</c:v>
                </c:pt>
                <c:pt idx="1172">
                  <c:v>76.373020527859254</c:v>
                </c:pt>
                <c:pt idx="1173">
                  <c:v>76.2950146627566</c:v>
                </c:pt>
                <c:pt idx="1174">
                  <c:v>76.263343108504415</c:v>
                </c:pt>
                <c:pt idx="1175">
                  <c:v>76.432258064516134</c:v>
                </c:pt>
                <c:pt idx="1176">
                  <c:v>76.443401759530801</c:v>
                </c:pt>
                <c:pt idx="1177">
                  <c:v>76.354838709677423</c:v>
                </c:pt>
                <c:pt idx="1178">
                  <c:v>76.52785923753666</c:v>
                </c:pt>
                <c:pt idx="1179">
                  <c:v>76.51847507331378</c:v>
                </c:pt>
                <c:pt idx="1180">
                  <c:v>76.519648093841639</c:v>
                </c:pt>
                <c:pt idx="1181">
                  <c:v>76.405278592375382</c:v>
                </c:pt>
                <c:pt idx="1182">
                  <c:v>76.513196480938404</c:v>
                </c:pt>
                <c:pt idx="1183">
                  <c:v>76.438123167155425</c:v>
                </c:pt>
                <c:pt idx="1184">
                  <c:v>76.614662756598221</c:v>
                </c:pt>
                <c:pt idx="1185">
                  <c:v>76.634604105571839</c:v>
                </c:pt>
                <c:pt idx="1186">
                  <c:v>76.49677419354839</c:v>
                </c:pt>
                <c:pt idx="1187">
                  <c:v>76.510263929618787</c:v>
                </c:pt>
                <c:pt idx="1188">
                  <c:v>76.514369501466291</c:v>
                </c:pt>
                <c:pt idx="1189">
                  <c:v>76.443988269794744</c:v>
                </c:pt>
                <c:pt idx="1190">
                  <c:v>76.549560117302079</c:v>
                </c:pt>
                <c:pt idx="1191">
                  <c:v>76.466862170088007</c:v>
                </c:pt>
                <c:pt idx="1192">
                  <c:v>76.470381231671581</c:v>
                </c:pt>
                <c:pt idx="1193">
                  <c:v>76.604692082111455</c:v>
                </c:pt>
                <c:pt idx="1194">
                  <c:v>76.524340175953085</c:v>
                </c:pt>
                <c:pt idx="1195">
                  <c:v>76.49970674486805</c:v>
                </c:pt>
                <c:pt idx="1196">
                  <c:v>76.663929618768321</c:v>
                </c:pt>
                <c:pt idx="1197">
                  <c:v>76.492082111436972</c:v>
                </c:pt>
                <c:pt idx="1198">
                  <c:v>76.497360703812333</c:v>
                </c:pt>
                <c:pt idx="1199">
                  <c:v>76.663929618768336</c:v>
                </c:pt>
                <c:pt idx="1200">
                  <c:v>76.775366568914961</c:v>
                </c:pt>
                <c:pt idx="1201">
                  <c:v>76.713782991202336</c:v>
                </c:pt>
                <c:pt idx="1202">
                  <c:v>76.581231671554249</c:v>
                </c:pt>
                <c:pt idx="1203">
                  <c:v>76.59999999999998</c:v>
                </c:pt>
                <c:pt idx="1204">
                  <c:v>76.575366568914959</c:v>
                </c:pt>
                <c:pt idx="1205">
                  <c:v>76.601759530791782</c:v>
                </c:pt>
                <c:pt idx="1206">
                  <c:v>76.594721407624618</c:v>
                </c:pt>
                <c:pt idx="1207">
                  <c:v>76.509090909090901</c:v>
                </c:pt>
                <c:pt idx="1208">
                  <c:v>76.606451612903214</c:v>
                </c:pt>
                <c:pt idx="1209">
                  <c:v>76.443988269794716</c:v>
                </c:pt>
                <c:pt idx="1210">
                  <c:v>76.608797653958931</c:v>
                </c:pt>
                <c:pt idx="1211">
                  <c:v>76.564222873900306</c:v>
                </c:pt>
                <c:pt idx="1212">
                  <c:v>76.636950146627569</c:v>
                </c:pt>
                <c:pt idx="1213">
                  <c:v>76.599999999999994</c:v>
                </c:pt>
                <c:pt idx="1214">
                  <c:v>76.645747800586491</c:v>
                </c:pt>
                <c:pt idx="1215">
                  <c:v>76.564809384164207</c:v>
                </c:pt>
                <c:pt idx="1216">
                  <c:v>76.547800586510249</c:v>
                </c:pt>
                <c:pt idx="1217">
                  <c:v>76.614662756598236</c:v>
                </c:pt>
                <c:pt idx="1218">
                  <c:v>76.427565982404701</c:v>
                </c:pt>
                <c:pt idx="1219">
                  <c:v>76.566568914956008</c:v>
                </c:pt>
                <c:pt idx="1220">
                  <c:v>76.551319648093838</c:v>
                </c:pt>
                <c:pt idx="1221">
                  <c:v>76.418181818181807</c:v>
                </c:pt>
                <c:pt idx="1222">
                  <c:v>76.496774193548376</c:v>
                </c:pt>
                <c:pt idx="1223">
                  <c:v>76.372434017595296</c:v>
                </c:pt>
                <c:pt idx="1224">
                  <c:v>76.245161290322557</c:v>
                </c:pt>
                <c:pt idx="1225">
                  <c:v>76.158944281524896</c:v>
                </c:pt>
                <c:pt idx="1226">
                  <c:v>76.197067448680343</c:v>
                </c:pt>
                <c:pt idx="1227">
                  <c:v>76.189442815249251</c:v>
                </c:pt>
                <c:pt idx="1228">
                  <c:v>76.226979472140755</c:v>
                </c:pt>
                <c:pt idx="1229">
                  <c:v>76.238123167155422</c:v>
                </c:pt>
                <c:pt idx="1230">
                  <c:v>76.09677419354837</c:v>
                </c:pt>
                <c:pt idx="1231">
                  <c:v>76.133137829912016</c:v>
                </c:pt>
                <c:pt idx="1232">
                  <c:v>76.079178885630498</c:v>
                </c:pt>
                <c:pt idx="1233">
                  <c:v>76.251612903225819</c:v>
                </c:pt>
                <c:pt idx="1234">
                  <c:v>76.353079178885636</c:v>
                </c:pt>
                <c:pt idx="1235">
                  <c:v>76.622873900293257</c:v>
                </c:pt>
                <c:pt idx="1236">
                  <c:v>76.618181818181796</c:v>
                </c:pt>
                <c:pt idx="1237">
                  <c:v>76.696774193548364</c:v>
                </c:pt>
                <c:pt idx="1238">
                  <c:v>76.921407624633432</c:v>
                </c:pt>
                <c:pt idx="1239">
                  <c:v>76.98826979472139</c:v>
                </c:pt>
                <c:pt idx="1240">
                  <c:v>77.089736070381207</c:v>
                </c:pt>
                <c:pt idx="1241">
                  <c:v>77.04398826979471</c:v>
                </c:pt>
                <c:pt idx="1242">
                  <c:v>77.030498533724327</c:v>
                </c:pt>
                <c:pt idx="1243">
                  <c:v>77.134310850439874</c:v>
                </c:pt>
                <c:pt idx="1244">
                  <c:v>77.234017595307918</c:v>
                </c:pt>
                <c:pt idx="1245">
                  <c:v>77.297947214076245</c:v>
                </c:pt>
                <c:pt idx="1246">
                  <c:v>77.4258064516129</c:v>
                </c:pt>
                <c:pt idx="1247">
                  <c:v>77.512609970674475</c:v>
                </c:pt>
                <c:pt idx="1248">
                  <c:v>77.550733137829894</c:v>
                </c:pt>
                <c:pt idx="1249">
                  <c:v>77.807038123167146</c:v>
                </c:pt>
                <c:pt idx="1250">
                  <c:v>77.787096774193529</c:v>
                </c:pt>
                <c:pt idx="1251">
                  <c:v>77.90674486803519</c:v>
                </c:pt>
                <c:pt idx="1252">
                  <c:v>78.147214076246328</c:v>
                </c:pt>
                <c:pt idx="1253">
                  <c:v>78.088563049853377</c:v>
                </c:pt>
                <c:pt idx="1254">
                  <c:v>78.204105571847506</c:v>
                </c:pt>
                <c:pt idx="1255">
                  <c:v>78.350733137829906</c:v>
                </c:pt>
                <c:pt idx="1256">
                  <c:v>78.460410557184744</c:v>
                </c:pt>
                <c:pt idx="1257">
                  <c:v>78.502639296187667</c:v>
                </c:pt>
                <c:pt idx="1258">
                  <c:v>78.56539589442815</c:v>
                </c:pt>
                <c:pt idx="1259">
                  <c:v>78.762463343108507</c:v>
                </c:pt>
                <c:pt idx="1260">
                  <c:v>78.848680351906168</c:v>
                </c:pt>
                <c:pt idx="1261">
                  <c:v>79.07096774193549</c:v>
                </c:pt>
                <c:pt idx="1262">
                  <c:v>79.116129032258044</c:v>
                </c:pt>
                <c:pt idx="1263">
                  <c:v>79.232258064516131</c:v>
                </c:pt>
                <c:pt idx="1264">
                  <c:v>79.258064516129039</c:v>
                </c:pt>
                <c:pt idx="1265">
                  <c:v>79.170087976539591</c:v>
                </c:pt>
                <c:pt idx="1266">
                  <c:v>79.189442815249265</c:v>
                </c:pt>
                <c:pt idx="1267">
                  <c:v>79.262756598240486</c:v>
                </c:pt>
                <c:pt idx="1268">
                  <c:v>79.207038123167166</c:v>
                </c:pt>
                <c:pt idx="1269">
                  <c:v>79.231085043988273</c:v>
                </c:pt>
                <c:pt idx="1270">
                  <c:v>79.195307917888556</c:v>
                </c:pt>
                <c:pt idx="1271">
                  <c:v>79.268621700879777</c:v>
                </c:pt>
                <c:pt idx="1272">
                  <c:v>79.361290322580643</c:v>
                </c:pt>
                <c:pt idx="1273">
                  <c:v>79.455131964809382</c:v>
                </c:pt>
                <c:pt idx="1274">
                  <c:v>79.448680351906148</c:v>
                </c:pt>
                <c:pt idx="1275">
                  <c:v>79.38181818181819</c:v>
                </c:pt>
                <c:pt idx="1276">
                  <c:v>79.238709677419337</c:v>
                </c:pt>
                <c:pt idx="1277">
                  <c:v>79.048093841642213</c:v>
                </c:pt>
                <c:pt idx="1278">
                  <c:v>78.969501466275645</c:v>
                </c:pt>
                <c:pt idx="1279">
                  <c:v>78.862170087976523</c:v>
                </c:pt>
                <c:pt idx="1280">
                  <c:v>78.737829912023443</c:v>
                </c:pt>
                <c:pt idx="1281">
                  <c:v>78.595307917888547</c:v>
                </c:pt>
                <c:pt idx="1282">
                  <c:v>78.442815249266857</c:v>
                </c:pt>
                <c:pt idx="1283">
                  <c:v>78.371260997067466</c:v>
                </c:pt>
                <c:pt idx="1284">
                  <c:v>78.342521994134913</c:v>
                </c:pt>
                <c:pt idx="1285">
                  <c:v>78.282697947214089</c:v>
                </c:pt>
                <c:pt idx="1286">
                  <c:v>78.251026392961862</c:v>
                </c:pt>
                <c:pt idx="1287">
                  <c:v>78.165982404692073</c:v>
                </c:pt>
                <c:pt idx="1288">
                  <c:v>78.050439882697944</c:v>
                </c:pt>
                <c:pt idx="1289">
                  <c:v>77.966568914956028</c:v>
                </c:pt>
                <c:pt idx="1290">
                  <c:v>77.925513196480949</c:v>
                </c:pt>
                <c:pt idx="1291">
                  <c:v>77.867448680351913</c:v>
                </c:pt>
                <c:pt idx="1292">
                  <c:v>77.744281524926677</c:v>
                </c:pt>
                <c:pt idx="1293">
                  <c:v>77.55601173020527</c:v>
                </c:pt>
                <c:pt idx="1294">
                  <c:v>77.471554252199411</c:v>
                </c:pt>
                <c:pt idx="1295">
                  <c:v>77.383577712609963</c:v>
                </c:pt>
                <c:pt idx="1296">
                  <c:v>77.263929618768302</c:v>
                </c:pt>
                <c:pt idx="1297">
                  <c:v>76.992961876832837</c:v>
                </c:pt>
                <c:pt idx="1298">
                  <c:v>76.889736070381232</c:v>
                </c:pt>
                <c:pt idx="1299">
                  <c:v>76.680938416422279</c:v>
                </c:pt>
                <c:pt idx="1300">
                  <c:v>76.432258064516134</c:v>
                </c:pt>
                <c:pt idx="1301">
                  <c:v>76.281524926686217</c:v>
                </c:pt>
                <c:pt idx="1302">
                  <c:v>76.294428152492671</c:v>
                </c:pt>
                <c:pt idx="1303">
                  <c:v>76.148973607038116</c:v>
                </c:pt>
                <c:pt idx="1304">
                  <c:v>75.943108504398822</c:v>
                </c:pt>
                <c:pt idx="1305">
                  <c:v>75.797653958944281</c:v>
                </c:pt>
                <c:pt idx="1306">
                  <c:v>75.87859237536658</c:v>
                </c:pt>
                <c:pt idx="1307">
                  <c:v>76.018768328445759</c:v>
                </c:pt>
                <c:pt idx="1308">
                  <c:v>76.191202346041052</c:v>
                </c:pt>
                <c:pt idx="1309">
                  <c:v>76.305571847507323</c:v>
                </c:pt>
                <c:pt idx="1310">
                  <c:v>76.486217008797666</c:v>
                </c:pt>
                <c:pt idx="1311">
                  <c:v>76.510263929618759</c:v>
                </c:pt>
                <c:pt idx="1312">
                  <c:v>76.575953079178888</c:v>
                </c:pt>
                <c:pt idx="1313">
                  <c:v>76.578885630498533</c:v>
                </c:pt>
                <c:pt idx="1314">
                  <c:v>76.614076246334307</c:v>
                </c:pt>
                <c:pt idx="1315">
                  <c:v>76.683870967741925</c:v>
                </c:pt>
                <c:pt idx="1316">
                  <c:v>76.584164222873909</c:v>
                </c:pt>
                <c:pt idx="1317">
                  <c:v>76.515542521994135</c:v>
                </c:pt>
                <c:pt idx="1318">
                  <c:v>76.629912023460406</c:v>
                </c:pt>
                <c:pt idx="1319">
                  <c:v>76.712023460410563</c:v>
                </c:pt>
                <c:pt idx="1320">
                  <c:v>76.578885630498547</c:v>
                </c:pt>
                <c:pt idx="1321">
                  <c:v>76.457478005865113</c:v>
                </c:pt>
                <c:pt idx="1322">
                  <c:v>76.469208211143695</c:v>
                </c:pt>
                <c:pt idx="1323">
                  <c:v>76.35073313782992</c:v>
                </c:pt>
                <c:pt idx="1324">
                  <c:v>76.462756598240475</c:v>
                </c:pt>
                <c:pt idx="1325">
                  <c:v>76.451026392961879</c:v>
                </c:pt>
                <c:pt idx="1326">
                  <c:v>76.348973607038133</c:v>
                </c:pt>
                <c:pt idx="1327">
                  <c:v>76.469794721407638</c:v>
                </c:pt>
                <c:pt idx="1328">
                  <c:v>76.49032258064517</c:v>
                </c:pt>
                <c:pt idx="1329">
                  <c:v>76.539002932551313</c:v>
                </c:pt>
                <c:pt idx="1330">
                  <c:v>76.761876832844592</c:v>
                </c:pt>
                <c:pt idx="1331">
                  <c:v>76.761290322580649</c:v>
                </c:pt>
                <c:pt idx="1332">
                  <c:v>76.846334310850438</c:v>
                </c:pt>
                <c:pt idx="1333">
                  <c:v>76.861583577712608</c:v>
                </c:pt>
                <c:pt idx="1334">
                  <c:v>76.898533724340169</c:v>
                </c:pt>
                <c:pt idx="1335">
                  <c:v>76.950146627565957</c:v>
                </c:pt>
                <c:pt idx="1336">
                  <c:v>76.99706744868034</c:v>
                </c:pt>
                <c:pt idx="1337">
                  <c:v>76.886803519061573</c:v>
                </c:pt>
                <c:pt idx="1338">
                  <c:v>76.902639296187672</c:v>
                </c:pt>
                <c:pt idx="1339">
                  <c:v>76.692668621700861</c:v>
                </c:pt>
                <c:pt idx="1340">
                  <c:v>76.730791788856294</c:v>
                </c:pt>
                <c:pt idx="1341">
                  <c:v>76.529032258064504</c:v>
                </c:pt>
                <c:pt idx="1342">
                  <c:v>76.587683284457469</c:v>
                </c:pt>
                <c:pt idx="1343">
                  <c:v>76.536070381231667</c:v>
                </c:pt>
                <c:pt idx="1344">
                  <c:v>76.68035190615835</c:v>
                </c:pt>
                <c:pt idx="1345">
                  <c:v>76.60293255131964</c:v>
                </c:pt>
                <c:pt idx="1346">
                  <c:v>76.524340175953071</c:v>
                </c:pt>
                <c:pt idx="1347">
                  <c:v>76.637536656891513</c:v>
                </c:pt>
                <c:pt idx="1348">
                  <c:v>76.60175953079181</c:v>
                </c:pt>
                <c:pt idx="1349">
                  <c:v>76.504398826979511</c:v>
                </c:pt>
                <c:pt idx="1350">
                  <c:v>76.366568914956034</c:v>
                </c:pt>
                <c:pt idx="1351">
                  <c:v>76.472140762463354</c:v>
                </c:pt>
                <c:pt idx="1352">
                  <c:v>76.60293255131964</c:v>
                </c:pt>
                <c:pt idx="1353">
                  <c:v>76.487976539589425</c:v>
                </c:pt>
                <c:pt idx="1354">
                  <c:v>76.662170087976534</c:v>
                </c:pt>
                <c:pt idx="1355">
                  <c:v>76.72668621700879</c:v>
                </c:pt>
                <c:pt idx="1356">
                  <c:v>76.779472140762479</c:v>
                </c:pt>
                <c:pt idx="1357">
                  <c:v>76.797067448680366</c:v>
                </c:pt>
                <c:pt idx="1358">
                  <c:v>76.849266862170097</c:v>
                </c:pt>
                <c:pt idx="1359">
                  <c:v>76.965982404692085</c:v>
                </c:pt>
                <c:pt idx="1360">
                  <c:v>76.808797653958948</c:v>
                </c:pt>
                <c:pt idx="1361">
                  <c:v>76.79824046920821</c:v>
                </c:pt>
                <c:pt idx="1362">
                  <c:v>76.923753665689148</c:v>
                </c:pt>
                <c:pt idx="1363">
                  <c:v>77.007624633431078</c:v>
                </c:pt>
                <c:pt idx="1364">
                  <c:v>76.920234604105588</c:v>
                </c:pt>
                <c:pt idx="1365">
                  <c:v>77.004105571847518</c:v>
                </c:pt>
                <c:pt idx="1366">
                  <c:v>77.125513196480938</c:v>
                </c:pt>
                <c:pt idx="1367">
                  <c:v>77.171847507331378</c:v>
                </c:pt>
                <c:pt idx="1368">
                  <c:v>77.134897360703818</c:v>
                </c:pt>
                <c:pt idx="1369">
                  <c:v>77.139002932551321</c:v>
                </c:pt>
                <c:pt idx="1370">
                  <c:v>77.311436950146643</c:v>
                </c:pt>
                <c:pt idx="1371">
                  <c:v>77.141935483870967</c:v>
                </c:pt>
                <c:pt idx="1372">
                  <c:v>77.325513196480955</c:v>
                </c:pt>
                <c:pt idx="1373">
                  <c:v>77.181818181818187</c:v>
                </c:pt>
                <c:pt idx="1374">
                  <c:v>77.259237536656912</c:v>
                </c:pt>
                <c:pt idx="1375">
                  <c:v>77.196480938416414</c:v>
                </c:pt>
                <c:pt idx="1376">
                  <c:v>77.050439882697944</c:v>
                </c:pt>
                <c:pt idx="1377">
                  <c:v>76.994134897360695</c:v>
                </c:pt>
                <c:pt idx="1378">
                  <c:v>76.995894428152482</c:v>
                </c:pt>
                <c:pt idx="1379">
                  <c:v>76.94721407624634</c:v>
                </c:pt>
                <c:pt idx="1380">
                  <c:v>76.909090909090921</c:v>
                </c:pt>
                <c:pt idx="1381">
                  <c:v>76.921994134897361</c:v>
                </c:pt>
                <c:pt idx="1382">
                  <c:v>76.961290322580652</c:v>
                </c:pt>
                <c:pt idx="1383">
                  <c:v>76.892668621700864</c:v>
                </c:pt>
                <c:pt idx="1384">
                  <c:v>77.069794721407632</c:v>
                </c:pt>
                <c:pt idx="1385">
                  <c:v>76.945454545454552</c:v>
                </c:pt>
                <c:pt idx="1386">
                  <c:v>76.736656891495628</c:v>
                </c:pt>
                <c:pt idx="1387">
                  <c:v>76.761290322580663</c:v>
                </c:pt>
                <c:pt idx="1388">
                  <c:v>76.773020527859245</c:v>
                </c:pt>
                <c:pt idx="1389">
                  <c:v>76.748387096774209</c:v>
                </c:pt>
                <c:pt idx="1390">
                  <c:v>76.790615835777132</c:v>
                </c:pt>
                <c:pt idx="1391">
                  <c:v>76.745454545454535</c:v>
                </c:pt>
                <c:pt idx="1392">
                  <c:v>76.597653958944278</c:v>
                </c:pt>
                <c:pt idx="1393">
                  <c:v>76.5407624633431</c:v>
                </c:pt>
                <c:pt idx="1394">
                  <c:v>76.466862170087978</c:v>
                </c:pt>
                <c:pt idx="1395">
                  <c:v>76.330791788856303</c:v>
                </c:pt>
                <c:pt idx="1396">
                  <c:v>76.262756598240472</c:v>
                </c:pt>
                <c:pt idx="1397">
                  <c:v>76.116129032258073</c:v>
                </c:pt>
                <c:pt idx="1398">
                  <c:v>76.06862170087976</c:v>
                </c:pt>
                <c:pt idx="1399">
                  <c:v>76.21173020527857</c:v>
                </c:pt>
                <c:pt idx="1400">
                  <c:v>76.217008797653932</c:v>
                </c:pt>
                <c:pt idx="1401">
                  <c:v>76.160117302052768</c:v>
                </c:pt>
                <c:pt idx="1402">
                  <c:v>76.189442815249265</c:v>
                </c:pt>
                <c:pt idx="1403">
                  <c:v>76.049853372434015</c:v>
                </c:pt>
                <c:pt idx="1404">
                  <c:v>76.144868035190612</c:v>
                </c:pt>
                <c:pt idx="1405">
                  <c:v>76.112023460410555</c:v>
                </c:pt>
                <c:pt idx="1406">
                  <c:v>75.994721407624638</c:v>
                </c:pt>
                <c:pt idx="1407">
                  <c:v>76.073900293255136</c:v>
                </c:pt>
                <c:pt idx="1408">
                  <c:v>76.230498533724344</c:v>
                </c:pt>
                <c:pt idx="1409">
                  <c:v>76.231085043988273</c:v>
                </c:pt>
                <c:pt idx="1410">
                  <c:v>76.222873900293266</c:v>
                </c:pt>
                <c:pt idx="1411">
                  <c:v>76.257478005865138</c:v>
                </c:pt>
                <c:pt idx="1412">
                  <c:v>76.31319648093843</c:v>
                </c:pt>
                <c:pt idx="1413">
                  <c:v>76.272140762463366</c:v>
                </c:pt>
                <c:pt idx="1414">
                  <c:v>76.205278592375365</c:v>
                </c:pt>
                <c:pt idx="1415">
                  <c:v>76.163636363636371</c:v>
                </c:pt>
                <c:pt idx="1416">
                  <c:v>76.272140762463351</c:v>
                </c:pt>
                <c:pt idx="1417">
                  <c:v>76.476246334310858</c:v>
                </c:pt>
                <c:pt idx="1418">
                  <c:v>76.476832844574773</c:v>
                </c:pt>
                <c:pt idx="1419">
                  <c:v>76.486803519061581</c:v>
                </c:pt>
                <c:pt idx="1420">
                  <c:v>76.339589442815239</c:v>
                </c:pt>
                <c:pt idx="1421">
                  <c:v>76.343108504398828</c:v>
                </c:pt>
                <c:pt idx="1422">
                  <c:v>76.517888563049851</c:v>
                </c:pt>
                <c:pt idx="1423">
                  <c:v>76.55249266862171</c:v>
                </c:pt>
                <c:pt idx="1424">
                  <c:v>76.565982404692079</c:v>
                </c:pt>
                <c:pt idx="1425">
                  <c:v>76.506744868035184</c:v>
                </c:pt>
                <c:pt idx="1426">
                  <c:v>76.531964809384164</c:v>
                </c:pt>
                <c:pt idx="1427">
                  <c:v>76.513782991202319</c:v>
                </c:pt>
                <c:pt idx="1428">
                  <c:v>76.466275659824049</c:v>
                </c:pt>
                <c:pt idx="1429">
                  <c:v>76.467448680351893</c:v>
                </c:pt>
                <c:pt idx="1430">
                  <c:v>76.473313782991212</c:v>
                </c:pt>
                <c:pt idx="1431">
                  <c:v>76.431671554252205</c:v>
                </c:pt>
                <c:pt idx="1432">
                  <c:v>76.504985337243411</c:v>
                </c:pt>
                <c:pt idx="1433">
                  <c:v>76.486803519061596</c:v>
                </c:pt>
                <c:pt idx="1434">
                  <c:v>76.526099706744859</c:v>
                </c:pt>
                <c:pt idx="1435">
                  <c:v>76.535483870967724</c:v>
                </c:pt>
                <c:pt idx="1436">
                  <c:v>76.505571847507326</c:v>
                </c:pt>
                <c:pt idx="1437">
                  <c:v>76.629325513196477</c:v>
                </c:pt>
                <c:pt idx="1438">
                  <c:v>76.706744868035187</c:v>
                </c:pt>
                <c:pt idx="1439">
                  <c:v>76.614076246334321</c:v>
                </c:pt>
                <c:pt idx="1440">
                  <c:v>76.600000000000009</c:v>
                </c:pt>
                <c:pt idx="1441">
                  <c:v>76.764809384164252</c:v>
                </c:pt>
                <c:pt idx="1442">
                  <c:v>76.838123167155445</c:v>
                </c:pt>
                <c:pt idx="1443">
                  <c:v>76.749560117302067</c:v>
                </c:pt>
                <c:pt idx="1444">
                  <c:v>76.634604105571853</c:v>
                </c:pt>
                <c:pt idx="1445">
                  <c:v>76.611143695014661</c:v>
                </c:pt>
                <c:pt idx="1446">
                  <c:v>76.666862170087967</c:v>
                </c:pt>
                <c:pt idx="1447">
                  <c:v>76.581818181818178</c:v>
                </c:pt>
                <c:pt idx="1448">
                  <c:v>76.543695014662745</c:v>
                </c:pt>
                <c:pt idx="1449">
                  <c:v>76.48797653958944</c:v>
                </c:pt>
                <c:pt idx="1450">
                  <c:v>76.386510263929623</c:v>
                </c:pt>
                <c:pt idx="1451">
                  <c:v>76.498533724340177</c:v>
                </c:pt>
                <c:pt idx="1452">
                  <c:v>76.391202346041041</c:v>
                </c:pt>
                <c:pt idx="1453">
                  <c:v>76.262756598240472</c:v>
                </c:pt>
                <c:pt idx="1454">
                  <c:v>76.316129032258061</c:v>
                </c:pt>
                <c:pt idx="1455">
                  <c:v>76.335483870967735</c:v>
                </c:pt>
                <c:pt idx="1456">
                  <c:v>76.387096774193537</c:v>
                </c:pt>
                <c:pt idx="1457">
                  <c:v>76.371847507331367</c:v>
                </c:pt>
                <c:pt idx="1458">
                  <c:v>76.41642228739002</c:v>
                </c:pt>
                <c:pt idx="1459">
                  <c:v>76.581231671554249</c:v>
                </c:pt>
                <c:pt idx="1460">
                  <c:v>76.509090909090915</c:v>
                </c:pt>
                <c:pt idx="1461">
                  <c:v>76.354252199413509</c:v>
                </c:pt>
                <c:pt idx="1462">
                  <c:v>76.307917888563068</c:v>
                </c:pt>
                <c:pt idx="1463">
                  <c:v>76.316129032258075</c:v>
                </c:pt>
                <c:pt idx="1464">
                  <c:v>76.462170087976546</c:v>
                </c:pt>
                <c:pt idx="1465">
                  <c:v>76.387683284457481</c:v>
                </c:pt>
                <c:pt idx="1466">
                  <c:v>76.358357771261012</c:v>
                </c:pt>
                <c:pt idx="1467">
                  <c:v>76.327272727272742</c:v>
                </c:pt>
                <c:pt idx="1468">
                  <c:v>76.205278592375365</c:v>
                </c:pt>
                <c:pt idx="1469">
                  <c:v>76.106158357771264</c:v>
                </c:pt>
                <c:pt idx="1470">
                  <c:v>76.166568914956017</c:v>
                </c:pt>
                <c:pt idx="1471">
                  <c:v>76.146627565982413</c:v>
                </c:pt>
                <c:pt idx="1472">
                  <c:v>76.067448680351916</c:v>
                </c:pt>
                <c:pt idx="1473">
                  <c:v>75.982404692082127</c:v>
                </c:pt>
                <c:pt idx="1474">
                  <c:v>76.13607038123169</c:v>
                </c:pt>
                <c:pt idx="1475">
                  <c:v>76.204105571847506</c:v>
                </c:pt>
                <c:pt idx="1476">
                  <c:v>76.21466275659823</c:v>
                </c:pt>
                <c:pt idx="1477">
                  <c:v>75.990029325513191</c:v>
                </c:pt>
                <c:pt idx="1478">
                  <c:v>75.954252199413489</c:v>
                </c:pt>
                <c:pt idx="1479">
                  <c:v>75.919648093841644</c:v>
                </c:pt>
                <c:pt idx="1480">
                  <c:v>75.906158357771261</c:v>
                </c:pt>
                <c:pt idx="1481">
                  <c:v>76.113782991202342</c:v>
                </c:pt>
                <c:pt idx="1482">
                  <c:v>76</c:v>
                </c:pt>
                <c:pt idx="1483">
                  <c:v>76.004692082111433</c:v>
                </c:pt>
                <c:pt idx="1484">
                  <c:v>76.171260997067449</c:v>
                </c:pt>
                <c:pt idx="1485">
                  <c:v>76.013489736070369</c:v>
                </c:pt>
                <c:pt idx="1486">
                  <c:v>75.984750733137815</c:v>
                </c:pt>
                <c:pt idx="1487">
                  <c:v>76.076246334310838</c:v>
                </c:pt>
                <c:pt idx="1488">
                  <c:v>76.171260997067435</c:v>
                </c:pt>
                <c:pt idx="1489">
                  <c:v>76.199999999999989</c:v>
                </c:pt>
                <c:pt idx="1490">
                  <c:v>76.074486803519051</c:v>
                </c:pt>
                <c:pt idx="1491">
                  <c:v>76.182991202346031</c:v>
                </c:pt>
                <c:pt idx="1492">
                  <c:v>76.289149560117295</c:v>
                </c:pt>
                <c:pt idx="1493">
                  <c:v>76.294428152492671</c:v>
                </c:pt>
                <c:pt idx="1494">
                  <c:v>76.252785923753649</c:v>
                </c:pt>
                <c:pt idx="1495">
                  <c:v>76.195894428152471</c:v>
                </c:pt>
                <c:pt idx="1496">
                  <c:v>76.404105571847509</c:v>
                </c:pt>
                <c:pt idx="1497">
                  <c:v>76.268035190615834</c:v>
                </c:pt>
                <c:pt idx="1498">
                  <c:v>76.307331378299111</c:v>
                </c:pt>
                <c:pt idx="1499">
                  <c:v>76.482697947214078</c:v>
                </c:pt>
                <c:pt idx="1500">
                  <c:v>76.458651026392957</c:v>
                </c:pt>
                <c:pt idx="1501">
                  <c:v>76.435777126099694</c:v>
                </c:pt>
                <c:pt idx="1502">
                  <c:v>76.408797653958942</c:v>
                </c:pt>
                <c:pt idx="1503">
                  <c:v>76.448680351906162</c:v>
                </c:pt>
                <c:pt idx="1504">
                  <c:v>76.409384164222871</c:v>
                </c:pt>
                <c:pt idx="1505">
                  <c:v>76.280351906158373</c:v>
                </c:pt>
                <c:pt idx="1506">
                  <c:v>76.2299120234604</c:v>
                </c:pt>
                <c:pt idx="1507">
                  <c:v>76.266862170087975</c:v>
                </c:pt>
                <c:pt idx="1508">
                  <c:v>76.405278592375367</c:v>
                </c:pt>
                <c:pt idx="1509">
                  <c:v>76.383577712609963</c:v>
                </c:pt>
                <c:pt idx="1510">
                  <c:v>76.233431085043975</c:v>
                </c:pt>
                <c:pt idx="1511">
                  <c:v>76.248093841642245</c:v>
                </c:pt>
                <c:pt idx="1512">
                  <c:v>76.116129032258087</c:v>
                </c:pt>
                <c:pt idx="1513">
                  <c:v>76.089149560117335</c:v>
                </c:pt>
                <c:pt idx="1514">
                  <c:v>76.134897360703832</c:v>
                </c:pt>
                <c:pt idx="1515">
                  <c:v>75.999413489736071</c:v>
                </c:pt>
                <c:pt idx="1516">
                  <c:v>76.128445747800583</c:v>
                </c:pt>
                <c:pt idx="1517">
                  <c:v>76.109677419354838</c:v>
                </c:pt>
                <c:pt idx="1518">
                  <c:v>76.038709677419348</c:v>
                </c:pt>
                <c:pt idx="1519">
                  <c:v>76.069208211143689</c:v>
                </c:pt>
                <c:pt idx="1520">
                  <c:v>76.052199413489717</c:v>
                </c:pt>
                <c:pt idx="1521">
                  <c:v>76.09032258064515</c:v>
                </c:pt>
                <c:pt idx="1522">
                  <c:v>75.989442815249262</c:v>
                </c:pt>
                <c:pt idx="1523">
                  <c:v>75.930205278592368</c:v>
                </c:pt>
                <c:pt idx="1524">
                  <c:v>75.897947214076225</c:v>
                </c:pt>
                <c:pt idx="1525">
                  <c:v>75.896774193548382</c:v>
                </c:pt>
                <c:pt idx="1526">
                  <c:v>75.817595307917898</c:v>
                </c:pt>
                <c:pt idx="1527">
                  <c:v>75.796480938416437</c:v>
                </c:pt>
                <c:pt idx="1528">
                  <c:v>75.959530791788865</c:v>
                </c:pt>
                <c:pt idx="1529">
                  <c:v>75.964222873900312</c:v>
                </c:pt>
                <c:pt idx="1530">
                  <c:v>75.868035190615842</c:v>
                </c:pt>
                <c:pt idx="1531">
                  <c:v>76.058651026392965</c:v>
                </c:pt>
                <c:pt idx="1532">
                  <c:v>76.033431085044</c:v>
                </c:pt>
                <c:pt idx="1533">
                  <c:v>76.051612903225816</c:v>
                </c:pt>
                <c:pt idx="1534">
                  <c:v>76.061583577712625</c:v>
                </c:pt>
                <c:pt idx="1535">
                  <c:v>76.080938416422299</c:v>
                </c:pt>
                <c:pt idx="1536">
                  <c:v>76.079178885630512</c:v>
                </c:pt>
                <c:pt idx="1537">
                  <c:v>76.169501466275676</c:v>
                </c:pt>
                <c:pt idx="1538">
                  <c:v>76.286217008797678</c:v>
                </c:pt>
                <c:pt idx="1539">
                  <c:v>76.231671554252202</c:v>
                </c:pt>
                <c:pt idx="1540">
                  <c:v>76.286217008797664</c:v>
                </c:pt>
                <c:pt idx="1541">
                  <c:v>76.363636363636374</c:v>
                </c:pt>
                <c:pt idx="1542">
                  <c:v>76.288563049853366</c:v>
                </c:pt>
                <c:pt idx="1543">
                  <c:v>76.41642228739002</c:v>
                </c:pt>
                <c:pt idx="1544">
                  <c:v>76.616422287390009</c:v>
                </c:pt>
                <c:pt idx="1545">
                  <c:v>76.685630498533712</c:v>
                </c:pt>
                <c:pt idx="1546">
                  <c:v>76.780058651026394</c:v>
                </c:pt>
                <c:pt idx="1547">
                  <c:v>76.824046920821118</c:v>
                </c:pt>
                <c:pt idx="1548">
                  <c:v>76.802932551319657</c:v>
                </c:pt>
                <c:pt idx="1549">
                  <c:v>76.715542521994124</c:v>
                </c:pt>
                <c:pt idx="1550">
                  <c:v>76.688563049853357</c:v>
                </c:pt>
                <c:pt idx="1551">
                  <c:v>76.687390029325513</c:v>
                </c:pt>
                <c:pt idx="1552">
                  <c:v>76.757771260997075</c:v>
                </c:pt>
                <c:pt idx="1553">
                  <c:v>76.849266862170097</c:v>
                </c:pt>
                <c:pt idx="1554">
                  <c:v>76.812903225806465</c:v>
                </c:pt>
                <c:pt idx="1555">
                  <c:v>76.812316715542522</c:v>
                </c:pt>
                <c:pt idx="1556">
                  <c:v>76.734310850439883</c:v>
                </c:pt>
                <c:pt idx="1557">
                  <c:v>76.872140762463346</c:v>
                </c:pt>
                <c:pt idx="1558">
                  <c:v>76.779472140762479</c:v>
                </c:pt>
                <c:pt idx="1559">
                  <c:v>76.797067448680352</c:v>
                </c:pt>
                <c:pt idx="1560">
                  <c:v>76.829325513196494</c:v>
                </c:pt>
                <c:pt idx="1561">
                  <c:v>76.796480938416437</c:v>
                </c:pt>
                <c:pt idx="1562">
                  <c:v>76.778299120234621</c:v>
                </c:pt>
                <c:pt idx="1563">
                  <c:v>76.812903225806451</c:v>
                </c:pt>
                <c:pt idx="1564">
                  <c:v>76.723753665689145</c:v>
                </c:pt>
                <c:pt idx="1565">
                  <c:v>76.636363636363626</c:v>
                </c:pt>
                <c:pt idx="1566">
                  <c:v>76.693841642228733</c:v>
                </c:pt>
                <c:pt idx="1567">
                  <c:v>76.82521994134899</c:v>
                </c:pt>
                <c:pt idx="1568">
                  <c:v>76.718475073313783</c:v>
                </c:pt>
                <c:pt idx="1569">
                  <c:v>76.525513196480944</c:v>
                </c:pt>
                <c:pt idx="1570">
                  <c:v>76.651026392961896</c:v>
                </c:pt>
                <c:pt idx="1571">
                  <c:v>76.588856304985342</c:v>
                </c:pt>
                <c:pt idx="1572">
                  <c:v>76.727272727272734</c:v>
                </c:pt>
                <c:pt idx="1573">
                  <c:v>76.7049853372434</c:v>
                </c:pt>
                <c:pt idx="1574">
                  <c:v>76.643988269794733</c:v>
                </c:pt>
                <c:pt idx="1575">
                  <c:v>76.446920821114389</c:v>
                </c:pt>
                <c:pt idx="1576">
                  <c:v>76.405278592375367</c:v>
                </c:pt>
                <c:pt idx="1577">
                  <c:v>76.290322580645167</c:v>
                </c:pt>
                <c:pt idx="1578">
                  <c:v>76.327272727272728</c:v>
                </c:pt>
                <c:pt idx="1579">
                  <c:v>76.289736070381238</c:v>
                </c:pt>
                <c:pt idx="1580">
                  <c:v>76.260997067448685</c:v>
                </c:pt>
                <c:pt idx="1581">
                  <c:v>76.15249266862169</c:v>
                </c:pt>
                <c:pt idx="1582">
                  <c:v>76.197653958944272</c:v>
                </c:pt>
                <c:pt idx="1583">
                  <c:v>76.1964809384164</c:v>
                </c:pt>
                <c:pt idx="1584">
                  <c:v>76.008211143694993</c:v>
                </c:pt>
                <c:pt idx="1585">
                  <c:v>75.967741935483872</c:v>
                </c:pt>
                <c:pt idx="1586">
                  <c:v>75.97829912023461</c:v>
                </c:pt>
                <c:pt idx="1587">
                  <c:v>75.938416422287375</c:v>
                </c:pt>
                <c:pt idx="1588">
                  <c:v>75.967741935483858</c:v>
                </c:pt>
                <c:pt idx="1589">
                  <c:v>76.075073313782966</c:v>
                </c:pt>
                <c:pt idx="1590">
                  <c:v>76.105571847507292</c:v>
                </c:pt>
                <c:pt idx="1591">
                  <c:v>76.110263929618739</c:v>
                </c:pt>
                <c:pt idx="1592">
                  <c:v>76.134310850439874</c:v>
                </c:pt>
                <c:pt idx="1593">
                  <c:v>75.992961876832851</c:v>
                </c:pt>
                <c:pt idx="1594">
                  <c:v>76.068621700879774</c:v>
                </c:pt>
                <c:pt idx="1595">
                  <c:v>76.024633431085064</c:v>
                </c:pt>
                <c:pt idx="1596">
                  <c:v>76.062170087976554</c:v>
                </c:pt>
                <c:pt idx="1597">
                  <c:v>76.127272727272739</c:v>
                </c:pt>
                <c:pt idx="1598">
                  <c:v>76.12140762463342</c:v>
                </c:pt>
                <c:pt idx="1599">
                  <c:v>76.276832844574784</c:v>
                </c:pt>
                <c:pt idx="1600">
                  <c:v>76.247507331378316</c:v>
                </c:pt>
                <c:pt idx="1601">
                  <c:v>76.182404692082102</c:v>
                </c:pt>
                <c:pt idx="1602">
                  <c:v>76.237536656891493</c:v>
                </c:pt>
                <c:pt idx="1603">
                  <c:v>76.239882697947195</c:v>
                </c:pt>
                <c:pt idx="1604">
                  <c:v>76.238709677419322</c:v>
                </c:pt>
                <c:pt idx="1605">
                  <c:v>76.125513196480924</c:v>
                </c:pt>
                <c:pt idx="1606">
                  <c:v>76.146041055718456</c:v>
                </c:pt>
                <c:pt idx="1607">
                  <c:v>76</c:v>
                </c:pt>
                <c:pt idx="1608">
                  <c:v>76.070381231671547</c:v>
                </c:pt>
                <c:pt idx="1609">
                  <c:v>75.89149560117302</c:v>
                </c:pt>
                <c:pt idx="1610">
                  <c:v>76.053372434017575</c:v>
                </c:pt>
                <c:pt idx="1611">
                  <c:v>76.091495601173023</c:v>
                </c:pt>
                <c:pt idx="1612">
                  <c:v>76.319061583577707</c:v>
                </c:pt>
                <c:pt idx="1613">
                  <c:v>76.153665689149548</c:v>
                </c:pt>
                <c:pt idx="1614">
                  <c:v>76.1806451612903</c:v>
                </c:pt>
                <c:pt idx="1615">
                  <c:v>76.327859237536643</c:v>
                </c:pt>
                <c:pt idx="1616">
                  <c:v>76.412903225806431</c:v>
                </c:pt>
                <c:pt idx="1617">
                  <c:v>76.528445747800561</c:v>
                </c:pt>
                <c:pt idx="1618">
                  <c:v>76.687390029325485</c:v>
                </c:pt>
                <c:pt idx="1619">
                  <c:v>76.694428152492648</c:v>
                </c:pt>
                <c:pt idx="1620">
                  <c:v>76.671554252199385</c:v>
                </c:pt>
                <c:pt idx="1621">
                  <c:v>76.586510263929611</c:v>
                </c:pt>
                <c:pt idx="1622">
                  <c:v>76.68680351906157</c:v>
                </c:pt>
                <c:pt idx="1623">
                  <c:v>76.707917888563045</c:v>
                </c:pt>
                <c:pt idx="1624">
                  <c:v>76.852199413489743</c:v>
                </c:pt>
                <c:pt idx="1625">
                  <c:v>76.730791788856294</c:v>
                </c:pt>
                <c:pt idx="1626">
                  <c:v>76.750733137829926</c:v>
                </c:pt>
                <c:pt idx="1627">
                  <c:v>76.72668621700879</c:v>
                </c:pt>
                <c:pt idx="1628">
                  <c:v>76.649853372434023</c:v>
                </c:pt>
                <c:pt idx="1629">
                  <c:v>76.586510263929625</c:v>
                </c:pt>
                <c:pt idx="1630">
                  <c:v>76.575366568914959</c:v>
                </c:pt>
                <c:pt idx="1631">
                  <c:v>76.748387096774209</c:v>
                </c:pt>
                <c:pt idx="1632">
                  <c:v>76.7700879765396</c:v>
                </c:pt>
                <c:pt idx="1633">
                  <c:v>76.843401759530821</c:v>
                </c:pt>
                <c:pt idx="1634">
                  <c:v>76.835777126099728</c:v>
                </c:pt>
                <c:pt idx="1635">
                  <c:v>76.974193548387106</c:v>
                </c:pt>
                <c:pt idx="1636">
                  <c:v>77.084457478005874</c:v>
                </c:pt>
                <c:pt idx="1637">
                  <c:v>77.115542521994158</c:v>
                </c:pt>
                <c:pt idx="1638">
                  <c:v>77.256304985337266</c:v>
                </c:pt>
                <c:pt idx="1639">
                  <c:v>77.291495601173025</c:v>
                </c:pt>
                <c:pt idx="1640">
                  <c:v>77.348973607038133</c:v>
                </c:pt>
                <c:pt idx="1641">
                  <c:v>77.187096774193549</c:v>
                </c:pt>
                <c:pt idx="1642">
                  <c:v>77.291495601173025</c:v>
                </c:pt>
                <c:pt idx="1643">
                  <c:v>77.084457478005874</c:v>
                </c:pt>
                <c:pt idx="1644">
                  <c:v>77.187683284457492</c:v>
                </c:pt>
                <c:pt idx="1645">
                  <c:v>77.020527859237546</c:v>
                </c:pt>
                <c:pt idx="1646">
                  <c:v>76.945454545454567</c:v>
                </c:pt>
                <c:pt idx="1647">
                  <c:v>76.959530791788865</c:v>
                </c:pt>
                <c:pt idx="1648">
                  <c:v>76.848093841642239</c:v>
                </c:pt>
                <c:pt idx="1649">
                  <c:v>76.854545454545459</c:v>
                </c:pt>
                <c:pt idx="1650">
                  <c:v>76.779472140762479</c:v>
                </c:pt>
                <c:pt idx="1651">
                  <c:v>76.779472140762479</c:v>
                </c:pt>
                <c:pt idx="1652">
                  <c:v>76.738416422287415</c:v>
                </c:pt>
                <c:pt idx="1653">
                  <c:v>76.707917888563045</c:v>
                </c:pt>
                <c:pt idx="1654">
                  <c:v>76.686217008797627</c:v>
                </c:pt>
                <c:pt idx="1655">
                  <c:v>76.69970674486801</c:v>
                </c:pt>
                <c:pt idx="1656">
                  <c:v>76.670967741935456</c:v>
                </c:pt>
                <c:pt idx="1657">
                  <c:v>76.843988269794721</c:v>
                </c:pt>
                <c:pt idx="1658">
                  <c:v>76.809384164222863</c:v>
                </c:pt>
                <c:pt idx="1659">
                  <c:v>76.867448680351913</c:v>
                </c:pt>
                <c:pt idx="1660">
                  <c:v>76.908504398826992</c:v>
                </c:pt>
                <c:pt idx="1661">
                  <c:v>76.919648093841658</c:v>
                </c:pt>
                <c:pt idx="1662">
                  <c:v>76.840469208211175</c:v>
                </c:pt>
                <c:pt idx="1663">
                  <c:v>76.767155425219968</c:v>
                </c:pt>
                <c:pt idx="1664">
                  <c:v>76.741935483870989</c:v>
                </c:pt>
                <c:pt idx="1665">
                  <c:v>76.717302052785925</c:v>
                </c:pt>
                <c:pt idx="1666">
                  <c:v>76.62756598240469</c:v>
                </c:pt>
                <c:pt idx="1667">
                  <c:v>76.507917888563043</c:v>
                </c:pt>
                <c:pt idx="1668">
                  <c:v>76.526099706744859</c:v>
                </c:pt>
                <c:pt idx="1669">
                  <c:v>76.486803519061581</c:v>
                </c:pt>
                <c:pt idx="1670">
                  <c:v>76.407038123167155</c:v>
                </c:pt>
                <c:pt idx="1671">
                  <c:v>76.380058651026403</c:v>
                </c:pt>
                <c:pt idx="1672">
                  <c:v>76.490322580645156</c:v>
                </c:pt>
                <c:pt idx="1673">
                  <c:v>76.343695014662771</c:v>
                </c:pt>
                <c:pt idx="1674">
                  <c:v>76.44105571847507</c:v>
                </c:pt>
                <c:pt idx="1675">
                  <c:v>76.354838709677423</c:v>
                </c:pt>
                <c:pt idx="1676">
                  <c:v>76.494428152492674</c:v>
                </c:pt>
                <c:pt idx="1677">
                  <c:v>76.448093841642233</c:v>
                </c:pt>
                <c:pt idx="1678">
                  <c:v>76.519648093841639</c:v>
                </c:pt>
                <c:pt idx="1679">
                  <c:v>76.612316715542519</c:v>
                </c:pt>
                <c:pt idx="1680">
                  <c:v>76.621114369501456</c:v>
                </c:pt>
                <c:pt idx="1681">
                  <c:v>76.530205278592362</c:v>
                </c:pt>
                <c:pt idx="1682">
                  <c:v>76.500879765395894</c:v>
                </c:pt>
                <c:pt idx="1683">
                  <c:v>76.495014662756603</c:v>
                </c:pt>
                <c:pt idx="1684">
                  <c:v>76.557184750733143</c:v>
                </c:pt>
                <c:pt idx="1685">
                  <c:v>76.659824046920818</c:v>
                </c:pt>
                <c:pt idx="1686">
                  <c:v>76.494428152492674</c:v>
                </c:pt>
                <c:pt idx="1687">
                  <c:v>76.632844574780066</c:v>
                </c:pt>
                <c:pt idx="1688">
                  <c:v>76.445161290322588</c:v>
                </c:pt>
                <c:pt idx="1689">
                  <c:v>76.602932551319654</c:v>
                </c:pt>
                <c:pt idx="1690">
                  <c:v>76.557184750733143</c:v>
                </c:pt>
                <c:pt idx="1691">
                  <c:v>76.494428152492659</c:v>
                </c:pt>
                <c:pt idx="1692">
                  <c:v>76.500879765395894</c:v>
                </c:pt>
                <c:pt idx="1693">
                  <c:v>76.41407624633429</c:v>
                </c:pt>
                <c:pt idx="1694">
                  <c:v>76.356011730205282</c:v>
                </c:pt>
                <c:pt idx="1695">
                  <c:v>76.254545454545436</c:v>
                </c:pt>
                <c:pt idx="1696">
                  <c:v>76.212903225806443</c:v>
                </c:pt>
                <c:pt idx="1697">
                  <c:v>76.176539589442811</c:v>
                </c:pt>
                <c:pt idx="1698">
                  <c:v>76.234017595307918</c:v>
                </c:pt>
                <c:pt idx="1699">
                  <c:v>76.442815249266857</c:v>
                </c:pt>
                <c:pt idx="1700">
                  <c:v>76.450439882697935</c:v>
                </c:pt>
                <c:pt idx="1701">
                  <c:v>76.495601173020532</c:v>
                </c:pt>
                <c:pt idx="1702">
                  <c:v>76.683870967741925</c:v>
                </c:pt>
                <c:pt idx="1703">
                  <c:v>76.784164222873898</c:v>
                </c:pt>
                <c:pt idx="1704">
                  <c:v>76.998240469208199</c:v>
                </c:pt>
                <c:pt idx="1705">
                  <c:v>77.116715542521973</c:v>
                </c:pt>
                <c:pt idx="1706">
                  <c:v>77.181818181818159</c:v>
                </c:pt>
                <c:pt idx="1707">
                  <c:v>77.295014662756586</c:v>
                </c:pt>
                <c:pt idx="1708">
                  <c:v>77.499706744868021</c:v>
                </c:pt>
                <c:pt idx="1709">
                  <c:v>77.594134897360703</c:v>
                </c:pt>
                <c:pt idx="1710">
                  <c:v>77.556011730205284</c:v>
                </c:pt>
                <c:pt idx="1711">
                  <c:v>77.619354838709683</c:v>
                </c:pt>
                <c:pt idx="1712">
                  <c:v>77.830498533724338</c:v>
                </c:pt>
                <c:pt idx="1713">
                  <c:v>77.919648093841644</c:v>
                </c:pt>
                <c:pt idx="1714">
                  <c:v>77.991788856304993</c:v>
                </c:pt>
                <c:pt idx="1715">
                  <c:v>77.921994134897375</c:v>
                </c:pt>
                <c:pt idx="1716">
                  <c:v>77.866275659824055</c:v>
                </c:pt>
                <c:pt idx="1717">
                  <c:v>78.044574780058653</c:v>
                </c:pt>
                <c:pt idx="1718">
                  <c:v>78.059237536656894</c:v>
                </c:pt>
                <c:pt idx="1719">
                  <c:v>78.242815249266854</c:v>
                </c:pt>
                <c:pt idx="1720">
                  <c:v>78.299120234604118</c:v>
                </c:pt>
                <c:pt idx="1721">
                  <c:v>78.354252199413494</c:v>
                </c:pt>
                <c:pt idx="1722">
                  <c:v>78.546041055718476</c:v>
                </c:pt>
                <c:pt idx="1723">
                  <c:v>78.48797653958944</c:v>
                </c:pt>
                <c:pt idx="1724">
                  <c:v>78.739002932551315</c:v>
                </c:pt>
                <c:pt idx="1725">
                  <c:v>78.91319648093841</c:v>
                </c:pt>
                <c:pt idx="1726">
                  <c:v>79.167741935483861</c:v>
                </c:pt>
                <c:pt idx="1727">
                  <c:v>79.290909090909082</c:v>
                </c:pt>
                <c:pt idx="1728">
                  <c:v>79.473900293255127</c:v>
                </c:pt>
                <c:pt idx="1729">
                  <c:v>79.570674486803512</c:v>
                </c:pt>
                <c:pt idx="1730">
                  <c:v>79.55601173020527</c:v>
                </c:pt>
                <c:pt idx="1731">
                  <c:v>79.572434017595327</c:v>
                </c:pt>
                <c:pt idx="1732">
                  <c:v>79.620527859237555</c:v>
                </c:pt>
                <c:pt idx="1733">
                  <c:v>79.488563049853397</c:v>
                </c:pt>
                <c:pt idx="1734">
                  <c:v>79.475073313783</c:v>
                </c:pt>
                <c:pt idx="1735">
                  <c:v>79.435777126099723</c:v>
                </c:pt>
                <c:pt idx="1736">
                  <c:v>79.446920821114389</c:v>
                </c:pt>
                <c:pt idx="1737">
                  <c:v>79.544281524926703</c:v>
                </c:pt>
                <c:pt idx="1738">
                  <c:v>79.428739002932559</c:v>
                </c:pt>
                <c:pt idx="1739">
                  <c:v>79.325513196480941</c:v>
                </c:pt>
                <c:pt idx="1740">
                  <c:v>79.187683284457478</c:v>
                </c:pt>
                <c:pt idx="1741">
                  <c:v>79.316129032258075</c:v>
                </c:pt>
                <c:pt idx="1742">
                  <c:v>79.153665689149562</c:v>
                </c:pt>
                <c:pt idx="1743">
                  <c:v>78.913196480938424</c:v>
                </c:pt>
                <c:pt idx="1744">
                  <c:v>78.857478005865104</c:v>
                </c:pt>
                <c:pt idx="1745">
                  <c:v>78.890909090909105</c:v>
                </c:pt>
                <c:pt idx="1746">
                  <c:v>78.936070381231687</c:v>
                </c:pt>
                <c:pt idx="1747">
                  <c:v>78.85630498533726</c:v>
                </c:pt>
                <c:pt idx="1748">
                  <c:v>78.82580645161292</c:v>
                </c:pt>
                <c:pt idx="1749">
                  <c:v>78.674486803519059</c:v>
                </c:pt>
                <c:pt idx="1750">
                  <c:v>78.622873900293257</c:v>
                </c:pt>
                <c:pt idx="1751">
                  <c:v>78.584164222873895</c:v>
                </c:pt>
                <c:pt idx="1752">
                  <c:v>78.45689149560117</c:v>
                </c:pt>
                <c:pt idx="1753">
                  <c:v>78.1800586510264</c:v>
                </c:pt>
                <c:pt idx="1754">
                  <c:v>78.091495601173023</c:v>
                </c:pt>
                <c:pt idx="1755">
                  <c:v>77.965982404692085</c:v>
                </c:pt>
                <c:pt idx="1756">
                  <c:v>77.941348973607035</c:v>
                </c:pt>
                <c:pt idx="1757">
                  <c:v>77.793548387096777</c:v>
                </c:pt>
                <c:pt idx="1758">
                  <c:v>77.707917888563045</c:v>
                </c:pt>
                <c:pt idx="1759">
                  <c:v>77.676246334310846</c:v>
                </c:pt>
                <c:pt idx="1760">
                  <c:v>77.50967741935483</c:v>
                </c:pt>
                <c:pt idx="1761">
                  <c:v>77.242228739002925</c:v>
                </c:pt>
                <c:pt idx="1762">
                  <c:v>77.238709677419351</c:v>
                </c:pt>
                <c:pt idx="1763">
                  <c:v>77.109677419354838</c:v>
                </c:pt>
                <c:pt idx="1764">
                  <c:v>77.187096774193563</c:v>
                </c:pt>
                <c:pt idx="1765">
                  <c:v>77.087976539589462</c:v>
                </c:pt>
                <c:pt idx="1766">
                  <c:v>77.022873900293277</c:v>
                </c:pt>
                <c:pt idx="1767">
                  <c:v>76.981231671554269</c:v>
                </c:pt>
                <c:pt idx="1768">
                  <c:v>76.93782991202346</c:v>
                </c:pt>
                <c:pt idx="1769">
                  <c:v>76.805865102639302</c:v>
                </c:pt>
                <c:pt idx="1770">
                  <c:v>76.672727272727258</c:v>
                </c:pt>
                <c:pt idx="1771">
                  <c:v>76.551906158357767</c:v>
                </c:pt>
                <c:pt idx="1772">
                  <c:v>76.347214076246345</c:v>
                </c:pt>
                <c:pt idx="1773">
                  <c:v>76.262170087976557</c:v>
                </c:pt>
                <c:pt idx="1774">
                  <c:v>76.364222873900303</c:v>
                </c:pt>
                <c:pt idx="1775">
                  <c:v>76.314956011730217</c:v>
                </c:pt>
                <c:pt idx="1776">
                  <c:v>76.30439882697948</c:v>
                </c:pt>
                <c:pt idx="1777">
                  <c:v>76.217595307917875</c:v>
                </c:pt>
                <c:pt idx="1778">
                  <c:v>76.300293255131962</c:v>
                </c:pt>
                <c:pt idx="1779">
                  <c:v>76.183577712609974</c:v>
                </c:pt>
                <c:pt idx="1780">
                  <c:v>76.191202346041052</c:v>
                </c:pt>
                <c:pt idx="1781">
                  <c:v>76.10850439882698</c:v>
                </c:pt>
                <c:pt idx="1782">
                  <c:v>75.896187683284481</c:v>
                </c:pt>
                <c:pt idx="1783">
                  <c:v>76.002346041055716</c:v>
                </c:pt>
                <c:pt idx="1784">
                  <c:v>76.054545454545462</c:v>
                </c:pt>
                <c:pt idx="1785">
                  <c:v>76.059237536656894</c:v>
                </c:pt>
                <c:pt idx="1786">
                  <c:v>75.961876832844567</c:v>
                </c:pt>
                <c:pt idx="1787">
                  <c:v>75.864516129032268</c:v>
                </c:pt>
                <c:pt idx="1788">
                  <c:v>75.801173020527855</c:v>
                </c:pt>
                <c:pt idx="1789">
                  <c:v>75.77595307917889</c:v>
                </c:pt>
                <c:pt idx="1790">
                  <c:v>75.598240469208207</c:v>
                </c:pt>
                <c:pt idx="1791">
                  <c:v>75.790029325513217</c:v>
                </c:pt>
                <c:pt idx="1792">
                  <c:v>75.943695014662779</c:v>
                </c:pt>
                <c:pt idx="1793">
                  <c:v>75.975953079178908</c:v>
                </c:pt>
                <c:pt idx="1794">
                  <c:v>76.051612903225816</c:v>
                </c:pt>
                <c:pt idx="1795">
                  <c:v>75.888563049853389</c:v>
                </c:pt>
                <c:pt idx="1796">
                  <c:v>75.889149560117318</c:v>
                </c:pt>
                <c:pt idx="1797">
                  <c:v>75.907917888563048</c:v>
                </c:pt>
                <c:pt idx="1798">
                  <c:v>75.834604105571856</c:v>
                </c:pt>
                <c:pt idx="1799">
                  <c:v>75.687390029325513</c:v>
                </c:pt>
                <c:pt idx="1800">
                  <c:v>75.675073313782988</c:v>
                </c:pt>
                <c:pt idx="1801">
                  <c:v>75.783577712609983</c:v>
                </c:pt>
                <c:pt idx="1802">
                  <c:v>75.805865102639331</c:v>
                </c:pt>
                <c:pt idx="1803">
                  <c:v>75.983577712609986</c:v>
                </c:pt>
                <c:pt idx="1804">
                  <c:v>76.139002932551321</c:v>
                </c:pt>
                <c:pt idx="1805">
                  <c:v>76.160117302052768</c:v>
                </c:pt>
                <c:pt idx="1806">
                  <c:v>76.136656891495576</c:v>
                </c:pt>
                <c:pt idx="1807">
                  <c:v>76.184164222873889</c:v>
                </c:pt>
                <c:pt idx="1808">
                  <c:v>76.146627565982399</c:v>
                </c:pt>
                <c:pt idx="1809">
                  <c:v>76.051026392961887</c:v>
                </c:pt>
                <c:pt idx="1810">
                  <c:v>75.95894428152495</c:v>
                </c:pt>
                <c:pt idx="1811">
                  <c:v>75.939002932551332</c:v>
                </c:pt>
                <c:pt idx="1812">
                  <c:v>75.886803519061601</c:v>
                </c:pt>
                <c:pt idx="1813">
                  <c:v>75.961876832844581</c:v>
                </c:pt>
                <c:pt idx="1814">
                  <c:v>76.008797653958936</c:v>
                </c:pt>
                <c:pt idx="1815">
                  <c:v>76.095014662756583</c:v>
                </c:pt>
                <c:pt idx="1816">
                  <c:v>76.034017595307901</c:v>
                </c:pt>
                <c:pt idx="1817">
                  <c:v>76.089149560117292</c:v>
                </c:pt>
                <c:pt idx="1818">
                  <c:v>76.235190615835776</c:v>
                </c:pt>
                <c:pt idx="1819">
                  <c:v>76.387683284457481</c:v>
                </c:pt>
                <c:pt idx="1820">
                  <c:v>76.309090909090912</c:v>
                </c:pt>
                <c:pt idx="1821">
                  <c:v>76.445747800586503</c:v>
                </c:pt>
                <c:pt idx="1822">
                  <c:v>76.43225806451612</c:v>
                </c:pt>
                <c:pt idx="1823">
                  <c:v>76.377712609970672</c:v>
                </c:pt>
                <c:pt idx="1824">
                  <c:v>76.209384164222882</c:v>
                </c:pt>
                <c:pt idx="1825">
                  <c:v>76.161290322580641</c:v>
                </c:pt>
                <c:pt idx="1826">
                  <c:v>76.203519061583577</c:v>
                </c:pt>
                <c:pt idx="1827">
                  <c:v>76.188856304985336</c:v>
                </c:pt>
                <c:pt idx="1828">
                  <c:v>76.054545454545462</c:v>
                </c:pt>
                <c:pt idx="1829">
                  <c:v>76.118475073313789</c:v>
                </c:pt>
                <c:pt idx="1830">
                  <c:v>76.087976539589462</c:v>
                </c:pt>
                <c:pt idx="1831">
                  <c:v>76.196480938416428</c:v>
                </c:pt>
                <c:pt idx="1832">
                  <c:v>76.09325513196481</c:v>
                </c:pt>
                <c:pt idx="1833">
                  <c:v>76.153665689149562</c:v>
                </c:pt>
                <c:pt idx="1834">
                  <c:v>75.939589442815247</c:v>
                </c:pt>
                <c:pt idx="1835">
                  <c:v>75.794134897360706</c:v>
                </c:pt>
                <c:pt idx="1836">
                  <c:v>75.673900293255116</c:v>
                </c:pt>
                <c:pt idx="1837">
                  <c:v>75.697360703812308</c:v>
                </c:pt>
                <c:pt idx="1838">
                  <c:v>75.480351906158347</c:v>
                </c:pt>
                <c:pt idx="1839">
                  <c:v>75.415249266862162</c:v>
                </c:pt>
                <c:pt idx="1840">
                  <c:v>75.37536656891497</c:v>
                </c:pt>
                <c:pt idx="1841">
                  <c:v>75.479178885630503</c:v>
                </c:pt>
                <c:pt idx="1842">
                  <c:v>75.48739002932551</c:v>
                </c:pt>
                <c:pt idx="1843">
                  <c:v>75.59648093841642</c:v>
                </c:pt>
                <c:pt idx="1844">
                  <c:v>75.613489736070363</c:v>
                </c:pt>
                <c:pt idx="1845">
                  <c:v>75.582991202346037</c:v>
                </c:pt>
                <c:pt idx="1846">
                  <c:v>75.651612903225796</c:v>
                </c:pt>
                <c:pt idx="1847">
                  <c:v>75.818768328445756</c:v>
                </c:pt>
                <c:pt idx="1848">
                  <c:v>75.721994134897344</c:v>
                </c:pt>
                <c:pt idx="1849">
                  <c:v>75.58709677419354</c:v>
                </c:pt>
                <c:pt idx="1850">
                  <c:v>75.562463343108504</c:v>
                </c:pt>
                <c:pt idx="1851">
                  <c:v>75.628152492668619</c:v>
                </c:pt>
                <c:pt idx="1852">
                  <c:v>75.535483870967738</c:v>
                </c:pt>
                <c:pt idx="1853">
                  <c:v>75.399413489736077</c:v>
                </c:pt>
                <c:pt idx="1854">
                  <c:v>75.401759530791793</c:v>
                </c:pt>
                <c:pt idx="1855">
                  <c:v>75.438709677419382</c:v>
                </c:pt>
                <c:pt idx="1856">
                  <c:v>75.358944281524941</c:v>
                </c:pt>
                <c:pt idx="1857">
                  <c:v>75.485043988269808</c:v>
                </c:pt>
                <c:pt idx="1858">
                  <c:v>75.501466275659837</c:v>
                </c:pt>
                <c:pt idx="1859">
                  <c:v>75.667448680351924</c:v>
                </c:pt>
                <c:pt idx="1860">
                  <c:v>75.505571847507355</c:v>
                </c:pt>
                <c:pt idx="1861">
                  <c:v>75.587683284457498</c:v>
                </c:pt>
                <c:pt idx="1862">
                  <c:v>75.644574780058662</c:v>
                </c:pt>
                <c:pt idx="1863">
                  <c:v>75.840469208211161</c:v>
                </c:pt>
                <c:pt idx="1864">
                  <c:v>75.802932551319657</c:v>
                </c:pt>
                <c:pt idx="1865">
                  <c:v>75.882111436950154</c:v>
                </c:pt>
                <c:pt idx="1866">
                  <c:v>75.98064516129034</c:v>
                </c:pt>
                <c:pt idx="1867">
                  <c:v>75.957771260997077</c:v>
                </c:pt>
                <c:pt idx="1868">
                  <c:v>75.99882697947217</c:v>
                </c:pt>
                <c:pt idx="1869">
                  <c:v>76.196480938416428</c:v>
                </c:pt>
                <c:pt idx="1870">
                  <c:v>76.341935483870984</c:v>
                </c:pt>
                <c:pt idx="1871">
                  <c:v>76.475073313783</c:v>
                </c:pt>
                <c:pt idx="1872">
                  <c:v>76.506744868035199</c:v>
                </c:pt>
                <c:pt idx="1873">
                  <c:v>76.661583577712605</c:v>
                </c:pt>
                <c:pt idx="1874">
                  <c:v>76.689736070381215</c:v>
                </c:pt>
                <c:pt idx="1875">
                  <c:v>76.652785923753655</c:v>
                </c:pt>
                <c:pt idx="1876">
                  <c:v>76.683284457477995</c:v>
                </c:pt>
                <c:pt idx="1877">
                  <c:v>76.584750733137824</c:v>
                </c:pt>
                <c:pt idx="1878">
                  <c:v>76.582991202346037</c:v>
                </c:pt>
                <c:pt idx="1879">
                  <c:v>76.691495601173017</c:v>
                </c:pt>
                <c:pt idx="1880">
                  <c:v>76.641642228739002</c:v>
                </c:pt>
                <c:pt idx="1881">
                  <c:v>76.495014662756589</c:v>
                </c:pt>
                <c:pt idx="1882">
                  <c:v>76.416422287390034</c:v>
                </c:pt>
                <c:pt idx="1883">
                  <c:v>76.39706744868036</c:v>
                </c:pt>
                <c:pt idx="1884">
                  <c:v>76.394721407624644</c:v>
                </c:pt>
                <c:pt idx="1885">
                  <c:v>76.400586510263935</c:v>
                </c:pt>
                <c:pt idx="1886">
                  <c:v>76.363049853372445</c:v>
                </c:pt>
                <c:pt idx="1887">
                  <c:v>76.521407624633426</c:v>
                </c:pt>
                <c:pt idx="1888">
                  <c:v>76.52258064516127</c:v>
                </c:pt>
                <c:pt idx="1889">
                  <c:v>76.570674486803512</c:v>
                </c:pt>
                <c:pt idx="1890">
                  <c:v>76.527859237536646</c:v>
                </c:pt>
                <c:pt idx="1891">
                  <c:v>76.678005865102634</c:v>
                </c:pt>
                <c:pt idx="1892">
                  <c:v>76.778299120234607</c:v>
                </c:pt>
                <c:pt idx="1893">
                  <c:v>76.764809384164224</c:v>
                </c:pt>
                <c:pt idx="1894">
                  <c:v>76.758944281524933</c:v>
                </c:pt>
                <c:pt idx="1895">
                  <c:v>76.976539589442808</c:v>
                </c:pt>
                <c:pt idx="1896">
                  <c:v>77.024633431085036</c:v>
                </c:pt>
                <c:pt idx="1897">
                  <c:v>77.029912023460398</c:v>
                </c:pt>
                <c:pt idx="1898">
                  <c:v>77.240469208211138</c:v>
                </c:pt>
                <c:pt idx="1899">
                  <c:v>77.327272727272742</c:v>
                </c:pt>
                <c:pt idx="1900">
                  <c:v>77.330791788856317</c:v>
                </c:pt>
                <c:pt idx="1901">
                  <c:v>77.402932551319637</c:v>
                </c:pt>
                <c:pt idx="1902">
                  <c:v>77.452199413489737</c:v>
                </c:pt>
                <c:pt idx="1903">
                  <c:v>77.497360703812319</c:v>
                </c:pt>
                <c:pt idx="1904">
                  <c:v>77.427565982404673</c:v>
                </c:pt>
                <c:pt idx="1905">
                  <c:v>77.571847507331356</c:v>
                </c:pt>
                <c:pt idx="1906">
                  <c:v>77.692082111436946</c:v>
                </c:pt>
                <c:pt idx="1907">
                  <c:v>77.700293255131953</c:v>
                </c:pt>
                <c:pt idx="1908">
                  <c:v>77.873900293255133</c:v>
                </c:pt>
                <c:pt idx="1909">
                  <c:v>77.913196480938424</c:v>
                </c:pt>
                <c:pt idx="1910">
                  <c:v>78.076832844574781</c:v>
                </c:pt>
                <c:pt idx="1911">
                  <c:v>78.309090909090912</c:v>
                </c:pt>
                <c:pt idx="1912">
                  <c:v>78.540175953079185</c:v>
                </c:pt>
                <c:pt idx="1913">
                  <c:v>78.647507331378293</c:v>
                </c:pt>
                <c:pt idx="1914">
                  <c:v>78.695014662756591</c:v>
                </c:pt>
                <c:pt idx="1915">
                  <c:v>78.827565982404678</c:v>
                </c:pt>
                <c:pt idx="1916">
                  <c:v>79.008797653958922</c:v>
                </c:pt>
                <c:pt idx="1917">
                  <c:v>79.164809384164201</c:v>
                </c:pt>
                <c:pt idx="1918">
                  <c:v>79.278592375366557</c:v>
                </c:pt>
                <c:pt idx="1919">
                  <c:v>79.252199413489706</c:v>
                </c:pt>
                <c:pt idx="1920">
                  <c:v>79.312609970674472</c:v>
                </c:pt>
                <c:pt idx="1921">
                  <c:v>79.46334310850439</c:v>
                </c:pt>
                <c:pt idx="1922">
                  <c:v>79.446920821114361</c:v>
                </c:pt>
                <c:pt idx="1923">
                  <c:v>79.541935483870972</c:v>
                </c:pt>
                <c:pt idx="1924">
                  <c:v>79.493255131964816</c:v>
                </c:pt>
                <c:pt idx="1925">
                  <c:v>79.475659824046929</c:v>
                </c:pt>
                <c:pt idx="1926">
                  <c:v>79.436950146627581</c:v>
                </c:pt>
                <c:pt idx="1927">
                  <c:v>79.550733137829923</c:v>
                </c:pt>
                <c:pt idx="1928">
                  <c:v>79.649853372434038</c:v>
                </c:pt>
                <c:pt idx="1929">
                  <c:v>79.601173020527852</c:v>
                </c:pt>
                <c:pt idx="1930">
                  <c:v>79.439882697947212</c:v>
                </c:pt>
                <c:pt idx="1931">
                  <c:v>79.337243401759537</c:v>
                </c:pt>
                <c:pt idx="1932">
                  <c:v>79.193548387096783</c:v>
                </c:pt>
                <c:pt idx="1933">
                  <c:v>79.193548387096769</c:v>
                </c:pt>
                <c:pt idx="1934">
                  <c:v>79.009384164222894</c:v>
                </c:pt>
                <c:pt idx="1935">
                  <c:v>79.072727272727292</c:v>
                </c:pt>
                <c:pt idx="1936">
                  <c:v>78.892668621700892</c:v>
                </c:pt>
                <c:pt idx="1937">
                  <c:v>78.770087976539585</c:v>
                </c:pt>
                <c:pt idx="1938">
                  <c:v>78.612316715542505</c:v>
                </c:pt>
                <c:pt idx="1939">
                  <c:v>78.411730205278587</c:v>
                </c:pt>
                <c:pt idx="1940">
                  <c:v>78.295014662756586</c:v>
                </c:pt>
                <c:pt idx="1941">
                  <c:v>78.167741935483861</c:v>
                </c:pt>
                <c:pt idx="1942">
                  <c:v>78.110850439882682</c:v>
                </c:pt>
                <c:pt idx="1943">
                  <c:v>77.848093841642211</c:v>
                </c:pt>
                <c:pt idx="1944">
                  <c:v>77.817595307917856</c:v>
                </c:pt>
                <c:pt idx="1945">
                  <c:v>77.845747800586494</c:v>
                </c:pt>
                <c:pt idx="1946">
                  <c:v>77.797067448680338</c:v>
                </c:pt>
                <c:pt idx="1947">
                  <c:v>77.534897360703809</c:v>
                </c:pt>
                <c:pt idx="1948">
                  <c:v>77.387096774193552</c:v>
                </c:pt>
                <c:pt idx="1949">
                  <c:v>77.123753665689151</c:v>
                </c:pt>
                <c:pt idx="1950">
                  <c:v>77.170087976539577</c:v>
                </c:pt>
                <c:pt idx="1951">
                  <c:v>77.056891495601178</c:v>
                </c:pt>
                <c:pt idx="1952">
                  <c:v>76.955425219941347</c:v>
                </c:pt>
                <c:pt idx="1953">
                  <c:v>76.813489736070366</c:v>
                </c:pt>
                <c:pt idx="1954">
                  <c:v>76.57829912023459</c:v>
                </c:pt>
                <c:pt idx="1955">
                  <c:v>76.668035190615811</c:v>
                </c:pt>
                <c:pt idx="1956">
                  <c:v>76.603519061583555</c:v>
                </c:pt>
                <c:pt idx="1957">
                  <c:v>76.585923753665668</c:v>
                </c:pt>
                <c:pt idx="1958">
                  <c:v>76.476246334310844</c:v>
                </c:pt>
                <c:pt idx="1959">
                  <c:v>76.367155425219948</c:v>
                </c:pt>
                <c:pt idx="1960">
                  <c:v>76.396480938416431</c:v>
                </c:pt>
                <c:pt idx="1961">
                  <c:v>76.316715542522005</c:v>
                </c:pt>
                <c:pt idx="1962">
                  <c:v>76.240469208211138</c:v>
                </c:pt>
                <c:pt idx="1963">
                  <c:v>76.262170087976557</c:v>
                </c:pt>
                <c:pt idx="1964">
                  <c:v>76.217008797653961</c:v>
                </c:pt>
                <c:pt idx="1965">
                  <c:v>76.215249266862173</c:v>
                </c:pt>
                <c:pt idx="1966">
                  <c:v>76.209970674486812</c:v>
                </c:pt>
                <c:pt idx="1967">
                  <c:v>76.128445747800598</c:v>
                </c:pt>
                <c:pt idx="1968">
                  <c:v>76.285630498533749</c:v>
                </c:pt>
                <c:pt idx="1969">
                  <c:v>76.358357771260998</c:v>
                </c:pt>
                <c:pt idx="1970">
                  <c:v>76.409384164222871</c:v>
                </c:pt>
                <c:pt idx="1971">
                  <c:v>76.329032258064515</c:v>
                </c:pt>
                <c:pt idx="1972">
                  <c:v>76.225806451612883</c:v>
                </c:pt>
                <c:pt idx="1973">
                  <c:v>76.015835777126085</c:v>
                </c:pt>
                <c:pt idx="1974">
                  <c:v>76.107917888563037</c:v>
                </c:pt>
                <c:pt idx="1975">
                  <c:v>76.004692082111433</c:v>
                </c:pt>
                <c:pt idx="1976">
                  <c:v>75.912609970674495</c:v>
                </c:pt>
                <c:pt idx="1977">
                  <c:v>75.87859237536658</c:v>
                </c:pt>
                <c:pt idx="1978">
                  <c:v>75.936656891495616</c:v>
                </c:pt>
                <c:pt idx="1979">
                  <c:v>76.069794721407632</c:v>
                </c:pt>
                <c:pt idx="1980">
                  <c:v>76.144281524926697</c:v>
                </c:pt>
                <c:pt idx="1981">
                  <c:v>76.018181818181816</c:v>
                </c:pt>
                <c:pt idx="1982">
                  <c:v>76.00293255131966</c:v>
                </c:pt>
                <c:pt idx="1983">
                  <c:v>75.964222873900297</c:v>
                </c:pt>
                <c:pt idx="1984">
                  <c:v>76.156598240469208</c:v>
                </c:pt>
                <c:pt idx="1985">
                  <c:v>76.290909090909111</c:v>
                </c:pt>
                <c:pt idx="1986">
                  <c:v>76.146627565982413</c:v>
                </c:pt>
                <c:pt idx="1987">
                  <c:v>76.090322580645164</c:v>
                </c:pt>
                <c:pt idx="1988">
                  <c:v>76.064516129032256</c:v>
                </c:pt>
                <c:pt idx="1989">
                  <c:v>76.087976539589448</c:v>
                </c:pt>
                <c:pt idx="1990">
                  <c:v>76.039882697947192</c:v>
                </c:pt>
                <c:pt idx="1991">
                  <c:v>76.026979472140752</c:v>
                </c:pt>
                <c:pt idx="1992">
                  <c:v>76.008211143695007</c:v>
                </c:pt>
                <c:pt idx="1993">
                  <c:v>75.977126099706751</c:v>
                </c:pt>
                <c:pt idx="1994">
                  <c:v>76.017595307917887</c:v>
                </c:pt>
                <c:pt idx="1995">
                  <c:v>75.927272727272722</c:v>
                </c:pt>
                <c:pt idx="1996">
                  <c:v>75.933724340175957</c:v>
                </c:pt>
                <c:pt idx="1997">
                  <c:v>75.779472140762465</c:v>
                </c:pt>
                <c:pt idx="1998">
                  <c:v>75.787096774193543</c:v>
                </c:pt>
                <c:pt idx="1999">
                  <c:v>75.64574780058652</c:v>
                </c:pt>
                <c:pt idx="2000">
                  <c:v>75.573020527859242</c:v>
                </c:pt>
                <c:pt idx="2001">
                  <c:v>75.595307917888576</c:v>
                </c:pt>
                <c:pt idx="2002">
                  <c:v>75.613489736070377</c:v>
                </c:pt>
                <c:pt idx="2003">
                  <c:v>75.794134897360692</c:v>
                </c:pt>
                <c:pt idx="2004">
                  <c:v>75.825219941348976</c:v>
                </c:pt>
                <c:pt idx="2005">
                  <c:v>75.858064516129033</c:v>
                </c:pt>
                <c:pt idx="2006">
                  <c:v>75.902639296187687</c:v>
                </c:pt>
                <c:pt idx="2007">
                  <c:v>75.878005865102651</c:v>
                </c:pt>
                <c:pt idx="2008">
                  <c:v>75.829325513196494</c:v>
                </c:pt>
                <c:pt idx="2009">
                  <c:v>75.858651026392977</c:v>
                </c:pt>
                <c:pt idx="2010">
                  <c:v>75.808211143695019</c:v>
                </c:pt>
                <c:pt idx="2011">
                  <c:v>75.724926686216989</c:v>
                </c:pt>
                <c:pt idx="2012">
                  <c:v>75.717302052785911</c:v>
                </c:pt>
                <c:pt idx="2013">
                  <c:v>75.643988269794718</c:v>
                </c:pt>
                <c:pt idx="2014">
                  <c:v>75.531964809384164</c:v>
                </c:pt>
                <c:pt idx="2015">
                  <c:v>75.421114369501481</c:v>
                </c:pt>
                <c:pt idx="2016">
                  <c:v>75.427565982404701</c:v>
                </c:pt>
                <c:pt idx="2017">
                  <c:v>75.382404692082119</c:v>
                </c:pt>
                <c:pt idx="2018">
                  <c:v>75.425806451612914</c:v>
                </c:pt>
                <c:pt idx="2019">
                  <c:v>75.343695014662771</c:v>
                </c:pt>
                <c:pt idx="2020">
                  <c:v>75.189442815249265</c:v>
                </c:pt>
                <c:pt idx="2021">
                  <c:v>75.30146627565982</c:v>
                </c:pt>
                <c:pt idx="2022">
                  <c:v>75.249266862170074</c:v>
                </c:pt>
                <c:pt idx="2023">
                  <c:v>75.390615835777126</c:v>
                </c:pt>
                <c:pt idx="2024">
                  <c:v>75.575366568914959</c:v>
                </c:pt>
                <c:pt idx="2025">
                  <c:v>75.563049853372419</c:v>
                </c:pt>
                <c:pt idx="2026">
                  <c:v>75.587683284457469</c:v>
                </c:pt>
                <c:pt idx="2027">
                  <c:v>75.697360703812308</c:v>
                </c:pt>
                <c:pt idx="2028">
                  <c:v>75.6557184750733</c:v>
                </c:pt>
                <c:pt idx="2029">
                  <c:v>75.7542521994135</c:v>
                </c:pt>
                <c:pt idx="2030">
                  <c:v>75.898533724340169</c:v>
                </c:pt>
                <c:pt idx="2031">
                  <c:v>75.904985337243389</c:v>
                </c:pt>
                <c:pt idx="2032">
                  <c:v>75.873313782991175</c:v>
                </c:pt>
                <c:pt idx="2033">
                  <c:v>75.967155425219914</c:v>
                </c:pt>
                <c:pt idx="2034">
                  <c:v>75.91319648093841</c:v>
                </c:pt>
                <c:pt idx="2035">
                  <c:v>75.943108504398822</c:v>
                </c:pt>
                <c:pt idx="2036">
                  <c:v>75.805865102639302</c:v>
                </c:pt>
                <c:pt idx="2037">
                  <c:v>75.946041055718467</c:v>
                </c:pt>
                <c:pt idx="2038">
                  <c:v>76.103225806451604</c:v>
                </c:pt>
                <c:pt idx="2039">
                  <c:v>76.202932551319634</c:v>
                </c:pt>
                <c:pt idx="2040">
                  <c:v>76.136070381231661</c:v>
                </c:pt>
                <c:pt idx="2041">
                  <c:v>76.160117302052782</c:v>
                </c:pt>
                <c:pt idx="2042">
                  <c:v>76.315542521994132</c:v>
                </c:pt>
                <c:pt idx="2043">
                  <c:v>76.429325513196488</c:v>
                </c:pt>
                <c:pt idx="2044">
                  <c:v>76.391202346041069</c:v>
                </c:pt>
                <c:pt idx="2045">
                  <c:v>76.393548387096786</c:v>
                </c:pt>
                <c:pt idx="2046">
                  <c:v>76.385923753665708</c:v>
                </c:pt>
                <c:pt idx="2047">
                  <c:v>76.212903225806457</c:v>
                </c:pt>
                <c:pt idx="2048">
                  <c:v>76.417595307917892</c:v>
                </c:pt>
                <c:pt idx="2049">
                  <c:v>76.484457478005865</c:v>
                </c:pt>
                <c:pt idx="2050">
                  <c:v>76.580645161290292</c:v>
                </c:pt>
                <c:pt idx="2051">
                  <c:v>76.794721407624621</c:v>
                </c:pt>
                <c:pt idx="2052">
                  <c:v>76.778885630498536</c:v>
                </c:pt>
                <c:pt idx="2053">
                  <c:v>76.738416422287372</c:v>
                </c:pt>
                <c:pt idx="2054">
                  <c:v>76.795307917888564</c:v>
                </c:pt>
                <c:pt idx="2055">
                  <c:v>76.784164222873898</c:v>
                </c:pt>
                <c:pt idx="2056">
                  <c:v>76.794721407624635</c:v>
                </c:pt>
                <c:pt idx="2057">
                  <c:v>76.907331378299119</c:v>
                </c:pt>
                <c:pt idx="2058">
                  <c:v>76.948387096774198</c:v>
                </c:pt>
                <c:pt idx="2059">
                  <c:v>77.012903225806454</c:v>
                </c:pt>
                <c:pt idx="2060">
                  <c:v>77.035777126099703</c:v>
                </c:pt>
                <c:pt idx="2061">
                  <c:v>76.846920821114367</c:v>
                </c:pt>
                <c:pt idx="2062">
                  <c:v>77.008797653958936</c:v>
                </c:pt>
                <c:pt idx="2063">
                  <c:v>77.039882697947206</c:v>
                </c:pt>
                <c:pt idx="2064">
                  <c:v>77.125513196480924</c:v>
                </c:pt>
                <c:pt idx="2065">
                  <c:v>77.130205278592356</c:v>
                </c:pt>
                <c:pt idx="2066">
                  <c:v>77.129618768328427</c:v>
                </c:pt>
                <c:pt idx="2067">
                  <c:v>77.2950146627566</c:v>
                </c:pt>
                <c:pt idx="2068">
                  <c:v>77.148387096774186</c:v>
                </c:pt>
                <c:pt idx="2069">
                  <c:v>77.187096774193549</c:v>
                </c:pt>
                <c:pt idx="2070">
                  <c:v>77.113782991202356</c:v>
                </c:pt>
                <c:pt idx="2071">
                  <c:v>77.075659824046909</c:v>
                </c:pt>
                <c:pt idx="2072">
                  <c:v>77.048680351906171</c:v>
                </c:pt>
                <c:pt idx="2073">
                  <c:v>77.05865102639298</c:v>
                </c:pt>
                <c:pt idx="2074">
                  <c:v>77.060997067448682</c:v>
                </c:pt>
                <c:pt idx="2075">
                  <c:v>77.209384164222868</c:v>
                </c:pt>
                <c:pt idx="2076">
                  <c:v>77.317302052785934</c:v>
                </c:pt>
                <c:pt idx="2077">
                  <c:v>77.273313782991195</c:v>
                </c:pt>
                <c:pt idx="2078">
                  <c:v>77.48739002932551</c:v>
                </c:pt>
                <c:pt idx="2079">
                  <c:v>77.465102639296177</c:v>
                </c:pt>
                <c:pt idx="2080">
                  <c:v>77.517888563049851</c:v>
                </c:pt>
                <c:pt idx="2081">
                  <c:v>77.513782991202348</c:v>
                </c:pt>
                <c:pt idx="2082">
                  <c:v>77.330791788856317</c:v>
                </c:pt>
                <c:pt idx="2083">
                  <c:v>77.176539589442825</c:v>
                </c:pt>
                <c:pt idx="2084">
                  <c:v>77.240469208211138</c:v>
                </c:pt>
                <c:pt idx="2085">
                  <c:v>77.054545454545448</c:v>
                </c:pt>
                <c:pt idx="2086">
                  <c:v>76.980645161290326</c:v>
                </c:pt>
                <c:pt idx="2087">
                  <c:v>76.977126099706737</c:v>
                </c:pt>
                <c:pt idx="2088">
                  <c:v>76.861583577712594</c:v>
                </c:pt>
                <c:pt idx="2089">
                  <c:v>76.897360703812296</c:v>
                </c:pt>
                <c:pt idx="2090">
                  <c:v>77.059824046920824</c:v>
                </c:pt>
                <c:pt idx="2091">
                  <c:v>76.968328445747801</c:v>
                </c:pt>
                <c:pt idx="2092">
                  <c:v>77.026979472140752</c:v>
                </c:pt>
                <c:pt idx="2093">
                  <c:v>76.943108504398822</c:v>
                </c:pt>
                <c:pt idx="2094">
                  <c:v>76.902639296187672</c:v>
                </c:pt>
                <c:pt idx="2095">
                  <c:v>76.795894428152508</c:v>
                </c:pt>
                <c:pt idx="2096">
                  <c:v>76.836363636363657</c:v>
                </c:pt>
                <c:pt idx="2097">
                  <c:v>76.858651026392977</c:v>
                </c:pt>
                <c:pt idx="2098">
                  <c:v>76.693255131964804</c:v>
                </c:pt>
                <c:pt idx="2099">
                  <c:v>76.794721407624635</c:v>
                </c:pt>
                <c:pt idx="2100">
                  <c:v>76.688563049853357</c:v>
                </c:pt>
                <c:pt idx="2101">
                  <c:v>76.76832844574777</c:v>
                </c:pt>
                <c:pt idx="2102">
                  <c:v>76.826979472140764</c:v>
                </c:pt>
                <c:pt idx="2103">
                  <c:v>76.805865102639288</c:v>
                </c:pt>
                <c:pt idx="2104">
                  <c:v>76.751319648093826</c:v>
                </c:pt>
                <c:pt idx="2105">
                  <c:v>76.602932551319626</c:v>
                </c:pt>
                <c:pt idx="2106">
                  <c:v>76.610557184750718</c:v>
                </c:pt>
                <c:pt idx="2107">
                  <c:v>76.523753665689128</c:v>
                </c:pt>
                <c:pt idx="2108">
                  <c:v>76.568328445747781</c:v>
                </c:pt>
                <c:pt idx="2109">
                  <c:v>76.52903225806449</c:v>
                </c:pt>
                <c:pt idx="2110">
                  <c:v>76.442228739002928</c:v>
                </c:pt>
                <c:pt idx="2111">
                  <c:v>76.436950146627566</c:v>
                </c:pt>
                <c:pt idx="2112">
                  <c:v>76.35073313782992</c:v>
                </c:pt>
                <c:pt idx="2113">
                  <c:v>76.519648093841653</c:v>
                </c:pt>
                <c:pt idx="2114">
                  <c:v>76.693841642228733</c:v>
                </c:pt>
                <c:pt idx="2115">
                  <c:v>76.544281524926689</c:v>
                </c:pt>
                <c:pt idx="2116">
                  <c:v>76.594721407624633</c:v>
                </c:pt>
                <c:pt idx="2117">
                  <c:v>76.679765395894421</c:v>
                </c:pt>
                <c:pt idx="2118">
                  <c:v>76.619941348973597</c:v>
                </c:pt>
                <c:pt idx="2119">
                  <c:v>76.65865102639296</c:v>
                </c:pt>
                <c:pt idx="2120">
                  <c:v>76.563636363636363</c:v>
                </c:pt>
                <c:pt idx="2121">
                  <c:v>76.45689149560117</c:v>
                </c:pt>
                <c:pt idx="2122">
                  <c:v>76.511436950146631</c:v>
                </c:pt>
                <c:pt idx="2123">
                  <c:v>76.638123167155427</c:v>
                </c:pt>
                <c:pt idx="2124">
                  <c:v>76.597067448680363</c:v>
                </c:pt>
                <c:pt idx="2125">
                  <c:v>76.636363636363654</c:v>
                </c:pt>
                <c:pt idx="2126">
                  <c:v>76.748973607038153</c:v>
                </c:pt>
                <c:pt idx="2127">
                  <c:v>76.652785923753683</c:v>
                </c:pt>
                <c:pt idx="2128">
                  <c:v>76.609384164222902</c:v>
                </c:pt>
                <c:pt idx="2129">
                  <c:v>76.824633431085076</c:v>
                </c:pt>
                <c:pt idx="2130">
                  <c:v>76.782991202346068</c:v>
                </c:pt>
                <c:pt idx="2131">
                  <c:v>76.736656891495599</c:v>
                </c:pt>
                <c:pt idx="2132">
                  <c:v>76.646920821114378</c:v>
                </c:pt>
                <c:pt idx="2133">
                  <c:v>76.67390029325513</c:v>
                </c:pt>
                <c:pt idx="2134">
                  <c:v>76.725513196480932</c:v>
                </c:pt>
                <c:pt idx="2135">
                  <c:v>76.753665689149571</c:v>
                </c:pt>
                <c:pt idx="2136">
                  <c:v>76.724340175953074</c:v>
                </c:pt>
                <c:pt idx="2137">
                  <c:v>76.757771260997089</c:v>
                </c:pt>
                <c:pt idx="2138">
                  <c:v>76.879765395894424</c:v>
                </c:pt>
                <c:pt idx="2139">
                  <c:v>76.832258064516125</c:v>
                </c:pt>
                <c:pt idx="2140">
                  <c:v>76.678592375366577</c:v>
                </c:pt>
                <c:pt idx="2141">
                  <c:v>76.594134897360689</c:v>
                </c:pt>
                <c:pt idx="2142">
                  <c:v>76.558357771261001</c:v>
                </c:pt>
                <c:pt idx="2143">
                  <c:v>76.646334310850435</c:v>
                </c:pt>
                <c:pt idx="2144">
                  <c:v>76.60293255131964</c:v>
                </c:pt>
                <c:pt idx="2145">
                  <c:v>76.506158357771255</c:v>
                </c:pt>
                <c:pt idx="2146">
                  <c:v>76.711436950146634</c:v>
                </c:pt>
                <c:pt idx="2147">
                  <c:v>76.661583577712605</c:v>
                </c:pt>
                <c:pt idx="2148">
                  <c:v>76.560703812316717</c:v>
                </c:pt>
                <c:pt idx="2149">
                  <c:v>76.715542521994138</c:v>
                </c:pt>
                <c:pt idx="2150">
                  <c:v>76.700293255131967</c:v>
                </c:pt>
                <c:pt idx="2151">
                  <c:v>76.727859237536649</c:v>
                </c:pt>
                <c:pt idx="2152">
                  <c:v>76.659824046920818</c:v>
                </c:pt>
                <c:pt idx="2153">
                  <c:v>76.759530791788862</c:v>
                </c:pt>
                <c:pt idx="2154">
                  <c:v>76.743108504398819</c:v>
                </c:pt>
                <c:pt idx="2155">
                  <c:v>76.886803519061601</c:v>
                </c:pt>
                <c:pt idx="2156">
                  <c:v>76.837536656891515</c:v>
                </c:pt>
                <c:pt idx="2157">
                  <c:v>76.734310850439883</c:v>
                </c:pt>
                <c:pt idx="2158">
                  <c:v>76.709677419354819</c:v>
                </c:pt>
                <c:pt idx="2159">
                  <c:v>76.863343108504395</c:v>
                </c:pt>
                <c:pt idx="2160">
                  <c:v>76.808797653958933</c:v>
                </c:pt>
                <c:pt idx="2161">
                  <c:v>76.734310850439854</c:v>
                </c:pt>
                <c:pt idx="2162">
                  <c:v>76.697947214076223</c:v>
                </c:pt>
                <c:pt idx="2163">
                  <c:v>76.860997067448665</c:v>
                </c:pt>
                <c:pt idx="2164">
                  <c:v>76.883284457478013</c:v>
                </c:pt>
                <c:pt idx="2165">
                  <c:v>76.832844574780054</c:v>
                </c:pt>
                <c:pt idx="2166">
                  <c:v>76.730791788856294</c:v>
                </c:pt>
                <c:pt idx="2167">
                  <c:v>76.738416422287386</c:v>
                </c:pt>
                <c:pt idx="2168">
                  <c:v>76.680938416422293</c:v>
                </c:pt>
                <c:pt idx="2169">
                  <c:v>76.663343108504392</c:v>
                </c:pt>
                <c:pt idx="2170">
                  <c:v>76.832844574780069</c:v>
                </c:pt>
                <c:pt idx="2171">
                  <c:v>77.001173020527858</c:v>
                </c:pt>
                <c:pt idx="2172">
                  <c:v>77.144868035190584</c:v>
                </c:pt>
                <c:pt idx="2173">
                  <c:v>77.043401759530767</c:v>
                </c:pt>
                <c:pt idx="2174">
                  <c:v>76.892668621700878</c:v>
                </c:pt>
                <c:pt idx="2175">
                  <c:v>76.944281524926694</c:v>
                </c:pt>
                <c:pt idx="2176">
                  <c:v>77.053372434017589</c:v>
                </c:pt>
                <c:pt idx="2177">
                  <c:v>77.0656891495601</c:v>
                </c:pt>
                <c:pt idx="2178">
                  <c:v>77.168914956011719</c:v>
                </c:pt>
                <c:pt idx="2179">
                  <c:v>77.199999999999989</c:v>
                </c:pt>
                <c:pt idx="2180">
                  <c:v>77.062756598240455</c:v>
                </c:pt>
                <c:pt idx="2181">
                  <c:v>76.991202346041035</c:v>
                </c:pt>
                <c:pt idx="2182">
                  <c:v>76.880938416422254</c:v>
                </c:pt>
                <c:pt idx="2183">
                  <c:v>77.032844574780029</c:v>
                </c:pt>
                <c:pt idx="2184">
                  <c:v>76.879765395894424</c:v>
                </c:pt>
                <c:pt idx="2185">
                  <c:v>76.713782991202322</c:v>
                </c:pt>
                <c:pt idx="2186">
                  <c:v>76.629912023460406</c:v>
                </c:pt>
                <c:pt idx="2187">
                  <c:v>76.642815249266846</c:v>
                </c:pt>
                <c:pt idx="2188">
                  <c:v>76.563636363636348</c:v>
                </c:pt>
                <c:pt idx="2189">
                  <c:v>76.471554252199411</c:v>
                </c:pt>
                <c:pt idx="2190">
                  <c:v>76.469208211143695</c:v>
                </c:pt>
                <c:pt idx="2191">
                  <c:v>76.43870967741934</c:v>
                </c:pt>
                <c:pt idx="2192">
                  <c:v>76.577126099706746</c:v>
                </c:pt>
                <c:pt idx="2193">
                  <c:v>76.750733137829926</c:v>
                </c:pt>
                <c:pt idx="2194">
                  <c:v>76.728445747800592</c:v>
                </c:pt>
                <c:pt idx="2195">
                  <c:v>76.680938416422308</c:v>
                </c:pt>
                <c:pt idx="2196">
                  <c:v>76.71671554252201</c:v>
                </c:pt>
                <c:pt idx="2197">
                  <c:v>76.85630498533726</c:v>
                </c:pt>
                <c:pt idx="2198">
                  <c:v>76.960703812316723</c:v>
                </c:pt>
                <c:pt idx="2199">
                  <c:v>76.93782991202346</c:v>
                </c:pt>
                <c:pt idx="2200">
                  <c:v>76.844574780058636</c:v>
                </c:pt>
                <c:pt idx="2201">
                  <c:v>76.855131964809388</c:v>
                </c:pt>
                <c:pt idx="2202">
                  <c:v>76.855718475073317</c:v>
                </c:pt>
                <c:pt idx="2203">
                  <c:v>76.876832844574793</c:v>
                </c:pt>
                <c:pt idx="2204">
                  <c:v>76.790615835777132</c:v>
                </c:pt>
                <c:pt idx="2205">
                  <c:v>76.921994134897346</c:v>
                </c:pt>
                <c:pt idx="2206">
                  <c:v>76.753079178885613</c:v>
                </c:pt>
                <c:pt idx="2207">
                  <c:v>76.605865102639271</c:v>
                </c:pt>
                <c:pt idx="2208">
                  <c:v>76.536070381231653</c:v>
                </c:pt>
                <c:pt idx="2209">
                  <c:v>76.479765395894418</c:v>
                </c:pt>
                <c:pt idx="2210">
                  <c:v>76.390029325513197</c:v>
                </c:pt>
                <c:pt idx="2211">
                  <c:v>76.47859237536656</c:v>
                </c:pt>
                <c:pt idx="2212">
                  <c:v>76.555425219941341</c:v>
                </c:pt>
                <c:pt idx="2213">
                  <c:v>76.587683284457455</c:v>
                </c:pt>
                <c:pt idx="2214">
                  <c:v>76.470381231671539</c:v>
                </c:pt>
                <c:pt idx="2215">
                  <c:v>76.625219941348945</c:v>
                </c:pt>
                <c:pt idx="2216">
                  <c:v>76.715542521994109</c:v>
                </c:pt>
                <c:pt idx="2217">
                  <c:v>76.573607038123157</c:v>
                </c:pt>
                <c:pt idx="2218">
                  <c:v>76.648680351906151</c:v>
                </c:pt>
                <c:pt idx="2219">
                  <c:v>76.741348973607032</c:v>
                </c:pt>
                <c:pt idx="2220">
                  <c:v>76.795894428152508</c:v>
                </c:pt>
                <c:pt idx="2221">
                  <c:v>76.730791788856294</c:v>
                </c:pt>
                <c:pt idx="2222">
                  <c:v>76.691495601173003</c:v>
                </c:pt>
                <c:pt idx="2223">
                  <c:v>76.273900293255124</c:v>
                </c:pt>
                <c:pt idx="2224">
                  <c:v>76.299120234604089</c:v>
                </c:pt>
                <c:pt idx="2225">
                  <c:v>76.018768328445731</c:v>
                </c:pt>
                <c:pt idx="2226">
                  <c:v>76.260410557184727</c:v>
                </c:pt>
                <c:pt idx="2227">
                  <c:v>76.148973607038116</c:v>
                </c:pt>
                <c:pt idx="2228">
                  <c:v>76.053958944281504</c:v>
                </c:pt>
                <c:pt idx="2229">
                  <c:v>76.188856304985322</c:v>
                </c:pt>
                <c:pt idx="2230">
                  <c:v>76.368914956011736</c:v>
                </c:pt>
                <c:pt idx="2231">
                  <c:v>76.336070381231664</c:v>
                </c:pt>
                <c:pt idx="2232">
                  <c:v>76.009970674486794</c:v>
                </c:pt>
                <c:pt idx="2233">
                  <c:v>75.556011730205284</c:v>
                </c:pt>
                <c:pt idx="2234">
                  <c:v>75.170087976539591</c:v>
                </c:pt>
                <c:pt idx="2235">
                  <c:v>75.484457478005865</c:v>
                </c:pt>
                <c:pt idx="2236">
                  <c:v>75.366568914956019</c:v>
                </c:pt>
                <c:pt idx="2237">
                  <c:v>75.5407624633431</c:v>
                </c:pt>
                <c:pt idx="2238">
                  <c:v>75.50674486803517</c:v>
                </c:pt>
                <c:pt idx="2239">
                  <c:v>75.195307917888542</c:v>
                </c:pt>
                <c:pt idx="2240">
                  <c:v>74.898533724340169</c:v>
                </c:pt>
                <c:pt idx="2241">
                  <c:v>74.931378299120212</c:v>
                </c:pt>
                <c:pt idx="2242">
                  <c:v>74.591788856304973</c:v>
                </c:pt>
                <c:pt idx="2243">
                  <c:v>74.828739002932551</c:v>
                </c:pt>
                <c:pt idx="2244">
                  <c:v>74.699120234604095</c:v>
                </c:pt>
                <c:pt idx="2245">
                  <c:v>74.920821114369488</c:v>
                </c:pt>
                <c:pt idx="2246">
                  <c:v>74.408211143694999</c:v>
                </c:pt>
                <c:pt idx="2247">
                  <c:v>73.992961876832837</c:v>
                </c:pt>
                <c:pt idx="2248">
                  <c:v>73.845161290322565</c:v>
                </c:pt>
                <c:pt idx="2249">
                  <c:v>73.388269794721396</c:v>
                </c:pt>
                <c:pt idx="2250">
                  <c:v>73.309677419354841</c:v>
                </c:pt>
                <c:pt idx="2251">
                  <c:v>73.045161290322568</c:v>
                </c:pt>
                <c:pt idx="2252">
                  <c:v>72.618768328445768</c:v>
                </c:pt>
                <c:pt idx="2253">
                  <c:v>72.570674486803526</c:v>
                </c:pt>
                <c:pt idx="2254">
                  <c:v>72.840469208211161</c:v>
                </c:pt>
                <c:pt idx="2255">
                  <c:v>72.936070381231687</c:v>
                </c:pt>
                <c:pt idx="2256">
                  <c:v>73.32609970674487</c:v>
                </c:pt>
                <c:pt idx="2257">
                  <c:v>73.304398826979465</c:v>
                </c:pt>
                <c:pt idx="2258">
                  <c:v>73.389442815249254</c:v>
                </c:pt>
                <c:pt idx="2259">
                  <c:v>73.127272727272725</c:v>
                </c:pt>
                <c:pt idx="2260">
                  <c:v>72.662170087976534</c:v>
                </c:pt>
                <c:pt idx="2261">
                  <c:v>72.185923753665691</c:v>
                </c:pt>
                <c:pt idx="2262">
                  <c:v>71.99061583577712</c:v>
                </c:pt>
                <c:pt idx="2263">
                  <c:v>71.93137829912024</c:v>
                </c:pt>
                <c:pt idx="2264">
                  <c:v>71.890909090909091</c:v>
                </c:pt>
                <c:pt idx="2265">
                  <c:v>71.834604105571856</c:v>
                </c:pt>
                <c:pt idx="2266">
                  <c:v>71.28563049853372</c:v>
                </c:pt>
                <c:pt idx="2267">
                  <c:v>70.924340175953077</c:v>
                </c:pt>
                <c:pt idx="2268">
                  <c:v>70.483870967741936</c:v>
                </c:pt>
                <c:pt idx="2269">
                  <c:v>70.312609970674487</c:v>
                </c:pt>
                <c:pt idx="2270">
                  <c:v>70.338416422287381</c:v>
                </c:pt>
                <c:pt idx="2271">
                  <c:v>70.285043988269791</c:v>
                </c:pt>
                <c:pt idx="2272">
                  <c:v>70.057478005865079</c:v>
                </c:pt>
                <c:pt idx="2273">
                  <c:v>69.969501466275645</c:v>
                </c:pt>
                <c:pt idx="2274">
                  <c:v>69.466275659824035</c:v>
                </c:pt>
                <c:pt idx="2275">
                  <c:v>67.201173020527847</c:v>
                </c:pt>
                <c:pt idx="2276">
                  <c:v>64.540175953079171</c:v>
                </c:pt>
                <c:pt idx="2277">
                  <c:v>62.485043988269794</c:v>
                </c:pt>
                <c:pt idx="2278">
                  <c:v>60.431671554252205</c:v>
                </c:pt>
                <c:pt idx="2279">
                  <c:v>58.231671554252209</c:v>
                </c:pt>
                <c:pt idx="2280">
                  <c:v>56.14721407624635</c:v>
                </c:pt>
                <c:pt idx="2281">
                  <c:v>53.74076246334311</c:v>
                </c:pt>
                <c:pt idx="2282">
                  <c:v>51.603519061583576</c:v>
                </c:pt>
                <c:pt idx="2283">
                  <c:v>49.543695014662759</c:v>
                </c:pt>
                <c:pt idx="2284">
                  <c:v>47.154838709677428</c:v>
                </c:pt>
                <c:pt idx="2285">
                  <c:v>44.754838709677422</c:v>
                </c:pt>
                <c:pt idx="2286">
                  <c:v>42.073900293255129</c:v>
                </c:pt>
                <c:pt idx="2287">
                  <c:v>39.405865102639297</c:v>
                </c:pt>
                <c:pt idx="2288">
                  <c:v>36.770674486803514</c:v>
                </c:pt>
                <c:pt idx="2289">
                  <c:v>34.334897360703806</c:v>
                </c:pt>
                <c:pt idx="2290">
                  <c:v>32.154252199413492</c:v>
                </c:pt>
                <c:pt idx="2291">
                  <c:v>32.512609970674482</c:v>
                </c:pt>
                <c:pt idx="2292">
                  <c:v>32.849853372434012</c:v>
                </c:pt>
                <c:pt idx="2293">
                  <c:v>33.105571847507328</c:v>
                </c:pt>
                <c:pt idx="2294">
                  <c:v>33.383577712609977</c:v>
                </c:pt>
                <c:pt idx="2295">
                  <c:v>33.836950146627565</c:v>
                </c:pt>
                <c:pt idx="2296">
                  <c:v>34.111436950146626</c:v>
                </c:pt>
                <c:pt idx="2297">
                  <c:v>34.575366568914951</c:v>
                </c:pt>
                <c:pt idx="2298">
                  <c:v>34.920234604105573</c:v>
                </c:pt>
                <c:pt idx="2299">
                  <c:v>35.202932551319648</c:v>
                </c:pt>
                <c:pt idx="2300">
                  <c:v>35.508504398826979</c:v>
                </c:pt>
                <c:pt idx="2301">
                  <c:v>35.693841642228747</c:v>
                </c:pt>
                <c:pt idx="2302">
                  <c:v>36.146041055718477</c:v>
                </c:pt>
                <c:pt idx="2303">
                  <c:v>36.531964809384164</c:v>
                </c:pt>
                <c:pt idx="2304">
                  <c:v>37.006451612903227</c:v>
                </c:pt>
                <c:pt idx="2305">
                  <c:v>37.215835777126102</c:v>
                </c:pt>
                <c:pt idx="2306">
                  <c:v>39.626392961876839</c:v>
                </c:pt>
                <c:pt idx="2307">
                  <c:v>42.114369501466278</c:v>
                </c:pt>
                <c:pt idx="2308">
                  <c:v>44.536656891495603</c:v>
                </c:pt>
                <c:pt idx="2309">
                  <c:v>46.955425219941354</c:v>
                </c:pt>
                <c:pt idx="2310">
                  <c:v>49.424633431085049</c:v>
                </c:pt>
                <c:pt idx="2311">
                  <c:v>51.81348973607038</c:v>
                </c:pt>
                <c:pt idx="2312">
                  <c:v>54.250439882697947</c:v>
                </c:pt>
                <c:pt idx="2313">
                  <c:v>56.733137829912025</c:v>
                </c:pt>
                <c:pt idx="2314">
                  <c:v>59.251612903225805</c:v>
                </c:pt>
                <c:pt idx="2315">
                  <c:v>61.616422287390023</c:v>
                </c:pt>
                <c:pt idx="2316">
                  <c:v>63.994134897360702</c:v>
                </c:pt>
                <c:pt idx="2317">
                  <c:v>66.345454545454544</c:v>
                </c:pt>
                <c:pt idx="2318">
                  <c:v>68.769501466275656</c:v>
                </c:pt>
                <c:pt idx="2319">
                  <c:v>71.2791788856305</c:v>
                </c:pt>
                <c:pt idx="2320">
                  <c:v>73.785337243401756</c:v>
                </c:pt>
                <c:pt idx="2321">
                  <c:v>76.276246334310841</c:v>
                </c:pt>
                <c:pt idx="2322">
                  <c:v>76.275659824046926</c:v>
                </c:pt>
                <c:pt idx="2323">
                  <c:v>76.168914956011704</c:v>
                </c:pt>
                <c:pt idx="2324">
                  <c:v>76.138416422287378</c:v>
                </c:pt>
                <c:pt idx="2325">
                  <c:v>76.171847507331364</c:v>
                </c:pt>
                <c:pt idx="2326">
                  <c:v>76.197653958944258</c:v>
                </c:pt>
                <c:pt idx="2327">
                  <c:v>76.370674486803523</c:v>
                </c:pt>
                <c:pt idx="2328">
                  <c:v>76.30439882697948</c:v>
                </c:pt>
                <c:pt idx="2329">
                  <c:v>76.4592375366569</c:v>
                </c:pt>
                <c:pt idx="2330">
                  <c:v>76.59882697947215</c:v>
                </c:pt>
                <c:pt idx="2331">
                  <c:v>76.646334310850449</c:v>
                </c:pt>
                <c:pt idx="2332">
                  <c:v>76.70791788856306</c:v>
                </c:pt>
                <c:pt idx="2333">
                  <c:v>76.672727272727286</c:v>
                </c:pt>
                <c:pt idx="2334">
                  <c:v>76.546627565982419</c:v>
                </c:pt>
                <c:pt idx="2335">
                  <c:v>76.388856304985353</c:v>
                </c:pt>
                <c:pt idx="2336">
                  <c:v>76.338416422287409</c:v>
                </c:pt>
                <c:pt idx="2337">
                  <c:v>76.329618768328473</c:v>
                </c:pt>
                <c:pt idx="2338">
                  <c:v>76.411143695014673</c:v>
                </c:pt>
                <c:pt idx="2339">
                  <c:v>76.344281524926714</c:v>
                </c:pt>
                <c:pt idx="2340">
                  <c:v>76.283870967741933</c:v>
                </c:pt>
                <c:pt idx="2341">
                  <c:v>76.278005865102642</c:v>
                </c:pt>
                <c:pt idx="2342">
                  <c:v>76.250439882697933</c:v>
                </c:pt>
                <c:pt idx="2343">
                  <c:v>76.330205278592388</c:v>
                </c:pt>
                <c:pt idx="2344">
                  <c:v>76.214076246334315</c:v>
                </c:pt>
                <c:pt idx="2345">
                  <c:v>76.113782991202342</c:v>
                </c:pt>
                <c:pt idx="2346">
                  <c:v>76.28856304985338</c:v>
                </c:pt>
                <c:pt idx="2347">
                  <c:v>76.353665689149551</c:v>
                </c:pt>
                <c:pt idx="2348">
                  <c:v>76.358944281524913</c:v>
                </c:pt>
                <c:pt idx="2349">
                  <c:v>76.374780058651012</c:v>
                </c:pt>
                <c:pt idx="2350">
                  <c:v>76.3607038123167</c:v>
                </c:pt>
                <c:pt idx="2351">
                  <c:v>76.374780058651027</c:v>
                </c:pt>
                <c:pt idx="2352">
                  <c:v>76.405278592375353</c:v>
                </c:pt>
                <c:pt idx="2353">
                  <c:v>76.418768328445736</c:v>
                </c:pt>
                <c:pt idx="2354">
                  <c:v>76.538416422287384</c:v>
                </c:pt>
                <c:pt idx="2355">
                  <c:v>76.636363636363626</c:v>
                </c:pt>
                <c:pt idx="2356">
                  <c:v>76.632844574780052</c:v>
                </c:pt>
                <c:pt idx="2357">
                  <c:v>76.50674486803517</c:v>
                </c:pt>
                <c:pt idx="2358">
                  <c:v>76.536070381231667</c:v>
                </c:pt>
                <c:pt idx="2359">
                  <c:v>76.476832844574773</c:v>
                </c:pt>
                <c:pt idx="2360">
                  <c:v>76.402932551319651</c:v>
                </c:pt>
                <c:pt idx="2361">
                  <c:v>76.2</c:v>
                </c:pt>
                <c:pt idx="2362">
                  <c:v>76.014662756598241</c:v>
                </c:pt>
                <c:pt idx="2363">
                  <c:v>75.972434017595319</c:v>
                </c:pt>
                <c:pt idx="2364">
                  <c:v>75.947800586510269</c:v>
                </c:pt>
                <c:pt idx="2365">
                  <c:v>75.871554252199431</c:v>
                </c:pt>
                <c:pt idx="2366">
                  <c:v>75.890909090909091</c:v>
                </c:pt>
                <c:pt idx="2367">
                  <c:v>75.931378299120226</c:v>
                </c:pt>
                <c:pt idx="2368">
                  <c:v>75.92492668621702</c:v>
                </c:pt>
                <c:pt idx="2369">
                  <c:v>75.920821114369502</c:v>
                </c:pt>
                <c:pt idx="2370">
                  <c:v>75.919648093841644</c:v>
                </c:pt>
                <c:pt idx="2371">
                  <c:v>76.087976539589462</c:v>
                </c:pt>
                <c:pt idx="2372">
                  <c:v>76.002932551319645</c:v>
                </c:pt>
                <c:pt idx="2373">
                  <c:v>76.025806451612908</c:v>
                </c:pt>
                <c:pt idx="2374">
                  <c:v>75.916715542521985</c:v>
                </c:pt>
                <c:pt idx="2375">
                  <c:v>76.08387096774193</c:v>
                </c:pt>
                <c:pt idx="2376">
                  <c:v>76.231085043988244</c:v>
                </c:pt>
                <c:pt idx="2377">
                  <c:v>76.185923753665676</c:v>
                </c:pt>
                <c:pt idx="2378">
                  <c:v>76.10615835777125</c:v>
                </c:pt>
                <c:pt idx="2379">
                  <c:v>76.10498533724342</c:v>
                </c:pt>
                <c:pt idx="2380">
                  <c:v>76.041642228739008</c:v>
                </c:pt>
                <c:pt idx="2381">
                  <c:v>75.980645161290312</c:v>
                </c:pt>
                <c:pt idx="2382">
                  <c:v>75.970674486803517</c:v>
                </c:pt>
                <c:pt idx="2383">
                  <c:v>75.818181818181827</c:v>
                </c:pt>
                <c:pt idx="2384">
                  <c:v>75.766568914956025</c:v>
                </c:pt>
                <c:pt idx="2385">
                  <c:v>75.715542521994138</c:v>
                </c:pt>
                <c:pt idx="2386">
                  <c:v>75.764222873900295</c:v>
                </c:pt>
                <c:pt idx="2387">
                  <c:v>75.679765395894421</c:v>
                </c:pt>
                <c:pt idx="2388">
                  <c:v>75.643988269794718</c:v>
                </c:pt>
                <c:pt idx="2389">
                  <c:v>75.572434017595299</c:v>
                </c:pt>
                <c:pt idx="2390">
                  <c:v>75.522580645161284</c:v>
                </c:pt>
                <c:pt idx="2391">
                  <c:v>75.558357771261001</c:v>
                </c:pt>
                <c:pt idx="2392">
                  <c:v>75.633431085043981</c:v>
                </c:pt>
                <c:pt idx="2393">
                  <c:v>75.68973607038123</c:v>
                </c:pt>
                <c:pt idx="2394">
                  <c:v>75.690909090909074</c:v>
                </c:pt>
                <c:pt idx="2395">
                  <c:v>75.675073313782974</c:v>
                </c:pt>
                <c:pt idx="2396">
                  <c:v>75.872727272727289</c:v>
                </c:pt>
                <c:pt idx="2397">
                  <c:v>75.879178885630509</c:v>
                </c:pt>
                <c:pt idx="2398">
                  <c:v>75.967155425219943</c:v>
                </c:pt>
                <c:pt idx="2399">
                  <c:v>76.094428152492668</c:v>
                </c:pt>
                <c:pt idx="2400">
                  <c:v>76.095014662756611</c:v>
                </c:pt>
                <c:pt idx="2401">
                  <c:v>76.194134897360712</c:v>
                </c:pt>
                <c:pt idx="2402">
                  <c:v>76.219941348973592</c:v>
                </c:pt>
                <c:pt idx="2403">
                  <c:v>76.304985337243423</c:v>
                </c:pt>
                <c:pt idx="2404">
                  <c:v>76.364222873900303</c:v>
                </c:pt>
                <c:pt idx="2405">
                  <c:v>76.415249266862162</c:v>
                </c:pt>
                <c:pt idx="2406">
                  <c:v>76.288563049853366</c:v>
                </c:pt>
                <c:pt idx="2407">
                  <c:v>76.114369501466257</c:v>
                </c:pt>
                <c:pt idx="2408">
                  <c:v>76.059824046920795</c:v>
                </c:pt>
                <c:pt idx="2409">
                  <c:v>76.101466275659803</c:v>
                </c:pt>
                <c:pt idx="2410">
                  <c:v>76.214662756598216</c:v>
                </c:pt>
                <c:pt idx="2411">
                  <c:v>76.372434017595296</c:v>
                </c:pt>
                <c:pt idx="2412">
                  <c:v>76.334310850439877</c:v>
                </c:pt>
                <c:pt idx="2413">
                  <c:v>76.301466275659848</c:v>
                </c:pt>
                <c:pt idx="2414">
                  <c:v>76.424046920821127</c:v>
                </c:pt>
                <c:pt idx="2415">
                  <c:v>76.42815249266863</c:v>
                </c:pt>
                <c:pt idx="2416">
                  <c:v>76.447507331378304</c:v>
                </c:pt>
                <c:pt idx="2417">
                  <c:v>76.428739002932545</c:v>
                </c:pt>
                <c:pt idx="2418">
                  <c:v>76.451612903225808</c:v>
                </c:pt>
                <c:pt idx="2419">
                  <c:v>76.560117302052774</c:v>
                </c:pt>
                <c:pt idx="2420">
                  <c:v>76.440469208211127</c:v>
                </c:pt>
                <c:pt idx="2421">
                  <c:v>76.554838709677398</c:v>
                </c:pt>
                <c:pt idx="2422">
                  <c:v>76.487390029325525</c:v>
                </c:pt>
                <c:pt idx="2423">
                  <c:v>76.52242424242425</c:v>
                </c:pt>
                <c:pt idx="2424">
                  <c:v>76.55360501567398</c:v>
                </c:pt>
                <c:pt idx="2425">
                  <c:v>76.605194805194813</c:v>
                </c:pt>
                <c:pt idx="2426">
                  <c:v>76.622222222222234</c:v>
                </c:pt>
                <c:pt idx="2427">
                  <c:v>76.511188811188816</c:v>
                </c:pt>
                <c:pt idx="2428">
                  <c:v>76.538181818181826</c:v>
                </c:pt>
                <c:pt idx="2429">
                  <c:v>76.528787878787881</c:v>
                </c:pt>
                <c:pt idx="2430">
                  <c:v>76.456126482213435</c:v>
                </c:pt>
                <c:pt idx="2431">
                  <c:v>76.315702479338839</c:v>
                </c:pt>
                <c:pt idx="2432">
                  <c:v>76.328138528138538</c:v>
                </c:pt>
                <c:pt idx="2433">
                  <c:v>76.188181818181818</c:v>
                </c:pt>
                <c:pt idx="2434">
                  <c:v>76.178947368421063</c:v>
                </c:pt>
                <c:pt idx="2435">
                  <c:v>76.203030303030303</c:v>
                </c:pt>
                <c:pt idx="2436">
                  <c:v>76.202139037433156</c:v>
                </c:pt>
                <c:pt idx="2437">
                  <c:v>76.301136363636374</c:v>
                </c:pt>
                <c:pt idx="2438">
                  <c:v>76.446060606060612</c:v>
                </c:pt>
                <c:pt idx="2439">
                  <c:v>76.503896103896096</c:v>
                </c:pt>
                <c:pt idx="2440">
                  <c:v>76.654545454545456</c:v>
                </c:pt>
                <c:pt idx="2441">
                  <c:v>76.665151515151521</c:v>
                </c:pt>
                <c:pt idx="2442">
                  <c:v>76.492561983471063</c:v>
                </c:pt>
                <c:pt idx="2443">
                  <c:v>76.712727272727264</c:v>
                </c:pt>
                <c:pt idx="2444">
                  <c:v>76.703030303030289</c:v>
                </c:pt>
                <c:pt idx="2445">
                  <c:v>76.636363636363626</c:v>
                </c:pt>
                <c:pt idx="2446">
                  <c:v>76.605194805194813</c:v>
                </c:pt>
                <c:pt idx="2447">
                  <c:v>76.548484848484861</c:v>
                </c:pt>
                <c:pt idx="2448">
                  <c:v>76.167272727272717</c:v>
                </c:pt>
                <c:pt idx="2449">
                  <c:v>76.295454545454533</c:v>
                </c:pt>
                <c:pt idx="2450">
                  <c:v>76.066666666666663</c:v>
                </c:pt>
                <c:pt idx="2451">
                  <c:v>77.11818181818181</c:v>
                </c:pt>
              </c:numCache>
            </c:numRef>
          </c:val>
          <c:smooth val="0"/>
          <c:extLst>
            <c:ext xmlns:c16="http://schemas.microsoft.com/office/drawing/2014/chart" uri="{C3380CC4-5D6E-409C-BE32-E72D297353CC}">
              <c16:uniqueId val="{00000003-A317-4990-AD5E-DF35E9825BF6}"/>
            </c:ext>
          </c:extLst>
        </c:ser>
        <c:dLbls>
          <c:showLegendKey val="0"/>
          <c:showVal val="0"/>
          <c:showCatName val="0"/>
          <c:showSerName val="0"/>
          <c:showPercent val="0"/>
          <c:showBubbleSize val="0"/>
        </c:dLbls>
        <c:marker val="1"/>
        <c:smooth val="0"/>
        <c:axId val="1119609887"/>
        <c:axId val="1119616127"/>
      </c:lineChart>
      <c:lineChart>
        <c:grouping val="standard"/>
        <c:varyColors val="0"/>
        <c:ser>
          <c:idx val="2"/>
          <c:order val="2"/>
          <c:tx>
            <c:strRef>
              <c:f>'DRT Rolling Mean'!$E$1</c:f>
              <c:strCache>
                <c:ptCount val="1"/>
                <c:pt idx="0">
                  <c:v>Pump Speed (RPM)</c:v>
                </c:pt>
              </c:strCache>
            </c:strRef>
          </c:tx>
          <c:spPr>
            <a:ln w="28575" cap="rnd">
              <a:solidFill>
                <a:schemeClr val="accent3"/>
              </a:solidFill>
              <a:round/>
            </a:ln>
            <a:effectLst/>
          </c:spPr>
          <c:marker>
            <c:symbol val="none"/>
          </c:marker>
          <c:cat>
            <c:numRef>
              <c:f>'DRT Rolling Mean'!$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E$2:$E$2453</c:f>
              <c:numCache>
                <c:formatCode>#,##0.00</c:formatCode>
                <c:ptCount val="2452"/>
                <c:pt idx="0">
                  <c:v>88.935483870967744</c:v>
                </c:pt>
                <c:pt idx="1">
                  <c:v>88.387096774193552</c:v>
                </c:pt>
                <c:pt idx="2">
                  <c:v>88.548387096774192</c:v>
                </c:pt>
                <c:pt idx="3">
                  <c:v>89.032258064516128</c:v>
                </c:pt>
                <c:pt idx="4">
                  <c:v>88.967741935483872</c:v>
                </c:pt>
                <c:pt idx="5">
                  <c:v>88.967741935483872</c:v>
                </c:pt>
                <c:pt idx="6">
                  <c:v>88.806451612903231</c:v>
                </c:pt>
                <c:pt idx="7">
                  <c:v>88.741935483870961</c:v>
                </c:pt>
                <c:pt idx="8">
                  <c:v>88.193548387096769</c:v>
                </c:pt>
                <c:pt idx="9">
                  <c:v>87.870967741935488</c:v>
                </c:pt>
                <c:pt idx="10">
                  <c:v>88.064516129032256</c:v>
                </c:pt>
                <c:pt idx="11">
                  <c:v>87.935483870967744</c:v>
                </c:pt>
                <c:pt idx="12">
                  <c:v>88.290322580645167</c:v>
                </c:pt>
                <c:pt idx="13">
                  <c:v>88.677419354838705</c:v>
                </c:pt>
                <c:pt idx="14">
                  <c:v>88.870967741935488</c:v>
                </c:pt>
                <c:pt idx="15">
                  <c:v>88.903225806451616</c:v>
                </c:pt>
                <c:pt idx="16">
                  <c:v>89.161290322580641</c:v>
                </c:pt>
                <c:pt idx="17">
                  <c:v>89.354838709677423</c:v>
                </c:pt>
                <c:pt idx="18">
                  <c:v>89.290322580645167</c:v>
                </c:pt>
                <c:pt idx="19">
                  <c:v>89.096774193548384</c:v>
                </c:pt>
                <c:pt idx="20">
                  <c:v>89.032258064516128</c:v>
                </c:pt>
                <c:pt idx="21">
                  <c:v>88.935483870967744</c:v>
                </c:pt>
                <c:pt idx="22">
                  <c:v>88.709677419354833</c:v>
                </c:pt>
                <c:pt idx="23">
                  <c:v>88.516129032258064</c:v>
                </c:pt>
                <c:pt idx="24">
                  <c:v>88.612903225806448</c:v>
                </c:pt>
                <c:pt idx="25">
                  <c:v>88.096774193548384</c:v>
                </c:pt>
                <c:pt idx="26">
                  <c:v>88.58064516129032</c:v>
                </c:pt>
                <c:pt idx="27">
                  <c:v>88.322580645161295</c:v>
                </c:pt>
                <c:pt idx="28">
                  <c:v>88.451612903225808</c:v>
                </c:pt>
                <c:pt idx="29">
                  <c:v>87.903225806451616</c:v>
                </c:pt>
                <c:pt idx="30">
                  <c:v>87.935483870967744</c:v>
                </c:pt>
                <c:pt idx="31">
                  <c:v>87.41935483870968</c:v>
                </c:pt>
                <c:pt idx="32">
                  <c:v>87.58064516129032</c:v>
                </c:pt>
                <c:pt idx="33">
                  <c:v>87.290322580645167</c:v>
                </c:pt>
                <c:pt idx="34">
                  <c:v>87.451612903225808</c:v>
                </c:pt>
                <c:pt idx="35">
                  <c:v>87.41935483870968</c:v>
                </c:pt>
                <c:pt idx="36">
                  <c:v>87.354838709677423</c:v>
                </c:pt>
                <c:pt idx="37">
                  <c:v>87.354838709677423</c:v>
                </c:pt>
                <c:pt idx="38">
                  <c:v>87.709677419354833</c:v>
                </c:pt>
                <c:pt idx="39">
                  <c:v>87.806451612903231</c:v>
                </c:pt>
                <c:pt idx="40">
                  <c:v>87.935483870967744</c:v>
                </c:pt>
                <c:pt idx="41">
                  <c:v>87.741935483870961</c:v>
                </c:pt>
                <c:pt idx="42">
                  <c:v>87.870967741935488</c:v>
                </c:pt>
                <c:pt idx="43">
                  <c:v>87.483870967741936</c:v>
                </c:pt>
                <c:pt idx="44">
                  <c:v>87.225806451612897</c:v>
                </c:pt>
                <c:pt idx="45">
                  <c:v>87.129032258064512</c:v>
                </c:pt>
                <c:pt idx="46">
                  <c:v>86.838709677419359</c:v>
                </c:pt>
                <c:pt idx="47">
                  <c:v>86.483870967741936</c:v>
                </c:pt>
                <c:pt idx="48">
                  <c:v>86.451612903225808</c:v>
                </c:pt>
                <c:pt idx="49">
                  <c:v>86.225806451612897</c:v>
                </c:pt>
                <c:pt idx="50">
                  <c:v>86.58064516129032</c:v>
                </c:pt>
                <c:pt idx="51">
                  <c:v>87.193548387096769</c:v>
                </c:pt>
                <c:pt idx="52">
                  <c:v>87.064516129032256</c:v>
                </c:pt>
                <c:pt idx="53">
                  <c:v>87.129032258064512</c:v>
                </c:pt>
                <c:pt idx="54">
                  <c:v>87.612903225806448</c:v>
                </c:pt>
                <c:pt idx="55">
                  <c:v>87.709677419354833</c:v>
                </c:pt>
                <c:pt idx="56">
                  <c:v>88.096774193548384</c:v>
                </c:pt>
                <c:pt idx="57">
                  <c:v>87.838709677419359</c:v>
                </c:pt>
                <c:pt idx="58">
                  <c:v>88.064516129032256</c:v>
                </c:pt>
                <c:pt idx="59">
                  <c:v>88.387096774193552</c:v>
                </c:pt>
                <c:pt idx="60">
                  <c:v>88.645161290322577</c:v>
                </c:pt>
                <c:pt idx="61">
                  <c:v>88.645161290322577</c:v>
                </c:pt>
                <c:pt idx="62">
                  <c:v>88.903225806451616</c:v>
                </c:pt>
                <c:pt idx="63">
                  <c:v>89.064516129032256</c:v>
                </c:pt>
                <c:pt idx="64">
                  <c:v>89.290322580645167</c:v>
                </c:pt>
                <c:pt idx="65">
                  <c:v>88.806451612903231</c:v>
                </c:pt>
                <c:pt idx="66">
                  <c:v>88.935483870967744</c:v>
                </c:pt>
                <c:pt idx="67">
                  <c:v>89.064516129032256</c:v>
                </c:pt>
                <c:pt idx="68">
                  <c:v>89.258064516129039</c:v>
                </c:pt>
                <c:pt idx="69">
                  <c:v>88.935483870967744</c:v>
                </c:pt>
                <c:pt idx="70">
                  <c:v>89.354838709677423</c:v>
                </c:pt>
                <c:pt idx="71">
                  <c:v>89.838709677419359</c:v>
                </c:pt>
                <c:pt idx="72">
                  <c:v>90.193548387096769</c:v>
                </c:pt>
                <c:pt idx="73">
                  <c:v>90.451612903225808</c:v>
                </c:pt>
                <c:pt idx="74">
                  <c:v>90.516129032258064</c:v>
                </c:pt>
                <c:pt idx="75">
                  <c:v>90.774193548387103</c:v>
                </c:pt>
                <c:pt idx="76">
                  <c:v>90.935483870967744</c:v>
                </c:pt>
                <c:pt idx="77">
                  <c:v>91.290322580645167</c:v>
                </c:pt>
                <c:pt idx="78">
                  <c:v>91.354838709677423</c:v>
                </c:pt>
                <c:pt idx="79">
                  <c:v>91.129032258064512</c:v>
                </c:pt>
                <c:pt idx="80">
                  <c:v>91.645161290322577</c:v>
                </c:pt>
                <c:pt idx="81">
                  <c:v>91.838709677419359</c:v>
                </c:pt>
                <c:pt idx="82">
                  <c:v>91.483870967741936</c:v>
                </c:pt>
                <c:pt idx="83">
                  <c:v>91.838709677419359</c:v>
                </c:pt>
                <c:pt idx="84">
                  <c:v>91.709677419354833</c:v>
                </c:pt>
                <c:pt idx="85">
                  <c:v>91.645161290322577</c:v>
                </c:pt>
                <c:pt idx="86">
                  <c:v>91.451612903225808</c:v>
                </c:pt>
                <c:pt idx="87">
                  <c:v>91.645161290322577</c:v>
                </c:pt>
                <c:pt idx="88">
                  <c:v>91.806451612903231</c:v>
                </c:pt>
                <c:pt idx="89">
                  <c:v>91.677419354838705</c:v>
                </c:pt>
                <c:pt idx="90">
                  <c:v>91.645161290322577</c:v>
                </c:pt>
                <c:pt idx="91">
                  <c:v>91.806451612903231</c:v>
                </c:pt>
                <c:pt idx="92">
                  <c:v>91.451612903225808</c:v>
                </c:pt>
                <c:pt idx="93">
                  <c:v>91.193548387096769</c:v>
                </c:pt>
                <c:pt idx="94">
                  <c:v>91.096774193548384</c:v>
                </c:pt>
                <c:pt idx="95">
                  <c:v>90.645161290322577</c:v>
                </c:pt>
                <c:pt idx="96">
                  <c:v>90.774193548387103</c:v>
                </c:pt>
                <c:pt idx="97">
                  <c:v>91.032258064516128</c:v>
                </c:pt>
                <c:pt idx="98">
                  <c:v>91.096774193548384</c:v>
                </c:pt>
                <c:pt idx="99">
                  <c:v>91.193548387096769</c:v>
                </c:pt>
                <c:pt idx="100">
                  <c:v>91.161290322580641</c:v>
                </c:pt>
                <c:pt idx="101">
                  <c:v>90.612903225806448</c:v>
                </c:pt>
                <c:pt idx="102">
                  <c:v>90.41935483870968</c:v>
                </c:pt>
                <c:pt idx="103">
                  <c:v>90.096774193548384</c:v>
                </c:pt>
                <c:pt idx="104">
                  <c:v>90.225806451612897</c:v>
                </c:pt>
                <c:pt idx="105">
                  <c:v>90.451612903225808</c:v>
                </c:pt>
                <c:pt idx="106">
                  <c:v>90.387096774193552</c:v>
                </c:pt>
                <c:pt idx="107">
                  <c:v>89.935483870967744</c:v>
                </c:pt>
                <c:pt idx="108">
                  <c:v>89.903225806451616</c:v>
                </c:pt>
                <c:pt idx="109">
                  <c:v>90.258064516129039</c:v>
                </c:pt>
                <c:pt idx="110">
                  <c:v>90.193548387096769</c:v>
                </c:pt>
                <c:pt idx="111">
                  <c:v>90.258064516129039</c:v>
                </c:pt>
                <c:pt idx="112">
                  <c:v>90.096774193548384</c:v>
                </c:pt>
                <c:pt idx="113">
                  <c:v>90.225806451612897</c:v>
                </c:pt>
                <c:pt idx="114">
                  <c:v>90.032258064516128</c:v>
                </c:pt>
                <c:pt idx="115">
                  <c:v>90.193548387096769</c:v>
                </c:pt>
                <c:pt idx="116">
                  <c:v>89.806451612903231</c:v>
                </c:pt>
                <c:pt idx="117">
                  <c:v>90.129032258064512</c:v>
                </c:pt>
                <c:pt idx="118">
                  <c:v>89.548387096774192</c:v>
                </c:pt>
                <c:pt idx="119">
                  <c:v>89.516129032258064</c:v>
                </c:pt>
                <c:pt idx="120">
                  <c:v>89.258064516129039</c:v>
                </c:pt>
                <c:pt idx="121">
                  <c:v>89.096774193548384</c:v>
                </c:pt>
                <c:pt idx="122">
                  <c:v>88.838709677419359</c:v>
                </c:pt>
                <c:pt idx="123">
                  <c:v>89</c:v>
                </c:pt>
                <c:pt idx="124">
                  <c:v>89.129032258064512</c:v>
                </c:pt>
                <c:pt idx="125">
                  <c:v>89.225806451612897</c:v>
                </c:pt>
                <c:pt idx="126">
                  <c:v>89.516129032258064</c:v>
                </c:pt>
                <c:pt idx="127">
                  <c:v>89.870967741935488</c:v>
                </c:pt>
                <c:pt idx="128">
                  <c:v>89.548387096774192</c:v>
                </c:pt>
                <c:pt idx="129">
                  <c:v>89.612903225806448</c:v>
                </c:pt>
                <c:pt idx="130">
                  <c:v>89.645161290322577</c:v>
                </c:pt>
                <c:pt idx="131">
                  <c:v>89.612903225806448</c:v>
                </c:pt>
                <c:pt idx="132">
                  <c:v>89.838709677419359</c:v>
                </c:pt>
                <c:pt idx="133">
                  <c:v>89.903225806451616</c:v>
                </c:pt>
                <c:pt idx="134">
                  <c:v>89.967741935483872</c:v>
                </c:pt>
                <c:pt idx="135">
                  <c:v>89.58064516129032</c:v>
                </c:pt>
                <c:pt idx="136">
                  <c:v>89.548387096774192</c:v>
                </c:pt>
                <c:pt idx="137">
                  <c:v>89.193548387096769</c:v>
                </c:pt>
                <c:pt idx="138">
                  <c:v>89.58064516129032</c:v>
                </c:pt>
                <c:pt idx="139">
                  <c:v>89.483870967741936</c:v>
                </c:pt>
                <c:pt idx="140">
                  <c:v>89.096774193548384</c:v>
                </c:pt>
                <c:pt idx="141">
                  <c:v>89.41935483870968</c:v>
                </c:pt>
                <c:pt idx="142">
                  <c:v>88.806451612903231</c:v>
                </c:pt>
                <c:pt idx="143">
                  <c:v>88.451612903225808</c:v>
                </c:pt>
                <c:pt idx="144">
                  <c:v>88.548387096774192</c:v>
                </c:pt>
                <c:pt idx="145">
                  <c:v>88.41935483870968</c:v>
                </c:pt>
                <c:pt idx="146">
                  <c:v>88.322580645161295</c:v>
                </c:pt>
                <c:pt idx="147">
                  <c:v>88.516129032258064</c:v>
                </c:pt>
                <c:pt idx="148">
                  <c:v>88.225806451612897</c:v>
                </c:pt>
                <c:pt idx="149">
                  <c:v>88.58064516129032</c:v>
                </c:pt>
                <c:pt idx="150">
                  <c:v>88.516129032258064</c:v>
                </c:pt>
                <c:pt idx="151">
                  <c:v>88.645161290322577</c:v>
                </c:pt>
                <c:pt idx="152">
                  <c:v>88.935483870967744</c:v>
                </c:pt>
                <c:pt idx="153">
                  <c:v>89.354838709677423</c:v>
                </c:pt>
                <c:pt idx="154">
                  <c:v>89.451612903225808</c:v>
                </c:pt>
                <c:pt idx="155">
                  <c:v>89.41935483870968</c:v>
                </c:pt>
                <c:pt idx="156">
                  <c:v>89.677419354838705</c:v>
                </c:pt>
                <c:pt idx="157">
                  <c:v>89.935483870967744</c:v>
                </c:pt>
                <c:pt idx="158">
                  <c:v>89.806451612903231</c:v>
                </c:pt>
                <c:pt idx="159">
                  <c:v>90.064516129032256</c:v>
                </c:pt>
                <c:pt idx="160">
                  <c:v>89.870967741935488</c:v>
                </c:pt>
                <c:pt idx="161">
                  <c:v>89.322580645161295</c:v>
                </c:pt>
                <c:pt idx="162">
                  <c:v>89.483870967741936</c:v>
                </c:pt>
                <c:pt idx="163">
                  <c:v>89.774193548387103</c:v>
                </c:pt>
                <c:pt idx="164">
                  <c:v>89.58064516129032</c:v>
                </c:pt>
                <c:pt idx="165">
                  <c:v>89.806451612903231</c:v>
                </c:pt>
                <c:pt idx="166">
                  <c:v>89.677419354838705</c:v>
                </c:pt>
                <c:pt idx="167">
                  <c:v>89.870967741935488</c:v>
                </c:pt>
                <c:pt idx="168">
                  <c:v>90.225806451612897</c:v>
                </c:pt>
                <c:pt idx="169">
                  <c:v>90.129032258064512</c:v>
                </c:pt>
                <c:pt idx="170">
                  <c:v>90.193548387096769</c:v>
                </c:pt>
                <c:pt idx="171">
                  <c:v>90.483870967741936</c:v>
                </c:pt>
                <c:pt idx="172">
                  <c:v>90</c:v>
                </c:pt>
                <c:pt idx="173">
                  <c:v>90.548387096774192</c:v>
                </c:pt>
                <c:pt idx="174">
                  <c:v>91</c:v>
                </c:pt>
                <c:pt idx="175">
                  <c:v>90.806451612903231</c:v>
                </c:pt>
                <c:pt idx="176">
                  <c:v>90.935483870967744</c:v>
                </c:pt>
                <c:pt idx="177">
                  <c:v>90.903225806451616</c:v>
                </c:pt>
                <c:pt idx="178">
                  <c:v>91.032258064516128</c:v>
                </c:pt>
                <c:pt idx="179">
                  <c:v>91.096774193548384</c:v>
                </c:pt>
                <c:pt idx="180">
                  <c:v>90.709677419354833</c:v>
                </c:pt>
                <c:pt idx="181">
                  <c:v>90.451612903225808</c:v>
                </c:pt>
                <c:pt idx="182">
                  <c:v>90.161290322580641</c:v>
                </c:pt>
                <c:pt idx="183">
                  <c:v>89.806451612903231</c:v>
                </c:pt>
                <c:pt idx="184">
                  <c:v>89.322580645161295</c:v>
                </c:pt>
                <c:pt idx="185">
                  <c:v>89.032258064516128</c:v>
                </c:pt>
                <c:pt idx="186">
                  <c:v>88.967741935483872</c:v>
                </c:pt>
                <c:pt idx="187">
                  <c:v>88.451612903225808</c:v>
                </c:pt>
                <c:pt idx="188">
                  <c:v>88.032258064516128</c:v>
                </c:pt>
                <c:pt idx="189">
                  <c:v>88.161290322580641</c:v>
                </c:pt>
                <c:pt idx="190">
                  <c:v>88.290322580645167</c:v>
                </c:pt>
                <c:pt idx="191">
                  <c:v>87.967741935483872</c:v>
                </c:pt>
                <c:pt idx="192">
                  <c:v>88.290322580645167</c:v>
                </c:pt>
                <c:pt idx="193">
                  <c:v>88.096774193548384</c:v>
                </c:pt>
                <c:pt idx="194">
                  <c:v>87.774193548387103</c:v>
                </c:pt>
                <c:pt idx="195">
                  <c:v>87.870967741935488</c:v>
                </c:pt>
                <c:pt idx="196">
                  <c:v>87.935483870967744</c:v>
                </c:pt>
                <c:pt idx="197">
                  <c:v>87.903225806451616</c:v>
                </c:pt>
                <c:pt idx="198">
                  <c:v>88</c:v>
                </c:pt>
                <c:pt idx="199">
                  <c:v>87.838709677419359</c:v>
                </c:pt>
                <c:pt idx="200">
                  <c:v>87.967741935483872</c:v>
                </c:pt>
                <c:pt idx="201">
                  <c:v>88.064516129032256</c:v>
                </c:pt>
                <c:pt idx="202">
                  <c:v>88</c:v>
                </c:pt>
                <c:pt idx="203">
                  <c:v>88.483870967741936</c:v>
                </c:pt>
                <c:pt idx="204">
                  <c:v>88.322580645161295</c:v>
                </c:pt>
                <c:pt idx="205">
                  <c:v>87.935483870967744</c:v>
                </c:pt>
                <c:pt idx="206">
                  <c:v>87.741935483870961</c:v>
                </c:pt>
                <c:pt idx="207">
                  <c:v>87.935483870967744</c:v>
                </c:pt>
                <c:pt idx="208">
                  <c:v>88.354838709677423</c:v>
                </c:pt>
                <c:pt idx="209">
                  <c:v>88.161290322580641</c:v>
                </c:pt>
                <c:pt idx="210">
                  <c:v>88.129032258064512</c:v>
                </c:pt>
                <c:pt idx="211">
                  <c:v>88.387096774193552</c:v>
                </c:pt>
                <c:pt idx="212">
                  <c:v>88.709677419354833</c:v>
                </c:pt>
                <c:pt idx="213">
                  <c:v>89.258064516129039</c:v>
                </c:pt>
                <c:pt idx="214">
                  <c:v>89.612903225806448</c:v>
                </c:pt>
                <c:pt idx="215">
                  <c:v>90.290322580645167</c:v>
                </c:pt>
                <c:pt idx="216">
                  <c:v>90.967741935483872</c:v>
                </c:pt>
                <c:pt idx="217">
                  <c:v>91.516129032258064</c:v>
                </c:pt>
                <c:pt idx="218">
                  <c:v>92.161290322580641</c:v>
                </c:pt>
                <c:pt idx="219">
                  <c:v>92.548387096774192</c:v>
                </c:pt>
                <c:pt idx="220">
                  <c:v>92.483870967741936</c:v>
                </c:pt>
                <c:pt idx="221">
                  <c:v>92.612903225806448</c:v>
                </c:pt>
                <c:pt idx="222">
                  <c:v>93.161290322580641</c:v>
                </c:pt>
                <c:pt idx="223">
                  <c:v>93.483870967741936</c:v>
                </c:pt>
                <c:pt idx="224">
                  <c:v>94.064516129032256</c:v>
                </c:pt>
                <c:pt idx="225">
                  <c:v>94.516129032258064</c:v>
                </c:pt>
                <c:pt idx="226">
                  <c:v>94.677419354838705</c:v>
                </c:pt>
                <c:pt idx="227">
                  <c:v>94.774193548387103</c:v>
                </c:pt>
                <c:pt idx="228">
                  <c:v>95.483870967741936</c:v>
                </c:pt>
                <c:pt idx="229">
                  <c:v>95.516129032258064</c:v>
                </c:pt>
                <c:pt idx="230">
                  <c:v>95.903225806451616</c:v>
                </c:pt>
                <c:pt idx="231">
                  <c:v>96.129032258064512</c:v>
                </c:pt>
                <c:pt idx="232">
                  <c:v>96.193548387096769</c:v>
                </c:pt>
                <c:pt idx="233">
                  <c:v>96.483870967741936</c:v>
                </c:pt>
                <c:pt idx="234">
                  <c:v>96.451612903225808</c:v>
                </c:pt>
                <c:pt idx="235">
                  <c:v>96.806451612903231</c:v>
                </c:pt>
                <c:pt idx="236">
                  <c:v>97.322580645161295</c:v>
                </c:pt>
                <c:pt idx="237">
                  <c:v>97.903225806451616</c:v>
                </c:pt>
                <c:pt idx="238">
                  <c:v>98.064516129032256</c:v>
                </c:pt>
                <c:pt idx="239">
                  <c:v>97.967741935483872</c:v>
                </c:pt>
                <c:pt idx="240">
                  <c:v>98.451612903225808</c:v>
                </c:pt>
                <c:pt idx="241">
                  <c:v>98.806451612903231</c:v>
                </c:pt>
                <c:pt idx="242">
                  <c:v>99.322580645161295</c:v>
                </c:pt>
                <c:pt idx="243">
                  <c:v>99.677419354838705</c:v>
                </c:pt>
                <c:pt idx="244">
                  <c:v>99.935483870967744</c:v>
                </c:pt>
                <c:pt idx="245">
                  <c:v>99.903225806451616</c:v>
                </c:pt>
                <c:pt idx="246">
                  <c:v>99.645161290322577</c:v>
                </c:pt>
                <c:pt idx="247">
                  <c:v>99.451612903225808</c:v>
                </c:pt>
                <c:pt idx="248">
                  <c:v>99.41935483870968</c:v>
                </c:pt>
                <c:pt idx="249">
                  <c:v>99.193548387096769</c:v>
                </c:pt>
                <c:pt idx="250">
                  <c:v>99.290322580645167</c:v>
                </c:pt>
                <c:pt idx="251">
                  <c:v>99.387096774193552</c:v>
                </c:pt>
                <c:pt idx="252">
                  <c:v>99.354838709677423</c:v>
                </c:pt>
                <c:pt idx="253">
                  <c:v>99.41935483870968</c:v>
                </c:pt>
                <c:pt idx="254">
                  <c:v>99.483870967741936</c:v>
                </c:pt>
                <c:pt idx="255">
                  <c:v>99.322580645161295</c:v>
                </c:pt>
                <c:pt idx="256">
                  <c:v>99.225806451612897</c:v>
                </c:pt>
                <c:pt idx="257">
                  <c:v>98.935483870967744</c:v>
                </c:pt>
                <c:pt idx="258">
                  <c:v>98.645161290322577</c:v>
                </c:pt>
                <c:pt idx="259">
                  <c:v>98.032258064516128</c:v>
                </c:pt>
                <c:pt idx="260">
                  <c:v>97.677419354838705</c:v>
                </c:pt>
                <c:pt idx="261">
                  <c:v>97.41935483870968</c:v>
                </c:pt>
                <c:pt idx="262">
                  <c:v>97.258064516129039</c:v>
                </c:pt>
                <c:pt idx="263">
                  <c:v>96.870967741935488</c:v>
                </c:pt>
                <c:pt idx="264">
                  <c:v>96.41935483870968</c:v>
                </c:pt>
                <c:pt idx="265">
                  <c:v>96.483870967741936</c:v>
                </c:pt>
                <c:pt idx="266">
                  <c:v>96.032258064516128</c:v>
                </c:pt>
                <c:pt idx="267">
                  <c:v>95.516129032258064</c:v>
                </c:pt>
                <c:pt idx="268">
                  <c:v>94.967741935483872</c:v>
                </c:pt>
                <c:pt idx="269">
                  <c:v>94.677419354838705</c:v>
                </c:pt>
                <c:pt idx="270">
                  <c:v>94.354838709677423</c:v>
                </c:pt>
                <c:pt idx="271">
                  <c:v>94.129032258064512</c:v>
                </c:pt>
                <c:pt idx="272">
                  <c:v>94</c:v>
                </c:pt>
                <c:pt idx="273">
                  <c:v>93.290322580645167</c:v>
                </c:pt>
                <c:pt idx="274">
                  <c:v>92.677419354838705</c:v>
                </c:pt>
                <c:pt idx="275">
                  <c:v>92.225806451612897</c:v>
                </c:pt>
                <c:pt idx="276">
                  <c:v>91.870967741935488</c:v>
                </c:pt>
                <c:pt idx="277">
                  <c:v>91.612903225806448</c:v>
                </c:pt>
                <c:pt idx="278">
                  <c:v>91.741935483870961</c:v>
                </c:pt>
                <c:pt idx="279">
                  <c:v>91.483870967741936</c:v>
                </c:pt>
                <c:pt idx="280">
                  <c:v>91.322580645161295</c:v>
                </c:pt>
                <c:pt idx="281">
                  <c:v>90.967741935483872</c:v>
                </c:pt>
                <c:pt idx="282">
                  <c:v>90.741935483870961</c:v>
                </c:pt>
                <c:pt idx="283">
                  <c:v>90.58064516129032</c:v>
                </c:pt>
                <c:pt idx="284">
                  <c:v>90.258064516129039</c:v>
                </c:pt>
                <c:pt idx="285">
                  <c:v>90.096774193548384</c:v>
                </c:pt>
                <c:pt idx="286">
                  <c:v>89.612903225806448</c:v>
                </c:pt>
                <c:pt idx="287">
                  <c:v>89.612903225806448</c:v>
                </c:pt>
                <c:pt idx="288">
                  <c:v>89.838709677419359</c:v>
                </c:pt>
                <c:pt idx="289">
                  <c:v>89.677419354838705</c:v>
                </c:pt>
                <c:pt idx="290">
                  <c:v>89.774193548387103</c:v>
                </c:pt>
                <c:pt idx="291">
                  <c:v>89.774193548387103</c:v>
                </c:pt>
                <c:pt idx="292">
                  <c:v>90</c:v>
                </c:pt>
                <c:pt idx="293">
                  <c:v>89.903225806451616</c:v>
                </c:pt>
                <c:pt idx="294">
                  <c:v>90.258064516129039</c:v>
                </c:pt>
                <c:pt idx="295">
                  <c:v>90.290322580645167</c:v>
                </c:pt>
                <c:pt idx="296">
                  <c:v>90.032258064516128</c:v>
                </c:pt>
                <c:pt idx="297">
                  <c:v>90.064516129032256</c:v>
                </c:pt>
                <c:pt idx="298">
                  <c:v>90.258064516129039</c:v>
                </c:pt>
                <c:pt idx="299">
                  <c:v>90.741935483870961</c:v>
                </c:pt>
                <c:pt idx="300">
                  <c:v>90.967741935483872</c:v>
                </c:pt>
                <c:pt idx="301">
                  <c:v>90.967741935483872</c:v>
                </c:pt>
                <c:pt idx="302">
                  <c:v>90.516129032258064</c:v>
                </c:pt>
                <c:pt idx="303">
                  <c:v>90.516129032258064</c:v>
                </c:pt>
                <c:pt idx="304">
                  <c:v>91.032258064516128</c:v>
                </c:pt>
                <c:pt idx="305">
                  <c:v>91.129032258064512</c:v>
                </c:pt>
                <c:pt idx="306">
                  <c:v>90.935483870967744</c:v>
                </c:pt>
                <c:pt idx="307">
                  <c:v>91.161290322580641</c:v>
                </c:pt>
                <c:pt idx="308">
                  <c:v>91.516129032258064</c:v>
                </c:pt>
                <c:pt idx="309">
                  <c:v>91.451612903225808</c:v>
                </c:pt>
                <c:pt idx="310">
                  <c:v>91.58064516129032</c:v>
                </c:pt>
                <c:pt idx="311">
                  <c:v>91.838709677419359</c:v>
                </c:pt>
                <c:pt idx="312">
                  <c:v>91.774193548387103</c:v>
                </c:pt>
                <c:pt idx="313">
                  <c:v>91.387096774193552</c:v>
                </c:pt>
                <c:pt idx="314">
                  <c:v>91.41935483870968</c:v>
                </c:pt>
                <c:pt idx="315">
                  <c:v>91.741935483870961</c:v>
                </c:pt>
                <c:pt idx="316">
                  <c:v>91.58064516129032</c:v>
                </c:pt>
                <c:pt idx="317">
                  <c:v>92.096774193548384</c:v>
                </c:pt>
                <c:pt idx="318">
                  <c:v>92.064516129032256</c:v>
                </c:pt>
                <c:pt idx="319">
                  <c:v>91.645161290322577</c:v>
                </c:pt>
                <c:pt idx="320">
                  <c:v>91.935483870967744</c:v>
                </c:pt>
                <c:pt idx="321">
                  <c:v>91.741935483870961</c:v>
                </c:pt>
                <c:pt idx="322">
                  <c:v>91.612903225806448</c:v>
                </c:pt>
                <c:pt idx="323">
                  <c:v>91.709677419354833</c:v>
                </c:pt>
                <c:pt idx="324">
                  <c:v>91.483870967741936</c:v>
                </c:pt>
                <c:pt idx="325">
                  <c:v>91.096774193548384</c:v>
                </c:pt>
                <c:pt idx="326">
                  <c:v>90.935483870967744</c:v>
                </c:pt>
                <c:pt idx="327">
                  <c:v>90.645161290322577</c:v>
                </c:pt>
                <c:pt idx="328">
                  <c:v>90.483870967741936</c:v>
                </c:pt>
                <c:pt idx="329">
                  <c:v>90.774193548387103</c:v>
                </c:pt>
                <c:pt idx="330">
                  <c:v>90.709677419354833</c:v>
                </c:pt>
                <c:pt idx="331">
                  <c:v>90.258064516129039</c:v>
                </c:pt>
                <c:pt idx="332">
                  <c:v>90.322580645161295</c:v>
                </c:pt>
                <c:pt idx="333">
                  <c:v>90.290322580645167</c:v>
                </c:pt>
                <c:pt idx="334">
                  <c:v>90.290322580645167</c:v>
                </c:pt>
                <c:pt idx="335">
                  <c:v>90.354838709677423</c:v>
                </c:pt>
                <c:pt idx="336">
                  <c:v>90.58064516129032</c:v>
                </c:pt>
                <c:pt idx="337">
                  <c:v>91</c:v>
                </c:pt>
                <c:pt idx="338">
                  <c:v>90.709677419354833</c:v>
                </c:pt>
                <c:pt idx="339">
                  <c:v>90.709677419354833</c:v>
                </c:pt>
                <c:pt idx="340">
                  <c:v>90.58064516129032</c:v>
                </c:pt>
                <c:pt idx="341">
                  <c:v>90.741935483870961</c:v>
                </c:pt>
                <c:pt idx="342">
                  <c:v>90.516129032258064</c:v>
                </c:pt>
                <c:pt idx="343">
                  <c:v>90.58064516129032</c:v>
                </c:pt>
                <c:pt idx="344">
                  <c:v>90.935483870967744</c:v>
                </c:pt>
                <c:pt idx="345">
                  <c:v>90.838709677419359</c:v>
                </c:pt>
                <c:pt idx="346">
                  <c:v>90.387096774193552</c:v>
                </c:pt>
                <c:pt idx="347">
                  <c:v>90</c:v>
                </c:pt>
                <c:pt idx="348">
                  <c:v>89.709677419354833</c:v>
                </c:pt>
                <c:pt idx="349">
                  <c:v>89.387096774193552</c:v>
                </c:pt>
                <c:pt idx="350">
                  <c:v>89.903225806451616</c:v>
                </c:pt>
                <c:pt idx="351">
                  <c:v>90.032258064516128</c:v>
                </c:pt>
                <c:pt idx="352">
                  <c:v>90.612903225806448</c:v>
                </c:pt>
                <c:pt idx="353">
                  <c:v>90.967741935483872</c:v>
                </c:pt>
                <c:pt idx="354">
                  <c:v>90.451612903225808</c:v>
                </c:pt>
                <c:pt idx="355">
                  <c:v>90.322580645161295</c:v>
                </c:pt>
                <c:pt idx="356">
                  <c:v>90.516129032258064</c:v>
                </c:pt>
                <c:pt idx="357">
                  <c:v>90.451612903225808</c:v>
                </c:pt>
                <c:pt idx="358">
                  <c:v>90.483870967741936</c:v>
                </c:pt>
                <c:pt idx="359">
                  <c:v>90.645161290322577</c:v>
                </c:pt>
                <c:pt idx="360">
                  <c:v>90.322580645161295</c:v>
                </c:pt>
                <c:pt idx="361">
                  <c:v>89.741935483870961</c:v>
                </c:pt>
                <c:pt idx="362">
                  <c:v>89.612903225806448</c:v>
                </c:pt>
                <c:pt idx="363">
                  <c:v>89.483870967741936</c:v>
                </c:pt>
                <c:pt idx="364">
                  <c:v>89.548387096774192</c:v>
                </c:pt>
                <c:pt idx="365">
                  <c:v>89.483870967741936</c:v>
                </c:pt>
                <c:pt idx="366">
                  <c:v>89.483870967741936</c:v>
                </c:pt>
                <c:pt idx="367">
                  <c:v>89.451612903225808</c:v>
                </c:pt>
                <c:pt idx="368">
                  <c:v>89.322580645161295</c:v>
                </c:pt>
                <c:pt idx="369">
                  <c:v>89.806451612903231</c:v>
                </c:pt>
                <c:pt idx="370">
                  <c:v>89.483870967741936</c:v>
                </c:pt>
                <c:pt idx="371">
                  <c:v>89.290322580645167</c:v>
                </c:pt>
                <c:pt idx="372">
                  <c:v>88.903225806451616</c:v>
                </c:pt>
                <c:pt idx="373">
                  <c:v>88.903225806451616</c:v>
                </c:pt>
                <c:pt idx="374">
                  <c:v>89.258064516129039</c:v>
                </c:pt>
                <c:pt idx="375">
                  <c:v>88.838709677419359</c:v>
                </c:pt>
                <c:pt idx="376">
                  <c:v>88.516129032258064</c:v>
                </c:pt>
                <c:pt idx="377">
                  <c:v>88.387096774193552</c:v>
                </c:pt>
                <c:pt idx="378">
                  <c:v>88.58064516129032</c:v>
                </c:pt>
                <c:pt idx="379">
                  <c:v>88.806451612903231</c:v>
                </c:pt>
                <c:pt idx="380">
                  <c:v>88.935483870967744</c:v>
                </c:pt>
                <c:pt idx="381">
                  <c:v>88.903225806451616</c:v>
                </c:pt>
                <c:pt idx="382">
                  <c:v>88.387096774193552</c:v>
                </c:pt>
                <c:pt idx="383">
                  <c:v>88</c:v>
                </c:pt>
                <c:pt idx="384">
                  <c:v>88.129032258064512</c:v>
                </c:pt>
                <c:pt idx="385">
                  <c:v>88.193548387096769</c:v>
                </c:pt>
                <c:pt idx="386">
                  <c:v>88.096774193548384</c:v>
                </c:pt>
                <c:pt idx="387">
                  <c:v>87.838709677419359</c:v>
                </c:pt>
                <c:pt idx="388">
                  <c:v>87.903225806451616</c:v>
                </c:pt>
                <c:pt idx="389">
                  <c:v>88.451612903225808</c:v>
                </c:pt>
                <c:pt idx="390">
                  <c:v>88.129032258064512</c:v>
                </c:pt>
                <c:pt idx="391">
                  <c:v>87.870967741935488</c:v>
                </c:pt>
                <c:pt idx="392">
                  <c:v>88.516129032258064</c:v>
                </c:pt>
                <c:pt idx="393">
                  <c:v>89.161290322580641</c:v>
                </c:pt>
                <c:pt idx="394">
                  <c:v>89.709677419354833</c:v>
                </c:pt>
                <c:pt idx="395">
                  <c:v>90.161290322580641</c:v>
                </c:pt>
                <c:pt idx="396">
                  <c:v>90.322580645161295</c:v>
                </c:pt>
                <c:pt idx="397">
                  <c:v>89.903225806451616</c:v>
                </c:pt>
                <c:pt idx="398">
                  <c:v>90</c:v>
                </c:pt>
                <c:pt idx="399">
                  <c:v>89.645161290322577</c:v>
                </c:pt>
                <c:pt idx="400">
                  <c:v>89.258064516129039</c:v>
                </c:pt>
                <c:pt idx="401">
                  <c:v>89.161290322580641</c:v>
                </c:pt>
                <c:pt idx="402">
                  <c:v>89.129032258064512</c:v>
                </c:pt>
                <c:pt idx="403">
                  <c:v>89.387096774193552</c:v>
                </c:pt>
                <c:pt idx="404">
                  <c:v>89.129032258064512</c:v>
                </c:pt>
                <c:pt idx="405">
                  <c:v>88.774193548387103</c:v>
                </c:pt>
                <c:pt idx="406">
                  <c:v>89.290322580645167</c:v>
                </c:pt>
                <c:pt idx="407">
                  <c:v>89.806451612903231</c:v>
                </c:pt>
                <c:pt idx="408">
                  <c:v>90.258064516129039</c:v>
                </c:pt>
                <c:pt idx="409">
                  <c:v>90.322580645161295</c:v>
                </c:pt>
                <c:pt idx="410">
                  <c:v>90.193548387096769</c:v>
                </c:pt>
                <c:pt idx="411">
                  <c:v>89.903225806451616</c:v>
                </c:pt>
                <c:pt idx="412">
                  <c:v>89.709677419354833</c:v>
                </c:pt>
                <c:pt idx="413">
                  <c:v>90</c:v>
                </c:pt>
                <c:pt idx="414">
                  <c:v>90.354838709677423</c:v>
                </c:pt>
                <c:pt idx="415">
                  <c:v>89.903225806451616</c:v>
                </c:pt>
                <c:pt idx="416">
                  <c:v>90.290322580645167</c:v>
                </c:pt>
                <c:pt idx="417">
                  <c:v>90.41935483870968</c:v>
                </c:pt>
                <c:pt idx="418">
                  <c:v>90.870967741935488</c:v>
                </c:pt>
                <c:pt idx="419">
                  <c:v>90.741935483870961</c:v>
                </c:pt>
                <c:pt idx="420">
                  <c:v>90.193548387096769</c:v>
                </c:pt>
                <c:pt idx="421">
                  <c:v>90.645161290322577</c:v>
                </c:pt>
                <c:pt idx="422">
                  <c:v>90.741935483870961</c:v>
                </c:pt>
                <c:pt idx="423">
                  <c:v>90.258064516129039</c:v>
                </c:pt>
                <c:pt idx="424">
                  <c:v>89.870967741935488</c:v>
                </c:pt>
                <c:pt idx="425">
                  <c:v>89.225806451612897</c:v>
                </c:pt>
                <c:pt idx="426">
                  <c:v>88.903225806451616</c:v>
                </c:pt>
                <c:pt idx="427">
                  <c:v>88.903225806451616</c:v>
                </c:pt>
                <c:pt idx="428">
                  <c:v>88.903225806451616</c:v>
                </c:pt>
                <c:pt idx="429">
                  <c:v>88.967741935483872</c:v>
                </c:pt>
                <c:pt idx="430">
                  <c:v>88.935483870967744</c:v>
                </c:pt>
                <c:pt idx="431">
                  <c:v>88.677419354838705</c:v>
                </c:pt>
                <c:pt idx="432">
                  <c:v>88.483870967741936</c:v>
                </c:pt>
                <c:pt idx="433">
                  <c:v>88.870967741935488</c:v>
                </c:pt>
                <c:pt idx="434">
                  <c:v>89</c:v>
                </c:pt>
                <c:pt idx="435">
                  <c:v>89.290322580645167</c:v>
                </c:pt>
                <c:pt idx="436">
                  <c:v>89.161290322580641</c:v>
                </c:pt>
                <c:pt idx="437">
                  <c:v>88.645161290322577</c:v>
                </c:pt>
                <c:pt idx="438">
                  <c:v>88.741935483870961</c:v>
                </c:pt>
                <c:pt idx="439">
                  <c:v>88.322580645161295</c:v>
                </c:pt>
                <c:pt idx="440">
                  <c:v>88.387096774193552</c:v>
                </c:pt>
                <c:pt idx="441">
                  <c:v>88.41935483870968</c:v>
                </c:pt>
                <c:pt idx="442">
                  <c:v>88.677419354838705</c:v>
                </c:pt>
                <c:pt idx="443">
                  <c:v>88.709677419354833</c:v>
                </c:pt>
                <c:pt idx="444">
                  <c:v>88.451612903225808</c:v>
                </c:pt>
                <c:pt idx="445">
                  <c:v>87.903225806451616</c:v>
                </c:pt>
                <c:pt idx="446">
                  <c:v>88.129032258064512</c:v>
                </c:pt>
                <c:pt idx="447">
                  <c:v>87.645161290322577</c:v>
                </c:pt>
                <c:pt idx="448">
                  <c:v>87.967741935483872</c:v>
                </c:pt>
                <c:pt idx="449">
                  <c:v>87.709677419354833</c:v>
                </c:pt>
                <c:pt idx="450">
                  <c:v>88.354838709677423</c:v>
                </c:pt>
                <c:pt idx="451">
                  <c:v>88.322580645161295</c:v>
                </c:pt>
                <c:pt idx="452">
                  <c:v>87.935483870967744</c:v>
                </c:pt>
                <c:pt idx="453">
                  <c:v>87.870967741935488</c:v>
                </c:pt>
                <c:pt idx="454">
                  <c:v>88.322580645161295</c:v>
                </c:pt>
                <c:pt idx="455">
                  <c:v>88.709677419354833</c:v>
                </c:pt>
                <c:pt idx="456">
                  <c:v>89.129032258064512</c:v>
                </c:pt>
                <c:pt idx="457">
                  <c:v>89.516129032258064</c:v>
                </c:pt>
                <c:pt idx="458">
                  <c:v>89.290322580645167</c:v>
                </c:pt>
                <c:pt idx="459">
                  <c:v>89.387096774193552</c:v>
                </c:pt>
                <c:pt idx="460">
                  <c:v>88.741935483870961</c:v>
                </c:pt>
                <c:pt idx="461">
                  <c:v>88.741935483870961</c:v>
                </c:pt>
                <c:pt idx="462">
                  <c:v>88.741935483870961</c:v>
                </c:pt>
                <c:pt idx="463">
                  <c:v>88.903225806451616</c:v>
                </c:pt>
                <c:pt idx="464">
                  <c:v>88.483870967741936</c:v>
                </c:pt>
                <c:pt idx="465">
                  <c:v>88.41935483870968</c:v>
                </c:pt>
                <c:pt idx="466">
                  <c:v>88.225806451612897</c:v>
                </c:pt>
                <c:pt idx="467">
                  <c:v>88.645161290322577</c:v>
                </c:pt>
                <c:pt idx="468">
                  <c:v>88.677419354838705</c:v>
                </c:pt>
                <c:pt idx="469">
                  <c:v>88.258064516129039</c:v>
                </c:pt>
                <c:pt idx="470">
                  <c:v>88.516129032258064</c:v>
                </c:pt>
                <c:pt idx="471">
                  <c:v>88.290322580645167</c:v>
                </c:pt>
                <c:pt idx="472">
                  <c:v>88.451612903225808</c:v>
                </c:pt>
                <c:pt idx="473">
                  <c:v>88.741935483870961</c:v>
                </c:pt>
                <c:pt idx="474">
                  <c:v>88.838709677419359</c:v>
                </c:pt>
                <c:pt idx="475">
                  <c:v>89.096774193548384</c:v>
                </c:pt>
                <c:pt idx="476">
                  <c:v>89.451612903225808</c:v>
                </c:pt>
                <c:pt idx="477">
                  <c:v>89.677419354838705</c:v>
                </c:pt>
                <c:pt idx="478">
                  <c:v>89.741935483870961</c:v>
                </c:pt>
                <c:pt idx="479">
                  <c:v>89.709677419354833</c:v>
                </c:pt>
                <c:pt idx="480">
                  <c:v>89.806451612903231</c:v>
                </c:pt>
                <c:pt idx="481">
                  <c:v>89.354838709677423</c:v>
                </c:pt>
                <c:pt idx="482">
                  <c:v>89.645161290322577</c:v>
                </c:pt>
                <c:pt idx="483">
                  <c:v>90.193548387096769</c:v>
                </c:pt>
                <c:pt idx="484">
                  <c:v>90.709677419354833</c:v>
                </c:pt>
                <c:pt idx="485">
                  <c:v>90.612903225806448</c:v>
                </c:pt>
                <c:pt idx="486">
                  <c:v>90.387096774193552</c:v>
                </c:pt>
                <c:pt idx="487">
                  <c:v>90.516129032258064</c:v>
                </c:pt>
                <c:pt idx="488">
                  <c:v>90.064516129032256</c:v>
                </c:pt>
                <c:pt idx="489">
                  <c:v>90.258064516129039</c:v>
                </c:pt>
                <c:pt idx="490">
                  <c:v>90.58064516129032</c:v>
                </c:pt>
                <c:pt idx="491">
                  <c:v>90.935483870967744</c:v>
                </c:pt>
                <c:pt idx="492">
                  <c:v>91.161290322580641</c:v>
                </c:pt>
                <c:pt idx="493">
                  <c:v>91.322580645161295</c:v>
                </c:pt>
                <c:pt idx="494">
                  <c:v>91.58064516129032</c:v>
                </c:pt>
                <c:pt idx="495">
                  <c:v>91.645161290322577</c:v>
                </c:pt>
                <c:pt idx="496">
                  <c:v>91.161290322580641</c:v>
                </c:pt>
                <c:pt idx="497">
                  <c:v>91.258064516129039</c:v>
                </c:pt>
                <c:pt idx="498">
                  <c:v>91.161290322580641</c:v>
                </c:pt>
                <c:pt idx="499">
                  <c:v>91.258064516129039</c:v>
                </c:pt>
                <c:pt idx="500">
                  <c:v>91.193548387096769</c:v>
                </c:pt>
                <c:pt idx="501">
                  <c:v>91.354838709677423</c:v>
                </c:pt>
                <c:pt idx="502">
                  <c:v>91.709677419354833</c:v>
                </c:pt>
                <c:pt idx="503">
                  <c:v>91.58064516129032</c:v>
                </c:pt>
                <c:pt idx="504">
                  <c:v>91.645161290322577</c:v>
                </c:pt>
                <c:pt idx="505">
                  <c:v>91.225806451612897</c:v>
                </c:pt>
                <c:pt idx="506">
                  <c:v>91.548387096774192</c:v>
                </c:pt>
                <c:pt idx="507">
                  <c:v>91.806451612903231</c:v>
                </c:pt>
                <c:pt idx="508">
                  <c:v>91.677419354838705</c:v>
                </c:pt>
                <c:pt idx="509">
                  <c:v>92.032258064516128</c:v>
                </c:pt>
                <c:pt idx="510">
                  <c:v>91.838709677419359</c:v>
                </c:pt>
                <c:pt idx="511">
                  <c:v>91.548387096774192</c:v>
                </c:pt>
                <c:pt idx="512">
                  <c:v>91.774193548387103</c:v>
                </c:pt>
                <c:pt idx="513">
                  <c:v>92</c:v>
                </c:pt>
                <c:pt idx="514">
                  <c:v>91.870967741935488</c:v>
                </c:pt>
                <c:pt idx="515">
                  <c:v>91.645161290322577</c:v>
                </c:pt>
                <c:pt idx="516">
                  <c:v>91.451612903225808</c:v>
                </c:pt>
                <c:pt idx="517">
                  <c:v>91.161290322580641</c:v>
                </c:pt>
                <c:pt idx="518">
                  <c:v>90.677419354838705</c:v>
                </c:pt>
                <c:pt idx="519">
                  <c:v>90.774193548387103</c:v>
                </c:pt>
                <c:pt idx="520">
                  <c:v>90.903225806451616</c:v>
                </c:pt>
                <c:pt idx="521">
                  <c:v>90.354838709677423</c:v>
                </c:pt>
                <c:pt idx="522">
                  <c:v>90.645161290322577</c:v>
                </c:pt>
                <c:pt idx="523">
                  <c:v>90.870967741935488</c:v>
                </c:pt>
                <c:pt idx="524">
                  <c:v>90.741935483870961</c:v>
                </c:pt>
                <c:pt idx="525">
                  <c:v>90.451612903225808</c:v>
                </c:pt>
                <c:pt idx="526">
                  <c:v>90.677419354838705</c:v>
                </c:pt>
                <c:pt idx="527">
                  <c:v>91.161290322580641</c:v>
                </c:pt>
                <c:pt idx="528">
                  <c:v>91.387096774193552</c:v>
                </c:pt>
                <c:pt idx="529">
                  <c:v>91.258064516129039</c:v>
                </c:pt>
                <c:pt idx="530">
                  <c:v>91.322580645161295</c:v>
                </c:pt>
                <c:pt idx="531">
                  <c:v>91.387096774193552</c:v>
                </c:pt>
                <c:pt idx="532">
                  <c:v>91.516129032258064</c:v>
                </c:pt>
                <c:pt idx="533">
                  <c:v>91.290322580645167</c:v>
                </c:pt>
                <c:pt idx="534">
                  <c:v>91.064516129032256</c:v>
                </c:pt>
                <c:pt idx="535">
                  <c:v>90.709677419354833</c:v>
                </c:pt>
                <c:pt idx="536">
                  <c:v>91.258064516129039</c:v>
                </c:pt>
                <c:pt idx="537">
                  <c:v>91.225806451612897</c:v>
                </c:pt>
                <c:pt idx="538">
                  <c:v>90.870967741935488</c:v>
                </c:pt>
                <c:pt idx="539">
                  <c:v>90.387096774193552</c:v>
                </c:pt>
                <c:pt idx="540">
                  <c:v>90</c:v>
                </c:pt>
                <c:pt idx="541">
                  <c:v>90</c:v>
                </c:pt>
                <c:pt idx="542">
                  <c:v>90.129032258064512</c:v>
                </c:pt>
                <c:pt idx="543">
                  <c:v>90.096774193548384</c:v>
                </c:pt>
                <c:pt idx="544">
                  <c:v>90.161290322580641</c:v>
                </c:pt>
                <c:pt idx="545">
                  <c:v>90.096774193548384</c:v>
                </c:pt>
                <c:pt idx="546">
                  <c:v>89.870967741935488</c:v>
                </c:pt>
                <c:pt idx="547">
                  <c:v>89.58064516129032</c:v>
                </c:pt>
                <c:pt idx="548">
                  <c:v>89.935483870967744</c:v>
                </c:pt>
                <c:pt idx="549">
                  <c:v>89.967741935483872</c:v>
                </c:pt>
                <c:pt idx="550">
                  <c:v>89.741935483870961</c:v>
                </c:pt>
                <c:pt idx="551">
                  <c:v>89.709677419354833</c:v>
                </c:pt>
                <c:pt idx="552">
                  <c:v>89.967741935483872</c:v>
                </c:pt>
                <c:pt idx="553">
                  <c:v>89.322580645161295</c:v>
                </c:pt>
                <c:pt idx="554">
                  <c:v>89.129032258064512</c:v>
                </c:pt>
                <c:pt idx="555">
                  <c:v>89.516129032258064</c:v>
                </c:pt>
                <c:pt idx="556">
                  <c:v>89.41935483870968</c:v>
                </c:pt>
                <c:pt idx="557">
                  <c:v>89.258064516129039</c:v>
                </c:pt>
                <c:pt idx="558">
                  <c:v>88.838709677419359</c:v>
                </c:pt>
                <c:pt idx="559">
                  <c:v>88.290322580645167</c:v>
                </c:pt>
                <c:pt idx="560">
                  <c:v>88.161290322580641</c:v>
                </c:pt>
                <c:pt idx="561">
                  <c:v>88.451612903225808</c:v>
                </c:pt>
                <c:pt idx="562">
                  <c:v>88.806451612903231</c:v>
                </c:pt>
                <c:pt idx="563">
                  <c:v>88.774193548387103</c:v>
                </c:pt>
                <c:pt idx="564">
                  <c:v>88.741935483870961</c:v>
                </c:pt>
                <c:pt idx="565">
                  <c:v>89.064516129032256</c:v>
                </c:pt>
                <c:pt idx="566">
                  <c:v>89.290322580645167</c:v>
                </c:pt>
                <c:pt idx="567">
                  <c:v>88.903225806451616</c:v>
                </c:pt>
                <c:pt idx="568">
                  <c:v>88.870967741935488</c:v>
                </c:pt>
                <c:pt idx="569">
                  <c:v>89.225806451612897</c:v>
                </c:pt>
                <c:pt idx="570">
                  <c:v>89.645161290322577</c:v>
                </c:pt>
                <c:pt idx="571">
                  <c:v>89.58064516129032</c:v>
                </c:pt>
                <c:pt idx="572">
                  <c:v>89.387096774193552</c:v>
                </c:pt>
                <c:pt idx="573">
                  <c:v>89.870967741935488</c:v>
                </c:pt>
                <c:pt idx="574">
                  <c:v>89.870967741935488</c:v>
                </c:pt>
                <c:pt idx="575">
                  <c:v>89.483870967741936</c:v>
                </c:pt>
                <c:pt idx="576">
                  <c:v>89.322580645161295</c:v>
                </c:pt>
                <c:pt idx="577">
                  <c:v>89.645161290322577</c:v>
                </c:pt>
                <c:pt idx="578">
                  <c:v>89.774193548387103</c:v>
                </c:pt>
                <c:pt idx="579">
                  <c:v>89.322580645161295</c:v>
                </c:pt>
                <c:pt idx="580">
                  <c:v>89.322580645161295</c:v>
                </c:pt>
                <c:pt idx="581">
                  <c:v>89.483870967741936</c:v>
                </c:pt>
                <c:pt idx="582">
                  <c:v>89.41935483870968</c:v>
                </c:pt>
                <c:pt idx="583">
                  <c:v>89.290322580645167</c:v>
                </c:pt>
                <c:pt idx="584">
                  <c:v>89.645161290322577</c:v>
                </c:pt>
                <c:pt idx="585">
                  <c:v>89.354838709677423</c:v>
                </c:pt>
                <c:pt idx="586">
                  <c:v>89.451612903225808</c:v>
                </c:pt>
                <c:pt idx="587">
                  <c:v>89.41935483870968</c:v>
                </c:pt>
                <c:pt idx="588">
                  <c:v>89.096774193548384</c:v>
                </c:pt>
                <c:pt idx="589">
                  <c:v>89.290322580645167</c:v>
                </c:pt>
                <c:pt idx="590">
                  <c:v>89.645161290322577</c:v>
                </c:pt>
                <c:pt idx="591">
                  <c:v>89.774193548387103</c:v>
                </c:pt>
                <c:pt idx="592">
                  <c:v>89.935483870967744</c:v>
                </c:pt>
                <c:pt idx="593">
                  <c:v>89.612903225806448</c:v>
                </c:pt>
                <c:pt idx="594">
                  <c:v>89.032258064516128</c:v>
                </c:pt>
                <c:pt idx="595">
                  <c:v>88.967741935483872</c:v>
                </c:pt>
                <c:pt idx="596">
                  <c:v>88.677419354838705</c:v>
                </c:pt>
                <c:pt idx="597">
                  <c:v>88.290322580645167</c:v>
                </c:pt>
                <c:pt idx="598">
                  <c:v>88.161290322580641</c:v>
                </c:pt>
                <c:pt idx="599">
                  <c:v>88.032258064516128</c:v>
                </c:pt>
                <c:pt idx="600">
                  <c:v>88</c:v>
                </c:pt>
                <c:pt idx="601">
                  <c:v>88.161290322580641</c:v>
                </c:pt>
                <c:pt idx="602">
                  <c:v>88.645161290322577</c:v>
                </c:pt>
                <c:pt idx="603">
                  <c:v>89.354838709677423</c:v>
                </c:pt>
                <c:pt idx="604">
                  <c:v>89.290322580645167</c:v>
                </c:pt>
                <c:pt idx="605">
                  <c:v>89.387096774193552</c:v>
                </c:pt>
                <c:pt idx="606">
                  <c:v>89.806451612903231</c:v>
                </c:pt>
                <c:pt idx="607">
                  <c:v>90.225806451612897</c:v>
                </c:pt>
                <c:pt idx="608">
                  <c:v>90.354838709677423</c:v>
                </c:pt>
                <c:pt idx="609">
                  <c:v>90.806451612903231</c:v>
                </c:pt>
                <c:pt idx="610">
                  <c:v>91.483870967741936</c:v>
                </c:pt>
                <c:pt idx="611">
                  <c:v>92.193548387096769</c:v>
                </c:pt>
                <c:pt idx="612">
                  <c:v>92.516129032258064</c:v>
                </c:pt>
                <c:pt idx="613">
                  <c:v>92.645161290322577</c:v>
                </c:pt>
                <c:pt idx="614">
                  <c:v>93.161290322580641</c:v>
                </c:pt>
                <c:pt idx="615">
                  <c:v>93.290322580645167</c:v>
                </c:pt>
                <c:pt idx="616">
                  <c:v>93.741935483870961</c:v>
                </c:pt>
                <c:pt idx="617">
                  <c:v>93.709677419354833</c:v>
                </c:pt>
                <c:pt idx="618">
                  <c:v>94.290322580645167</c:v>
                </c:pt>
                <c:pt idx="619">
                  <c:v>94.967741935483872</c:v>
                </c:pt>
                <c:pt idx="620">
                  <c:v>95.290322580645167</c:v>
                </c:pt>
                <c:pt idx="621">
                  <c:v>95.451612903225808</c:v>
                </c:pt>
                <c:pt idx="622">
                  <c:v>95.709677419354833</c:v>
                </c:pt>
                <c:pt idx="623">
                  <c:v>95.709677419354833</c:v>
                </c:pt>
                <c:pt idx="624">
                  <c:v>96.064516129032256</c:v>
                </c:pt>
                <c:pt idx="625">
                  <c:v>96.838709677419359</c:v>
                </c:pt>
                <c:pt idx="626">
                  <c:v>97.516129032258064</c:v>
                </c:pt>
                <c:pt idx="627">
                  <c:v>98.064516129032256</c:v>
                </c:pt>
                <c:pt idx="628">
                  <c:v>98.677419354838705</c:v>
                </c:pt>
                <c:pt idx="629">
                  <c:v>99.193548387096769</c:v>
                </c:pt>
                <c:pt idx="630">
                  <c:v>99.290322580645167</c:v>
                </c:pt>
                <c:pt idx="631">
                  <c:v>99.387096774193552</c:v>
                </c:pt>
                <c:pt idx="632">
                  <c:v>99.354838709677423</c:v>
                </c:pt>
                <c:pt idx="633">
                  <c:v>99.290322580645167</c:v>
                </c:pt>
                <c:pt idx="634">
                  <c:v>99.032258064516128</c:v>
                </c:pt>
                <c:pt idx="635">
                  <c:v>99.193548387096769</c:v>
                </c:pt>
                <c:pt idx="636">
                  <c:v>99.451612903225808</c:v>
                </c:pt>
                <c:pt idx="637">
                  <c:v>99.387096774193552</c:v>
                </c:pt>
                <c:pt idx="638">
                  <c:v>99.290322580645167</c:v>
                </c:pt>
                <c:pt idx="639">
                  <c:v>99.41935483870968</c:v>
                </c:pt>
                <c:pt idx="640">
                  <c:v>99.354838709677423</c:v>
                </c:pt>
                <c:pt idx="641">
                  <c:v>99.193548387096769</c:v>
                </c:pt>
                <c:pt idx="642">
                  <c:v>98.967741935483872</c:v>
                </c:pt>
                <c:pt idx="643">
                  <c:v>99.290322580645167</c:v>
                </c:pt>
                <c:pt idx="644">
                  <c:v>99.290322580645167</c:v>
                </c:pt>
                <c:pt idx="645">
                  <c:v>99.322580645161295</c:v>
                </c:pt>
                <c:pt idx="646">
                  <c:v>99.483870967741936</c:v>
                </c:pt>
                <c:pt idx="647">
                  <c:v>99.516129032258064</c:v>
                </c:pt>
                <c:pt idx="648">
                  <c:v>99.612903225806448</c:v>
                </c:pt>
                <c:pt idx="649">
                  <c:v>99.032258064516128</c:v>
                </c:pt>
                <c:pt idx="650">
                  <c:v>98.58064516129032</c:v>
                </c:pt>
                <c:pt idx="651">
                  <c:v>98.322580645161295</c:v>
                </c:pt>
                <c:pt idx="652">
                  <c:v>97.870967741935488</c:v>
                </c:pt>
                <c:pt idx="653">
                  <c:v>97.258064516129039</c:v>
                </c:pt>
                <c:pt idx="654">
                  <c:v>97.225806451612897</c:v>
                </c:pt>
                <c:pt idx="655">
                  <c:v>96.709677419354833</c:v>
                </c:pt>
                <c:pt idx="656">
                  <c:v>96.258064516129039</c:v>
                </c:pt>
                <c:pt idx="657">
                  <c:v>95.709677419354833</c:v>
                </c:pt>
                <c:pt idx="658">
                  <c:v>95.258064516129039</c:v>
                </c:pt>
                <c:pt idx="659">
                  <c:v>94.58064516129032</c:v>
                </c:pt>
                <c:pt idx="660">
                  <c:v>94.032258064516128</c:v>
                </c:pt>
                <c:pt idx="661">
                  <c:v>93.935483870967744</c:v>
                </c:pt>
                <c:pt idx="662">
                  <c:v>93.58064516129032</c:v>
                </c:pt>
                <c:pt idx="663">
                  <c:v>93.354838709677423</c:v>
                </c:pt>
                <c:pt idx="664">
                  <c:v>93.516129032258064</c:v>
                </c:pt>
                <c:pt idx="665">
                  <c:v>93.451612903225808</c:v>
                </c:pt>
                <c:pt idx="666">
                  <c:v>93.032258064516128</c:v>
                </c:pt>
                <c:pt idx="667">
                  <c:v>92.774193548387103</c:v>
                </c:pt>
                <c:pt idx="668">
                  <c:v>92.387096774193552</c:v>
                </c:pt>
                <c:pt idx="669">
                  <c:v>92</c:v>
                </c:pt>
                <c:pt idx="670">
                  <c:v>91.612903225806448</c:v>
                </c:pt>
                <c:pt idx="671">
                  <c:v>91.645161290322577</c:v>
                </c:pt>
                <c:pt idx="672">
                  <c:v>91.322580645161295</c:v>
                </c:pt>
                <c:pt idx="673">
                  <c:v>91.032258064516128</c:v>
                </c:pt>
                <c:pt idx="674">
                  <c:v>90.387096774193552</c:v>
                </c:pt>
                <c:pt idx="675">
                  <c:v>90.354838709677423</c:v>
                </c:pt>
                <c:pt idx="676">
                  <c:v>90.225806451612897</c:v>
                </c:pt>
                <c:pt idx="677">
                  <c:v>90.032258064516128</c:v>
                </c:pt>
                <c:pt idx="678">
                  <c:v>90</c:v>
                </c:pt>
                <c:pt idx="679">
                  <c:v>89.838709677419359</c:v>
                </c:pt>
                <c:pt idx="680">
                  <c:v>90.032258064516128</c:v>
                </c:pt>
                <c:pt idx="681">
                  <c:v>90.322580645161295</c:v>
                </c:pt>
                <c:pt idx="682">
                  <c:v>90.193548387096769</c:v>
                </c:pt>
                <c:pt idx="683">
                  <c:v>90.548387096774192</c:v>
                </c:pt>
                <c:pt idx="684">
                  <c:v>90.548387096774192</c:v>
                </c:pt>
                <c:pt idx="685">
                  <c:v>90.096774193548384</c:v>
                </c:pt>
                <c:pt idx="686">
                  <c:v>90.645161290322577</c:v>
                </c:pt>
                <c:pt idx="687">
                  <c:v>90.612903225806448</c:v>
                </c:pt>
                <c:pt idx="688">
                  <c:v>90.838709677419359</c:v>
                </c:pt>
                <c:pt idx="689">
                  <c:v>90.806451612903231</c:v>
                </c:pt>
                <c:pt idx="690">
                  <c:v>91.064516129032256</c:v>
                </c:pt>
                <c:pt idx="691">
                  <c:v>91.258064516129039</c:v>
                </c:pt>
                <c:pt idx="692">
                  <c:v>91.096774193548384</c:v>
                </c:pt>
                <c:pt idx="693">
                  <c:v>90.838709677419359</c:v>
                </c:pt>
                <c:pt idx="694">
                  <c:v>90.870967741935488</c:v>
                </c:pt>
                <c:pt idx="695">
                  <c:v>90.741935483870961</c:v>
                </c:pt>
                <c:pt idx="696">
                  <c:v>90.967741935483872</c:v>
                </c:pt>
                <c:pt idx="697">
                  <c:v>90.838709677419359</c:v>
                </c:pt>
                <c:pt idx="698">
                  <c:v>90.838709677419359</c:v>
                </c:pt>
                <c:pt idx="699">
                  <c:v>91.258064516129039</c:v>
                </c:pt>
                <c:pt idx="700">
                  <c:v>91.290322580645167</c:v>
                </c:pt>
                <c:pt idx="701">
                  <c:v>90.967741935483872</c:v>
                </c:pt>
                <c:pt idx="702">
                  <c:v>90.677419354838705</c:v>
                </c:pt>
                <c:pt idx="703">
                  <c:v>90.645161290322577</c:v>
                </c:pt>
                <c:pt idx="704">
                  <c:v>90.451612903225808</c:v>
                </c:pt>
                <c:pt idx="705">
                  <c:v>90.548387096774192</c:v>
                </c:pt>
                <c:pt idx="706">
                  <c:v>90.032258064516128</c:v>
                </c:pt>
                <c:pt idx="707">
                  <c:v>89.838709677419359</c:v>
                </c:pt>
                <c:pt idx="708">
                  <c:v>89.516129032258064</c:v>
                </c:pt>
                <c:pt idx="709">
                  <c:v>89.064516129032256</c:v>
                </c:pt>
                <c:pt idx="710">
                  <c:v>89.193548387096769</c:v>
                </c:pt>
                <c:pt idx="711">
                  <c:v>89.225806451612897</c:v>
                </c:pt>
                <c:pt idx="712">
                  <c:v>88.838709677419359</c:v>
                </c:pt>
                <c:pt idx="713">
                  <c:v>88.935483870967744</c:v>
                </c:pt>
                <c:pt idx="714">
                  <c:v>88.548387096774192</c:v>
                </c:pt>
                <c:pt idx="715">
                  <c:v>88.645161290322577</c:v>
                </c:pt>
                <c:pt idx="716">
                  <c:v>88.516129032258064</c:v>
                </c:pt>
                <c:pt idx="717">
                  <c:v>88.322580645161295</c:v>
                </c:pt>
                <c:pt idx="718">
                  <c:v>88.161290322580641</c:v>
                </c:pt>
                <c:pt idx="719">
                  <c:v>87.741935483870961</c:v>
                </c:pt>
                <c:pt idx="720">
                  <c:v>87.870967741935488</c:v>
                </c:pt>
                <c:pt idx="721">
                  <c:v>88.096774193548384</c:v>
                </c:pt>
                <c:pt idx="722">
                  <c:v>88.096774193548384</c:v>
                </c:pt>
                <c:pt idx="723">
                  <c:v>88.129032258064512</c:v>
                </c:pt>
                <c:pt idx="724">
                  <c:v>88.322580645161295</c:v>
                </c:pt>
                <c:pt idx="725">
                  <c:v>88.58064516129032</c:v>
                </c:pt>
                <c:pt idx="726">
                  <c:v>88.290322580645167</c:v>
                </c:pt>
                <c:pt idx="727">
                  <c:v>87.903225806451616</c:v>
                </c:pt>
                <c:pt idx="728">
                  <c:v>87.935483870967744</c:v>
                </c:pt>
                <c:pt idx="729">
                  <c:v>88.032258064516128</c:v>
                </c:pt>
                <c:pt idx="730">
                  <c:v>87.709677419354833</c:v>
                </c:pt>
                <c:pt idx="731">
                  <c:v>87.645161290322577</c:v>
                </c:pt>
                <c:pt idx="732">
                  <c:v>87.806451612903231</c:v>
                </c:pt>
                <c:pt idx="733">
                  <c:v>87.645161290322577</c:v>
                </c:pt>
                <c:pt idx="734">
                  <c:v>87.58064516129032</c:v>
                </c:pt>
                <c:pt idx="735">
                  <c:v>87.645161290322577</c:v>
                </c:pt>
                <c:pt idx="736">
                  <c:v>87.41935483870968</c:v>
                </c:pt>
                <c:pt idx="737">
                  <c:v>87.838709677419359</c:v>
                </c:pt>
                <c:pt idx="738">
                  <c:v>88</c:v>
                </c:pt>
                <c:pt idx="739">
                  <c:v>88</c:v>
                </c:pt>
                <c:pt idx="740">
                  <c:v>88</c:v>
                </c:pt>
                <c:pt idx="741">
                  <c:v>87.58064516129032</c:v>
                </c:pt>
                <c:pt idx="742">
                  <c:v>87.612903225806448</c:v>
                </c:pt>
                <c:pt idx="743">
                  <c:v>88.064516129032256</c:v>
                </c:pt>
                <c:pt idx="744">
                  <c:v>88</c:v>
                </c:pt>
                <c:pt idx="745">
                  <c:v>88.387096774193552</c:v>
                </c:pt>
                <c:pt idx="746">
                  <c:v>88.935483870967744</c:v>
                </c:pt>
                <c:pt idx="747">
                  <c:v>89.129032258064512</c:v>
                </c:pt>
                <c:pt idx="748">
                  <c:v>89</c:v>
                </c:pt>
                <c:pt idx="749">
                  <c:v>89.451612903225808</c:v>
                </c:pt>
                <c:pt idx="750">
                  <c:v>89.41935483870968</c:v>
                </c:pt>
                <c:pt idx="751">
                  <c:v>89.677419354838705</c:v>
                </c:pt>
                <c:pt idx="752">
                  <c:v>89.354838709677423</c:v>
                </c:pt>
                <c:pt idx="753">
                  <c:v>89.354838709677423</c:v>
                </c:pt>
                <c:pt idx="754">
                  <c:v>89.129032258064512</c:v>
                </c:pt>
                <c:pt idx="755">
                  <c:v>89.387096774193552</c:v>
                </c:pt>
                <c:pt idx="756">
                  <c:v>89.290322580645167</c:v>
                </c:pt>
                <c:pt idx="757">
                  <c:v>89.387096774193552</c:v>
                </c:pt>
                <c:pt idx="758">
                  <c:v>89.161290322580641</c:v>
                </c:pt>
                <c:pt idx="759">
                  <c:v>89</c:v>
                </c:pt>
                <c:pt idx="760">
                  <c:v>88.516129032258064</c:v>
                </c:pt>
                <c:pt idx="761">
                  <c:v>88.548387096774192</c:v>
                </c:pt>
                <c:pt idx="762">
                  <c:v>88.741935483870961</c:v>
                </c:pt>
                <c:pt idx="763">
                  <c:v>89</c:v>
                </c:pt>
                <c:pt idx="764">
                  <c:v>89.322580645161295</c:v>
                </c:pt>
                <c:pt idx="765">
                  <c:v>89.645161290322577</c:v>
                </c:pt>
                <c:pt idx="766">
                  <c:v>89.903225806451616</c:v>
                </c:pt>
                <c:pt idx="767">
                  <c:v>90.064516129032256</c:v>
                </c:pt>
                <c:pt idx="768">
                  <c:v>89.741935483870961</c:v>
                </c:pt>
                <c:pt idx="769">
                  <c:v>89.322580645161295</c:v>
                </c:pt>
                <c:pt idx="770">
                  <c:v>89.193548387096769</c:v>
                </c:pt>
                <c:pt idx="771">
                  <c:v>89.645161290322577</c:v>
                </c:pt>
                <c:pt idx="772">
                  <c:v>90.064516129032256</c:v>
                </c:pt>
                <c:pt idx="773">
                  <c:v>90.193548387096769</c:v>
                </c:pt>
                <c:pt idx="774">
                  <c:v>89.838709677419359</c:v>
                </c:pt>
                <c:pt idx="775">
                  <c:v>89.903225806451616</c:v>
                </c:pt>
                <c:pt idx="776">
                  <c:v>90.064516129032256</c:v>
                </c:pt>
                <c:pt idx="777">
                  <c:v>89.870967741935488</c:v>
                </c:pt>
                <c:pt idx="778">
                  <c:v>90.161290322580641</c:v>
                </c:pt>
                <c:pt idx="779">
                  <c:v>90.032258064516128</c:v>
                </c:pt>
                <c:pt idx="780">
                  <c:v>89.677419354838705</c:v>
                </c:pt>
                <c:pt idx="781">
                  <c:v>90.258064516129039</c:v>
                </c:pt>
                <c:pt idx="782">
                  <c:v>90</c:v>
                </c:pt>
                <c:pt idx="783">
                  <c:v>89.806451612903231</c:v>
                </c:pt>
                <c:pt idx="784">
                  <c:v>89.806451612903231</c:v>
                </c:pt>
                <c:pt idx="785">
                  <c:v>89.741935483870961</c:v>
                </c:pt>
                <c:pt idx="786">
                  <c:v>89.483870967741936</c:v>
                </c:pt>
                <c:pt idx="787">
                  <c:v>89.612903225806448</c:v>
                </c:pt>
                <c:pt idx="788">
                  <c:v>89.677419354838705</c:v>
                </c:pt>
                <c:pt idx="789">
                  <c:v>90</c:v>
                </c:pt>
                <c:pt idx="790">
                  <c:v>90.193548387096769</c:v>
                </c:pt>
                <c:pt idx="791">
                  <c:v>90.290322580645167</c:v>
                </c:pt>
                <c:pt idx="792">
                  <c:v>90</c:v>
                </c:pt>
                <c:pt idx="793">
                  <c:v>90.225806451612897</c:v>
                </c:pt>
                <c:pt idx="794">
                  <c:v>90.193548387096769</c:v>
                </c:pt>
                <c:pt idx="795">
                  <c:v>90.032258064516128</c:v>
                </c:pt>
                <c:pt idx="796">
                  <c:v>90.129032258064512</c:v>
                </c:pt>
                <c:pt idx="797">
                  <c:v>89.903225806451616</c:v>
                </c:pt>
                <c:pt idx="798">
                  <c:v>90.129032258064512</c:v>
                </c:pt>
                <c:pt idx="799">
                  <c:v>90.258064516129039</c:v>
                </c:pt>
                <c:pt idx="800">
                  <c:v>90.548387096774192</c:v>
                </c:pt>
                <c:pt idx="801">
                  <c:v>90.709677419354833</c:v>
                </c:pt>
                <c:pt idx="802">
                  <c:v>90.645161290322577</c:v>
                </c:pt>
                <c:pt idx="803">
                  <c:v>90.612903225806448</c:v>
                </c:pt>
                <c:pt idx="804">
                  <c:v>90.258064516129039</c:v>
                </c:pt>
                <c:pt idx="805">
                  <c:v>90.483870967741936</c:v>
                </c:pt>
                <c:pt idx="806">
                  <c:v>90.129032258064512</c:v>
                </c:pt>
                <c:pt idx="807">
                  <c:v>89.935483870967744</c:v>
                </c:pt>
                <c:pt idx="808">
                  <c:v>89.612903225806448</c:v>
                </c:pt>
                <c:pt idx="809">
                  <c:v>89.516129032258064</c:v>
                </c:pt>
                <c:pt idx="810">
                  <c:v>89.741935483870961</c:v>
                </c:pt>
                <c:pt idx="811">
                  <c:v>89.741935483870961</c:v>
                </c:pt>
                <c:pt idx="812">
                  <c:v>89.774193548387103</c:v>
                </c:pt>
                <c:pt idx="813">
                  <c:v>89.58064516129032</c:v>
                </c:pt>
                <c:pt idx="814">
                  <c:v>90</c:v>
                </c:pt>
                <c:pt idx="815">
                  <c:v>90.258064516129039</c:v>
                </c:pt>
                <c:pt idx="816">
                  <c:v>90.41935483870968</c:v>
                </c:pt>
                <c:pt idx="817">
                  <c:v>90.354838709677423</c:v>
                </c:pt>
                <c:pt idx="818">
                  <c:v>89.903225806451616</c:v>
                </c:pt>
                <c:pt idx="819">
                  <c:v>89.774193548387103</c:v>
                </c:pt>
                <c:pt idx="820">
                  <c:v>89.451612903225808</c:v>
                </c:pt>
                <c:pt idx="821">
                  <c:v>89.645161290322577</c:v>
                </c:pt>
                <c:pt idx="822">
                  <c:v>89.58064516129032</c:v>
                </c:pt>
                <c:pt idx="823">
                  <c:v>90.129032258064512</c:v>
                </c:pt>
                <c:pt idx="824">
                  <c:v>89.548387096774192</c:v>
                </c:pt>
                <c:pt idx="825">
                  <c:v>89.58064516129032</c:v>
                </c:pt>
                <c:pt idx="826">
                  <c:v>89.903225806451616</c:v>
                </c:pt>
                <c:pt idx="827">
                  <c:v>89.516129032258064</c:v>
                </c:pt>
                <c:pt idx="828">
                  <c:v>89.516129032258064</c:v>
                </c:pt>
                <c:pt idx="829">
                  <c:v>89.41935483870968</c:v>
                </c:pt>
                <c:pt idx="830">
                  <c:v>89.741935483870961</c:v>
                </c:pt>
                <c:pt idx="831">
                  <c:v>89.774193548387103</c:v>
                </c:pt>
                <c:pt idx="832">
                  <c:v>89.645161290322577</c:v>
                </c:pt>
                <c:pt idx="833">
                  <c:v>89.41935483870968</c:v>
                </c:pt>
                <c:pt idx="834">
                  <c:v>89</c:v>
                </c:pt>
                <c:pt idx="835">
                  <c:v>89.161290322580641</c:v>
                </c:pt>
                <c:pt idx="836">
                  <c:v>89.161290322580641</c:v>
                </c:pt>
                <c:pt idx="837">
                  <c:v>89.451612903225808</c:v>
                </c:pt>
                <c:pt idx="838">
                  <c:v>89.483870967741936</c:v>
                </c:pt>
                <c:pt idx="839">
                  <c:v>89.838709677419359</c:v>
                </c:pt>
                <c:pt idx="840">
                  <c:v>89.741935483870961</c:v>
                </c:pt>
                <c:pt idx="841">
                  <c:v>89.838709677419359</c:v>
                </c:pt>
                <c:pt idx="842">
                  <c:v>89.903225806451616</c:v>
                </c:pt>
                <c:pt idx="843">
                  <c:v>89.709677419354833</c:v>
                </c:pt>
                <c:pt idx="844">
                  <c:v>89.967741935483872</c:v>
                </c:pt>
                <c:pt idx="845">
                  <c:v>90</c:v>
                </c:pt>
                <c:pt idx="846">
                  <c:v>89.935483870967744</c:v>
                </c:pt>
                <c:pt idx="847">
                  <c:v>89.838709677419359</c:v>
                </c:pt>
                <c:pt idx="848">
                  <c:v>90.129032258064512</c:v>
                </c:pt>
                <c:pt idx="849">
                  <c:v>90.58064516129032</c:v>
                </c:pt>
                <c:pt idx="850">
                  <c:v>90.41935483870968</c:v>
                </c:pt>
                <c:pt idx="851">
                  <c:v>90.774193548387103</c:v>
                </c:pt>
                <c:pt idx="852">
                  <c:v>90.677419354838705</c:v>
                </c:pt>
                <c:pt idx="853">
                  <c:v>90.935483870967744</c:v>
                </c:pt>
                <c:pt idx="854">
                  <c:v>90.870967741935488</c:v>
                </c:pt>
                <c:pt idx="855">
                  <c:v>91.032258064516128</c:v>
                </c:pt>
                <c:pt idx="856">
                  <c:v>90.870967741935488</c:v>
                </c:pt>
                <c:pt idx="857">
                  <c:v>90.774193548387103</c:v>
                </c:pt>
                <c:pt idx="858">
                  <c:v>90.774193548387103</c:v>
                </c:pt>
                <c:pt idx="859">
                  <c:v>91.225806451612897</c:v>
                </c:pt>
                <c:pt idx="860">
                  <c:v>91.451612903225808</c:v>
                </c:pt>
                <c:pt idx="861">
                  <c:v>91.129032258064512</c:v>
                </c:pt>
                <c:pt idx="862">
                  <c:v>91.032258064516128</c:v>
                </c:pt>
                <c:pt idx="863">
                  <c:v>91.483870967741936</c:v>
                </c:pt>
                <c:pt idx="864">
                  <c:v>91.58064516129032</c:v>
                </c:pt>
                <c:pt idx="865">
                  <c:v>92.096774193548384</c:v>
                </c:pt>
                <c:pt idx="866">
                  <c:v>92.258064516129039</c:v>
                </c:pt>
                <c:pt idx="867">
                  <c:v>91.903225806451616</c:v>
                </c:pt>
                <c:pt idx="868">
                  <c:v>92</c:v>
                </c:pt>
                <c:pt idx="869">
                  <c:v>92</c:v>
                </c:pt>
                <c:pt idx="870">
                  <c:v>91.677419354838705</c:v>
                </c:pt>
                <c:pt idx="871">
                  <c:v>91.354838709677423</c:v>
                </c:pt>
                <c:pt idx="872">
                  <c:v>91.322580645161295</c:v>
                </c:pt>
                <c:pt idx="873">
                  <c:v>91.483870967741936</c:v>
                </c:pt>
                <c:pt idx="874">
                  <c:v>91.41935483870968</c:v>
                </c:pt>
                <c:pt idx="875">
                  <c:v>91.096774193548384</c:v>
                </c:pt>
                <c:pt idx="876">
                  <c:v>90.709677419354833</c:v>
                </c:pt>
                <c:pt idx="877">
                  <c:v>90.290322580645167</c:v>
                </c:pt>
                <c:pt idx="878">
                  <c:v>90.645161290322577</c:v>
                </c:pt>
                <c:pt idx="879">
                  <c:v>90.41935483870968</c:v>
                </c:pt>
                <c:pt idx="880">
                  <c:v>89.903225806451616</c:v>
                </c:pt>
                <c:pt idx="881">
                  <c:v>90.161290322580641</c:v>
                </c:pt>
                <c:pt idx="882">
                  <c:v>90</c:v>
                </c:pt>
                <c:pt idx="883">
                  <c:v>89.806451612903231</c:v>
                </c:pt>
                <c:pt idx="884">
                  <c:v>89.41935483870968</c:v>
                </c:pt>
                <c:pt idx="885">
                  <c:v>88.935483870967744</c:v>
                </c:pt>
                <c:pt idx="886">
                  <c:v>89.41935483870968</c:v>
                </c:pt>
                <c:pt idx="887">
                  <c:v>89.548387096774192</c:v>
                </c:pt>
                <c:pt idx="888">
                  <c:v>89.258064516129039</c:v>
                </c:pt>
                <c:pt idx="889">
                  <c:v>89.709677419354833</c:v>
                </c:pt>
                <c:pt idx="890">
                  <c:v>89.709677419354833</c:v>
                </c:pt>
                <c:pt idx="891">
                  <c:v>89.612903225806448</c:v>
                </c:pt>
                <c:pt idx="892">
                  <c:v>89.41935483870968</c:v>
                </c:pt>
                <c:pt idx="893">
                  <c:v>89.387096774193552</c:v>
                </c:pt>
                <c:pt idx="894">
                  <c:v>88.903225806451616</c:v>
                </c:pt>
                <c:pt idx="895">
                  <c:v>89.064516129032256</c:v>
                </c:pt>
                <c:pt idx="896">
                  <c:v>88.967741935483872</c:v>
                </c:pt>
                <c:pt idx="897">
                  <c:v>88.741935483870961</c:v>
                </c:pt>
                <c:pt idx="898">
                  <c:v>88.903225806451616</c:v>
                </c:pt>
                <c:pt idx="899">
                  <c:v>88.58064516129032</c:v>
                </c:pt>
                <c:pt idx="900">
                  <c:v>88.548387096774192</c:v>
                </c:pt>
                <c:pt idx="901">
                  <c:v>88.387096774193552</c:v>
                </c:pt>
                <c:pt idx="902">
                  <c:v>89</c:v>
                </c:pt>
                <c:pt idx="903">
                  <c:v>89.032258064516128</c:v>
                </c:pt>
                <c:pt idx="904">
                  <c:v>89.161290322580641</c:v>
                </c:pt>
                <c:pt idx="905">
                  <c:v>89.129032258064512</c:v>
                </c:pt>
                <c:pt idx="906">
                  <c:v>89.58064516129032</c:v>
                </c:pt>
                <c:pt idx="907">
                  <c:v>89.935483870967744</c:v>
                </c:pt>
                <c:pt idx="908">
                  <c:v>90.354838709677423</c:v>
                </c:pt>
                <c:pt idx="909">
                  <c:v>90.096774193548384</c:v>
                </c:pt>
                <c:pt idx="910">
                  <c:v>89.967741935483872</c:v>
                </c:pt>
                <c:pt idx="911">
                  <c:v>89.935483870967744</c:v>
                </c:pt>
                <c:pt idx="912">
                  <c:v>89.967741935483872</c:v>
                </c:pt>
                <c:pt idx="913">
                  <c:v>90.064516129032256</c:v>
                </c:pt>
                <c:pt idx="914">
                  <c:v>90.41935483870968</c:v>
                </c:pt>
                <c:pt idx="915">
                  <c:v>90.451612903225808</c:v>
                </c:pt>
                <c:pt idx="916">
                  <c:v>90.806451612903231</c:v>
                </c:pt>
                <c:pt idx="917">
                  <c:v>90.161290322580641</c:v>
                </c:pt>
                <c:pt idx="918">
                  <c:v>89.967741935483872</c:v>
                </c:pt>
                <c:pt idx="919">
                  <c:v>90.129032258064512</c:v>
                </c:pt>
                <c:pt idx="920">
                  <c:v>89.806451612903231</c:v>
                </c:pt>
                <c:pt idx="921">
                  <c:v>89.354838709677423</c:v>
                </c:pt>
                <c:pt idx="922">
                  <c:v>89.258064516129039</c:v>
                </c:pt>
                <c:pt idx="923">
                  <c:v>89.193548387096769</c:v>
                </c:pt>
                <c:pt idx="924">
                  <c:v>89.225806451612897</c:v>
                </c:pt>
                <c:pt idx="925">
                  <c:v>89.258064516129039</c:v>
                </c:pt>
                <c:pt idx="926">
                  <c:v>88.838709677419359</c:v>
                </c:pt>
                <c:pt idx="927">
                  <c:v>88.774193548387103</c:v>
                </c:pt>
                <c:pt idx="928">
                  <c:v>88.806451612903231</c:v>
                </c:pt>
                <c:pt idx="929">
                  <c:v>88.548387096774192</c:v>
                </c:pt>
                <c:pt idx="930">
                  <c:v>88.870967741935488</c:v>
                </c:pt>
                <c:pt idx="931">
                  <c:v>89.032258064516128</c:v>
                </c:pt>
                <c:pt idx="932">
                  <c:v>89.258064516129039</c:v>
                </c:pt>
                <c:pt idx="933">
                  <c:v>89.161290322580641</c:v>
                </c:pt>
                <c:pt idx="934">
                  <c:v>89</c:v>
                </c:pt>
                <c:pt idx="935">
                  <c:v>88.548387096774192</c:v>
                </c:pt>
                <c:pt idx="936">
                  <c:v>88.645161290322577</c:v>
                </c:pt>
                <c:pt idx="937">
                  <c:v>88.322580645161295</c:v>
                </c:pt>
                <c:pt idx="938">
                  <c:v>88.483870967741936</c:v>
                </c:pt>
                <c:pt idx="939">
                  <c:v>88.58064516129032</c:v>
                </c:pt>
                <c:pt idx="940">
                  <c:v>88.645161290322577</c:v>
                </c:pt>
                <c:pt idx="941">
                  <c:v>89.032258064516128</c:v>
                </c:pt>
                <c:pt idx="942">
                  <c:v>89.193548387096769</c:v>
                </c:pt>
                <c:pt idx="943">
                  <c:v>89.161290322580641</c:v>
                </c:pt>
                <c:pt idx="944">
                  <c:v>88.967741935483872</c:v>
                </c:pt>
                <c:pt idx="945">
                  <c:v>88.677419354838705</c:v>
                </c:pt>
                <c:pt idx="946">
                  <c:v>89.193548387096769</c:v>
                </c:pt>
                <c:pt idx="947">
                  <c:v>89</c:v>
                </c:pt>
                <c:pt idx="948">
                  <c:v>89.451612903225808</c:v>
                </c:pt>
                <c:pt idx="949">
                  <c:v>89.612903225806448</c:v>
                </c:pt>
                <c:pt idx="950">
                  <c:v>89.483870967741936</c:v>
                </c:pt>
                <c:pt idx="951">
                  <c:v>89.258064516129039</c:v>
                </c:pt>
                <c:pt idx="952">
                  <c:v>89.225806451612897</c:v>
                </c:pt>
                <c:pt idx="953">
                  <c:v>89.290322580645167</c:v>
                </c:pt>
                <c:pt idx="954">
                  <c:v>89.870967741935488</c:v>
                </c:pt>
                <c:pt idx="955">
                  <c:v>89.677419354838705</c:v>
                </c:pt>
                <c:pt idx="956">
                  <c:v>90</c:v>
                </c:pt>
                <c:pt idx="957">
                  <c:v>90.225806451612897</c:v>
                </c:pt>
                <c:pt idx="958">
                  <c:v>89.935483870967744</c:v>
                </c:pt>
                <c:pt idx="959">
                  <c:v>90.161290322580641</c:v>
                </c:pt>
                <c:pt idx="960">
                  <c:v>90.774193548387103</c:v>
                </c:pt>
                <c:pt idx="961">
                  <c:v>90.677419354838705</c:v>
                </c:pt>
                <c:pt idx="962">
                  <c:v>90.548387096774192</c:v>
                </c:pt>
                <c:pt idx="963">
                  <c:v>90.677419354838705</c:v>
                </c:pt>
                <c:pt idx="964">
                  <c:v>90.645161290322577</c:v>
                </c:pt>
                <c:pt idx="965">
                  <c:v>90.838709677419359</c:v>
                </c:pt>
                <c:pt idx="966">
                  <c:v>91.064516129032256</c:v>
                </c:pt>
                <c:pt idx="967">
                  <c:v>90.935483870967744</c:v>
                </c:pt>
                <c:pt idx="968">
                  <c:v>90.903225806451616</c:v>
                </c:pt>
                <c:pt idx="969">
                  <c:v>90.290322580645167</c:v>
                </c:pt>
                <c:pt idx="970">
                  <c:v>89.903225806451616</c:v>
                </c:pt>
                <c:pt idx="971">
                  <c:v>90.258064516129039</c:v>
                </c:pt>
                <c:pt idx="972">
                  <c:v>89.741935483870961</c:v>
                </c:pt>
                <c:pt idx="973">
                  <c:v>89.774193548387103</c:v>
                </c:pt>
                <c:pt idx="974">
                  <c:v>89.935483870967744</c:v>
                </c:pt>
                <c:pt idx="975">
                  <c:v>89.967741935483872</c:v>
                </c:pt>
                <c:pt idx="976">
                  <c:v>90.032258064516128</c:v>
                </c:pt>
                <c:pt idx="977">
                  <c:v>89.645161290322577</c:v>
                </c:pt>
                <c:pt idx="978">
                  <c:v>89.935483870967744</c:v>
                </c:pt>
                <c:pt idx="979">
                  <c:v>89.548387096774192</c:v>
                </c:pt>
                <c:pt idx="980">
                  <c:v>89.258064516129039</c:v>
                </c:pt>
                <c:pt idx="981">
                  <c:v>89.548387096774192</c:v>
                </c:pt>
                <c:pt idx="982">
                  <c:v>90.129032258064512</c:v>
                </c:pt>
                <c:pt idx="983">
                  <c:v>90.548387096774192</c:v>
                </c:pt>
                <c:pt idx="984">
                  <c:v>90.258064516129039</c:v>
                </c:pt>
                <c:pt idx="985">
                  <c:v>89.806451612903231</c:v>
                </c:pt>
                <c:pt idx="986">
                  <c:v>89.838709677419359</c:v>
                </c:pt>
                <c:pt idx="987">
                  <c:v>90.064516129032256</c:v>
                </c:pt>
                <c:pt idx="988">
                  <c:v>89.870967741935488</c:v>
                </c:pt>
                <c:pt idx="989">
                  <c:v>90.161290322580641</c:v>
                </c:pt>
                <c:pt idx="990">
                  <c:v>90.129032258064512</c:v>
                </c:pt>
                <c:pt idx="991">
                  <c:v>89.838709677419359</c:v>
                </c:pt>
                <c:pt idx="992">
                  <c:v>89.645161290322577</c:v>
                </c:pt>
                <c:pt idx="993">
                  <c:v>89.645161290322577</c:v>
                </c:pt>
                <c:pt idx="994">
                  <c:v>89.612903225806448</c:v>
                </c:pt>
                <c:pt idx="995">
                  <c:v>89.645161290322577</c:v>
                </c:pt>
                <c:pt idx="996">
                  <c:v>89.709677419354833</c:v>
                </c:pt>
                <c:pt idx="997">
                  <c:v>89.645161290322577</c:v>
                </c:pt>
                <c:pt idx="998">
                  <c:v>89.774193548387103</c:v>
                </c:pt>
                <c:pt idx="999">
                  <c:v>90.032258064516128</c:v>
                </c:pt>
                <c:pt idx="1000">
                  <c:v>90.387096774193552</c:v>
                </c:pt>
                <c:pt idx="1001">
                  <c:v>90.387096774193552</c:v>
                </c:pt>
                <c:pt idx="1002">
                  <c:v>90.225806451612897</c:v>
                </c:pt>
                <c:pt idx="1003">
                  <c:v>90.741935483870961</c:v>
                </c:pt>
                <c:pt idx="1004">
                  <c:v>91</c:v>
                </c:pt>
                <c:pt idx="1005">
                  <c:v>90.677419354838705</c:v>
                </c:pt>
                <c:pt idx="1006">
                  <c:v>90.967741935483872</c:v>
                </c:pt>
                <c:pt idx="1007">
                  <c:v>90.677419354838705</c:v>
                </c:pt>
                <c:pt idx="1008">
                  <c:v>90.935483870967744</c:v>
                </c:pt>
                <c:pt idx="1009">
                  <c:v>91.064516129032256</c:v>
                </c:pt>
                <c:pt idx="1010">
                  <c:v>91.193548387096769</c:v>
                </c:pt>
                <c:pt idx="1011">
                  <c:v>91.225806451612897</c:v>
                </c:pt>
                <c:pt idx="1012">
                  <c:v>91.225806451612897</c:v>
                </c:pt>
                <c:pt idx="1013">
                  <c:v>91.225806451612897</c:v>
                </c:pt>
                <c:pt idx="1014">
                  <c:v>91.096774193548384</c:v>
                </c:pt>
                <c:pt idx="1015">
                  <c:v>91.612903225806448</c:v>
                </c:pt>
                <c:pt idx="1016">
                  <c:v>91.516129032258064</c:v>
                </c:pt>
                <c:pt idx="1017">
                  <c:v>91.548387096774192</c:v>
                </c:pt>
                <c:pt idx="1018">
                  <c:v>91.387096774193552</c:v>
                </c:pt>
                <c:pt idx="1019">
                  <c:v>91.645161290322577</c:v>
                </c:pt>
                <c:pt idx="1020">
                  <c:v>91.677419354838705</c:v>
                </c:pt>
                <c:pt idx="1021">
                  <c:v>91.870967741935488</c:v>
                </c:pt>
                <c:pt idx="1022">
                  <c:v>92.032258064516128</c:v>
                </c:pt>
                <c:pt idx="1023">
                  <c:v>92.483870967741936</c:v>
                </c:pt>
                <c:pt idx="1024">
                  <c:v>92.548387096774192</c:v>
                </c:pt>
                <c:pt idx="1025">
                  <c:v>92.516129032258064</c:v>
                </c:pt>
                <c:pt idx="1026">
                  <c:v>92.064516129032256</c:v>
                </c:pt>
                <c:pt idx="1027">
                  <c:v>91.838709677419359</c:v>
                </c:pt>
                <c:pt idx="1028">
                  <c:v>91.903225806451616</c:v>
                </c:pt>
                <c:pt idx="1029">
                  <c:v>91.870967741935488</c:v>
                </c:pt>
                <c:pt idx="1030">
                  <c:v>91.645161290322577</c:v>
                </c:pt>
                <c:pt idx="1031">
                  <c:v>91.41935483870968</c:v>
                </c:pt>
                <c:pt idx="1032">
                  <c:v>91.709677419354833</c:v>
                </c:pt>
                <c:pt idx="1033">
                  <c:v>91.451612903225808</c:v>
                </c:pt>
                <c:pt idx="1034">
                  <c:v>91.258064516129039</c:v>
                </c:pt>
                <c:pt idx="1035">
                  <c:v>91.129032258064512</c:v>
                </c:pt>
                <c:pt idx="1036">
                  <c:v>91.064516129032256</c:v>
                </c:pt>
                <c:pt idx="1037">
                  <c:v>91.032258064516128</c:v>
                </c:pt>
                <c:pt idx="1038">
                  <c:v>91.193548387096769</c:v>
                </c:pt>
                <c:pt idx="1039">
                  <c:v>91.193548387096769</c:v>
                </c:pt>
                <c:pt idx="1040">
                  <c:v>91.290322580645167</c:v>
                </c:pt>
                <c:pt idx="1041">
                  <c:v>91.645161290322577</c:v>
                </c:pt>
                <c:pt idx="1042">
                  <c:v>92.129032258064512</c:v>
                </c:pt>
                <c:pt idx="1043">
                  <c:v>92.225806451612897</c:v>
                </c:pt>
                <c:pt idx="1044">
                  <c:v>92.161290322580641</c:v>
                </c:pt>
                <c:pt idx="1045">
                  <c:v>92.354838709677423</c:v>
                </c:pt>
                <c:pt idx="1046">
                  <c:v>92.354838709677423</c:v>
                </c:pt>
                <c:pt idx="1047">
                  <c:v>92.806451612903231</c:v>
                </c:pt>
                <c:pt idx="1048">
                  <c:v>93.193548387096769</c:v>
                </c:pt>
                <c:pt idx="1049">
                  <c:v>93.548387096774192</c:v>
                </c:pt>
                <c:pt idx="1050">
                  <c:v>93.838709677419359</c:v>
                </c:pt>
                <c:pt idx="1051">
                  <c:v>94.064516129032256</c:v>
                </c:pt>
                <c:pt idx="1052">
                  <c:v>94.193548387096769</c:v>
                </c:pt>
                <c:pt idx="1053">
                  <c:v>94.451612903225808</c:v>
                </c:pt>
                <c:pt idx="1054">
                  <c:v>94.483870967741936</c:v>
                </c:pt>
                <c:pt idx="1055">
                  <c:v>94.774193548387103</c:v>
                </c:pt>
                <c:pt idx="1056">
                  <c:v>95.193548387096769</c:v>
                </c:pt>
                <c:pt idx="1057">
                  <c:v>95.806451612903231</c:v>
                </c:pt>
                <c:pt idx="1058">
                  <c:v>95.935483870967744</c:v>
                </c:pt>
                <c:pt idx="1059">
                  <c:v>96.193548387096769</c:v>
                </c:pt>
                <c:pt idx="1060">
                  <c:v>96.354838709677423</c:v>
                </c:pt>
                <c:pt idx="1061">
                  <c:v>96.709677419354833</c:v>
                </c:pt>
                <c:pt idx="1062">
                  <c:v>97.193548387096769</c:v>
                </c:pt>
                <c:pt idx="1063">
                  <c:v>97.354838709677423</c:v>
                </c:pt>
                <c:pt idx="1064">
                  <c:v>97.838709677419359</c:v>
                </c:pt>
                <c:pt idx="1065">
                  <c:v>98.096774193548384</c:v>
                </c:pt>
                <c:pt idx="1066">
                  <c:v>98.451612903225808</c:v>
                </c:pt>
                <c:pt idx="1067">
                  <c:v>98.903225806451616</c:v>
                </c:pt>
                <c:pt idx="1068">
                  <c:v>99.258064516129039</c:v>
                </c:pt>
                <c:pt idx="1069">
                  <c:v>99.870967741935488</c:v>
                </c:pt>
                <c:pt idx="1070">
                  <c:v>100.16129032258064</c:v>
                </c:pt>
                <c:pt idx="1071">
                  <c:v>100.16129032258064</c:v>
                </c:pt>
                <c:pt idx="1072">
                  <c:v>100.12903225806451</c:v>
                </c:pt>
                <c:pt idx="1073">
                  <c:v>100.35483870967742</c:v>
                </c:pt>
                <c:pt idx="1074">
                  <c:v>100.51612903225806</c:v>
                </c:pt>
                <c:pt idx="1075">
                  <c:v>100.41935483870968</c:v>
                </c:pt>
                <c:pt idx="1076">
                  <c:v>100.45161290322581</c:v>
                </c:pt>
                <c:pt idx="1077">
                  <c:v>100.41935483870968</c:v>
                </c:pt>
                <c:pt idx="1078">
                  <c:v>100.64516129032258</c:v>
                </c:pt>
                <c:pt idx="1079">
                  <c:v>100.74193548387096</c:v>
                </c:pt>
                <c:pt idx="1080">
                  <c:v>100.48387096774194</c:v>
                </c:pt>
                <c:pt idx="1081">
                  <c:v>100.64516129032258</c:v>
                </c:pt>
                <c:pt idx="1082">
                  <c:v>100.74193548387096</c:v>
                </c:pt>
                <c:pt idx="1083">
                  <c:v>100.61290322580645</c:v>
                </c:pt>
                <c:pt idx="1084">
                  <c:v>100.45161290322581</c:v>
                </c:pt>
                <c:pt idx="1085">
                  <c:v>100.54838709677419</c:v>
                </c:pt>
                <c:pt idx="1086">
                  <c:v>100.51612903225806</c:v>
                </c:pt>
                <c:pt idx="1087">
                  <c:v>100.58064516129032</c:v>
                </c:pt>
                <c:pt idx="1088">
                  <c:v>100.45161290322581</c:v>
                </c:pt>
                <c:pt idx="1089">
                  <c:v>100.61290322580645</c:v>
                </c:pt>
                <c:pt idx="1090">
                  <c:v>100.74193548387096</c:v>
                </c:pt>
                <c:pt idx="1091">
                  <c:v>100.80645161290323</c:v>
                </c:pt>
                <c:pt idx="1092">
                  <c:v>100.93548387096774</c:v>
                </c:pt>
                <c:pt idx="1093">
                  <c:v>100.96774193548387</c:v>
                </c:pt>
                <c:pt idx="1094">
                  <c:v>101.06451612903226</c:v>
                </c:pt>
                <c:pt idx="1095">
                  <c:v>101</c:v>
                </c:pt>
                <c:pt idx="1096">
                  <c:v>100.70967741935483</c:v>
                </c:pt>
                <c:pt idx="1097">
                  <c:v>100.35483870967742</c:v>
                </c:pt>
                <c:pt idx="1098">
                  <c:v>100.19354838709677</c:v>
                </c:pt>
                <c:pt idx="1099">
                  <c:v>99.967741935483872</c:v>
                </c:pt>
                <c:pt idx="1100">
                  <c:v>99.483870967741936</c:v>
                </c:pt>
                <c:pt idx="1101">
                  <c:v>99.193548387096769</c:v>
                </c:pt>
                <c:pt idx="1102">
                  <c:v>98.935483870967744</c:v>
                </c:pt>
                <c:pt idx="1103">
                  <c:v>98.967741935483872</c:v>
                </c:pt>
                <c:pt idx="1104">
                  <c:v>98.741935483870961</c:v>
                </c:pt>
                <c:pt idx="1105">
                  <c:v>98</c:v>
                </c:pt>
                <c:pt idx="1106">
                  <c:v>97.612903225806448</c:v>
                </c:pt>
                <c:pt idx="1107">
                  <c:v>97.129032258064512</c:v>
                </c:pt>
                <c:pt idx="1108">
                  <c:v>97</c:v>
                </c:pt>
                <c:pt idx="1109">
                  <c:v>96.516129032258064</c:v>
                </c:pt>
                <c:pt idx="1110">
                  <c:v>96.354838709677423</c:v>
                </c:pt>
                <c:pt idx="1111">
                  <c:v>96.258064516129039</c:v>
                </c:pt>
                <c:pt idx="1112">
                  <c:v>95.838709677419359</c:v>
                </c:pt>
                <c:pt idx="1113">
                  <c:v>95.41935483870968</c:v>
                </c:pt>
                <c:pt idx="1114">
                  <c:v>95.258064516129039</c:v>
                </c:pt>
                <c:pt idx="1115">
                  <c:v>94.774193548387103</c:v>
                </c:pt>
                <c:pt idx="1116">
                  <c:v>94.387096774193552</c:v>
                </c:pt>
                <c:pt idx="1117">
                  <c:v>94.032258064516128</c:v>
                </c:pt>
                <c:pt idx="1118">
                  <c:v>93.258064516129039</c:v>
                </c:pt>
                <c:pt idx="1119">
                  <c:v>93.258064516129039</c:v>
                </c:pt>
                <c:pt idx="1120">
                  <c:v>93.258064516129039</c:v>
                </c:pt>
                <c:pt idx="1121">
                  <c:v>92.870967741935488</c:v>
                </c:pt>
                <c:pt idx="1122">
                  <c:v>92.516129032258064</c:v>
                </c:pt>
                <c:pt idx="1123">
                  <c:v>91.870967741935488</c:v>
                </c:pt>
                <c:pt idx="1124">
                  <c:v>91.41935483870968</c:v>
                </c:pt>
                <c:pt idx="1125">
                  <c:v>91.290322580645167</c:v>
                </c:pt>
                <c:pt idx="1126">
                  <c:v>90.806451612903231</c:v>
                </c:pt>
                <c:pt idx="1127">
                  <c:v>90.58064516129032</c:v>
                </c:pt>
                <c:pt idx="1128">
                  <c:v>90.41935483870968</c:v>
                </c:pt>
                <c:pt idx="1129">
                  <c:v>90</c:v>
                </c:pt>
                <c:pt idx="1130">
                  <c:v>89.451612903225808</c:v>
                </c:pt>
                <c:pt idx="1131">
                  <c:v>89.774193548387103</c:v>
                </c:pt>
                <c:pt idx="1132">
                  <c:v>89.451612903225808</c:v>
                </c:pt>
                <c:pt idx="1133">
                  <c:v>89.193548387096769</c:v>
                </c:pt>
                <c:pt idx="1134">
                  <c:v>88.935483870967744</c:v>
                </c:pt>
                <c:pt idx="1135">
                  <c:v>89</c:v>
                </c:pt>
                <c:pt idx="1136">
                  <c:v>89.548387096774192</c:v>
                </c:pt>
                <c:pt idx="1137">
                  <c:v>89.935483870967744</c:v>
                </c:pt>
                <c:pt idx="1138">
                  <c:v>89.741935483870961</c:v>
                </c:pt>
                <c:pt idx="1139">
                  <c:v>89.354838709677423</c:v>
                </c:pt>
                <c:pt idx="1140">
                  <c:v>89.483870967741936</c:v>
                </c:pt>
                <c:pt idx="1141">
                  <c:v>89.451612903225808</c:v>
                </c:pt>
                <c:pt idx="1142">
                  <c:v>89.322580645161295</c:v>
                </c:pt>
                <c:pt idx="1143">
                  <c:v>89.483870967741936</c:v>
                </c:pt>
                <c:pt idx="1144">
                  <c:v>89.096774193548384</c:v>
                </c:pt>
                <c:pt idx="1145">
                  <c:v>88.709677419354833</c:v>
                </c:pt>
                <c:pt idx="1146">
                  <c:v>89.129032258064512</c:v>
                </c:pt>
                <c:pt idx="1147">
                  <c:v>89.41935483870968</c:v>
                </c:pt>
                <c:pt idx="1148">
                  <c:v>89.677419354838705</c:v>
                </c:pt>
                <c:pt idx="1149">
                  <c:v>89.838709677419359</c:v>
                </c:pt>
                <c:pt idx="1150">
                  <c:v>89.741935483870961</c:v>
                </c:pt>
                <c:pt idx="1151">
                  <c:v>89.516129032258064</c:v>
                </c:pt>
                <c:pt idx="1152">
                  <c:v>89.161290322580641</c:v>
                </c:pt>
                <c:pt idx="1153">
                  <c:v>89.193548387096769</c:v>
                </c:pt>
                <c:pt idx="1154">
                  <c:v>89.709677419354833</c:v>
                </c:pt>
                <c:pt idx="1155">
                  <c:v>89.516129032258064</c:v>
                </c:pt>
                <c:pt idx="1156">
                  <c:v>89.548387096774192</c:v>
                </c:pt>
                <c:pt idx="1157">
                  <c:v>90.032258064516128</c:v>
                </c:pt>
                <c:pt idx="1158">
                  <c:v>90.483870967741936</c:v>
                </c:pt>
                <c:pt idx="1159">
                  <c:v>90.354838709677423</c:v>
                </c:pt>
                <c:pt idx="1160">
                  <c:v>90.387096774193552</c:v>
                </c:pt>
                <c:pt idx="1161">
                  <c:v>90.806451612903231</c:v>
                </c:pt>
                <c:pt idx="1162">
                  <c:v>90.41935483870968</c:v>
                </c:pt>
                <c:pt idx="1163">
                  <c:v>90.677419354838705</c:v>
                </c:pt>
                <c:pt idx="1164">
                  <c:v>90.58064516129032</c:v>
                </c:pt>
                <c:pt idx="1165">
                  <c:v>90.709677419354833</c:v>
                </c:pt>
                <c:pt idx="1166">
                  <c:v>90.096774193548384</c:v>
                </c:pt>
                <c:pt idx="1167">
                  <c:v>89.612903225806448</c:v>
                </c:pt>
                <c:pt idx="1168">
                  <c:v>89.483870967741936</c:v>
                </c:pt>
                <c:pt idx="1169">
                  <c:v>89.612903225806448</c:v>
                </c:pt>
                <c:pt idx="1170">
                  <c:v>89.870967741935488</c:v>
                </c:pt>
                <c:pt idx="1171">
                  <c:v>89.612903225806448</c:v>
                </c:pt>
                <c:pt idx="1172">
                  <c:v>89.225806451612897</c:v>
                </c:pt>
                <c:pt idx="1173">
                  <c:v>89.322580645161295</c:v>
                </c:pt>
                <c:pt idx="1174">
                  <c:v>89.290322580645167</c:v>
                </c:pt>
                <c:pt idx="1175">
                  <c:v>89.387096774193552</c:v>
                </c:pt>
                <c:pt idx="1176">
                  <c:v>89.548387096774192</c:v>
                </c:pt>
                <c:pt idx="1177">
                  <c:v>89.225806451612897</c:v>
                </c:pt>
                <c:pt idx="1178">
                  <c:v>88.838709677419359</c:v>
                </c:pt>
                <c:pt idx="1179">
                  <c:v>88.548387096774192</c:v>
                </c:pt>
                <c:pt idx="1180">
                  <c:v>88.806451612903231</c:v>
                </c:pt>
                <c:pt idx="1181">
                  <c:v>88.548387096774192</c:v>
                </c:pt>
                <c:pt idx="1182">
                  <c:v>88.387096774193552</c:v>
                </c:pt>
                <c:pt idx="1183">
                  <c:v>88.451612903225808</c:v>
                </c:pt>
                <c:pt idx="1184">
                  <c:v>88.483870967741936</c:v>
                </c:pt>
                <c:pt idx="1185">
                  <c:v>87.935483870967744</c:v>
                </c:pt>
                <c:pt idx="1186">
                  <c:v>88.225806451612897</c:v>
                </c:pt>
                <c:pt idx="1187">
                  <c:v>88.225806451612897</c:v>
                </c:pt>
                <c:pt idx="1188">
                  <c:v>88.161290322580641</c:v>
                </c:pt>
                <c:pt idx="1189">
                  <c:v>87.741935483870961</c:v>
                </c:pt>
                <c:pt idx="1190">
                  <c:v>88</c:v>
                </c:pt>
                <c:pt idx="1191">
                  <c:v>88.451612903225808</c:v>
                </c:pt>
                <c:pt idx="1192">
                  <c:v>88.645161290322577</c:v>
                </c:pt>
                <c:pt idx="1193">
                  <c:v>89</c:v>
                </c:pt>
                <c:pt idx="1194">
                  <c:v>88.967741935483872</c:v>
                </c:pt>
                <c:pt idx="1195">
                  <c:v>89.258064516129039</c:v>
                </c:pt>
                <c:pt idx="1196">
                  <c:v>89.258064516129039</c:v>
                </c:pt>
                <c:pt idx="1197">
                  <c:v>89.225806451612897</c:v>
                </c:pt>
                <c:pt idx="1198">
                  <c:v>89.258064516129039</c:v>
                </c:pt>
                <c:pt idx="1199">
                  <c:v>89</c:v>
                </c:pt>
                <c:pt idx="1200">
                  <c:v>89</c:v>
                </c:pt>
                <c:pt idx="1201">
                  <c:v>88.677419354838705</c:v>
                </c:pt>
                <c:pt idx="1202">
                  <c:v>89.096774193548384</c:v>
                </c:pt>
                <c:pt idx="1203">
                  <c:v>89.41935483870968</c:v>
                </c:pt>
                <c:pt idx="1204">
                  <c:v>89.032258064516128</c:v>
                </c:pt>
                <c:pt idx="1205">
                  <c:v>88.903225806451616</c:v>
                </c:pt>
                <c:pt idx="1206">
                  <c:v>89.161290322580641</c:v>
                </c:pt>
                <c:pt idx="1207">
                  <c:v>89.483870967741936</c:v>
                </c:pt>
                <c:pt idx="1208">
                  <c:v>89.322580645161295</c:v>
                </c:pt>
                <c:pt idx="1209">
                  <c:v>89.354838709677423</c:v>
                </c:pt>
                <c:pt idx="1210">
                  <c:v>89.645161290322577</c:v>
                </c:pt>
                <c:pt idx="1211">
                  <c:v>89.225806451612897</c:v>
                </c:pt>
                <c:pt idx="1212">
                  <c:v>89.225806451612897</c:v>
                </c:pt>
                <c:pt idx="1213">
                  <c:v>89.129032258064512</c:v>
                </c:pt>
                <c:pt idx="1214">
                  <c:v>89.483870967741936</c:v>
                </c:pt>
                <c:pt idx="1215">
                  <c:v>89.387096774193552</c:v>
                </c:pt>
                <c:pt idx="1216">
                  <c:v>89.870967741935488</c:v>
                </c:pt>
                <c:pt idx="1217">
                  <c:v>89.677419354838705</c:v>
                </c:pt>
                <c:pt idx="1218">
                  <c:v>89.516129032258064</c:v>
                </c:pt>
                <c:pt idx="1219">
                  <c:v>89.548387096774192</c:v>
                </c:pt>
                <c:pt idx="1220">
                  <c:v>90.032258064516128</c:v>
                </c:pt>
                <c:pt idx="1221">
                  <c:v>89.741935483870961</c:v>
                </c:pt>
                <c:pt idx="1222">
                  <c:v>89.258064516129039</c:v>
                </c:pt>
                <c:pt idx="1223">
                  <c:v>88.645161290322577</c:v>
                </c:pt>
                <c:pt idx="1224">
                  <c:v>88.451612903225808</c:v>
                </c:pt>
                <c:pt idx="1225">
                  <c:v>88.709677419354833</c:v>
                </c:pt>
                <c:pt idx="1226">
                  <c:v>88.387096774193552</c:v>
                </c:pt>
                <c:pt idx="1227">
                  <c:v>88.387096774193552</c:v>
                </c:pt>
                <c:pt idx="1228">
                  <c:v>88.903225806451616</c:v>
                </c:pt>
                <c:pt idx="1229">
                  <c:v>89.193548387096769</c:v>
                </c:pt>
                <c:pt idx="1230">
                  <c:v>89.548387096774192</c:v>
                </c:pt>
                <c:pt idx="1231">
                  <c:v>90.032258064516128</c:v>
                </c:pt>
                <c:pt idx="1232">
                  <c:v>90.806451612903231</c:v>
                </c:pt>
                <c:pt idx="1233">
                  <c:v>91.032258064516128</c:v>
                </c:pt>
                <c:pt idx="1234">
                  <c:v>91.193548387096769</c:v>
                </c:pt>
                <c:pt idx="1235">
                  <c:v>91.838709677419359</c:v>
                </c:pt>
                <c:pt idx="1236">
                  <c:v>92.064516129032256</c:v>
                </c:pt>
                <c:pt idx="1237">
                  <c:v>92.322580645161295</c:v>
                </c:pt>
                <c:pt idx="1238">
                  <c:v>92.354838709677423</c:v>
                </c:pt>
                <c:pt idx="1239">
                  <c:v>93.129032258064512</c:v>
                </c:pt>
                <c:pt idx="1240">
                  <c:v>93.387096774193552</c:v>
                </c:pt>
                <c:pt idx="1241">
                  <c:v>93.483870967741936</c:v>
                </c:pt>
                <c:pt idx="1242">
                  <c:v>94.032258064516128</c:v>
                </c:pt>
                <c:pt idx="1243">
                  <c:v>94.58064516129032</c:v>
                </c:pt>
                <c:pt idx="1244">
                  <c:v>95.193548387096769</c:v>
                </c:pt>
                <c:pt idx="1245">
                  <c:v>95.354838709677423</c:v>
                </c:pt>
                <c:pt idx="1246">
                  <c:v>95.612903225806448</c:v>
                </c:pt>
                <c:pt idx="1247">
                  <c:v>95.677419354838705</c:v>
                </c:pt>
                <c:pt idx="1248">
                  <c:v>96.354838709677423</c:v>
                </c:pt>
                <c:pt idx="1249">
                  <c:v>96.58064516129032</c:v>
                </c:pt>
                <c:pt idx="1250">
                  <c:v>96.709677419354833</c:v>
                </c:pt>
                <c:pt idx="1251">
                  <c:v>96.709677419354833</c:v>
                </c:pt>
                <c:pt idx="1252">
                  <c:v>97.096774193548384</c:v>
                </c:pt>
                <c:pt idx="1253">
                  <c:v>97.774193548387103</c:v>
                </c:pt>
                <c:pt idx="1254">
                  <c:v>98.41935483870968</c:v>
                </c:pt>
                <c:pt idx="1255">
                  <c:v>98.806451612903231</c:v>
                </c:pt>
                <c:pt idx="1256">
                  <c:v>98.741935483870961</c:v>
                </c:pt>
                <c:pt idx="1257">
                  <c:v>99.516129032258064</c:v>
                </c:pt>
                <c:pt idx="1258">
                  <c:v>99.903225806451616</c:v>
                </c:pt>
                <c:pt idx="1259">
                  <c:v>99.870967741935488</c:v>
                </c:pt>
                <c:pt idx="1260">
                  <c:v>100.06451612903226</c:v>
                </c:pt>
                <c:pt idx="1261">
                  <c:v>100.25806451612904</c:v>
                </c:pt>
                <c:pt idx="1262">
                  <c:v>100.45161290322581</c:v>
                </c:pt>
                <c:pt idx="1263">
                  <c:v>100.45161290322581</c:v>
                </c:pt>
                <c:pt idx="1264">
                  <c:v>100.51612903225806</c:v>
                </c:pt>
                <c:pt idx="1265">
                  <c:v>100.45161290322581</c:v>
                </c:pt>
                <c:pt idx="1266">
                  <c:v>100.58064516129032</c:v>
                </c:pt>
                <c:pt idx="1267">
                  <c:v>100.48387096774194</c:v>
                </c:pt>
                <c:pt idx="1268">
                  <c:v>100.61290322580645</c:v>
                </c:pt>
                <c:pt idx="1269">
                  <c:v>100.87096774193549</c:v>
                </c:pt>
                <c:pt idx="1270">
                  <c:v>100.70967741935483</c:v>
                </c:pt>
                <c:pt idx="1271">
                  <c:v>100.87096774193549</c:v>
                </c:pt>
                <c:pt idx="1272">
                  <c:v>100.90322580645162</c:v>
                </c:pt>
                <c:pt idx="1273">
                  <c:v>100.96774193548387</c:v>
                </c:pt>
                <c:pt idx="1274">
                  <c:v>100.96774193548387</c:v>
                </c:pt>
                <c:pt idx="1275">
                  <c:v>100.90322580645162</c:v>
                </c:pt>
                <c:pt idx="1276">
                  <c:v>100.83870967741936</c:v>
                </c:pt>
                <c:pt idx="1277">
                  <c:v>100.83870967741936</c:v>
                </c:pt>
                <c:pt idx="1278">
                  <c:v>100.25806451612904</c:v>
                </c:pt>
                <c:pt idx="1279">
                  <c:v>99.548387096774192</c:v>
                </c:pt>
                <c:pt idx="1280">
                  <c:v>99.451612903225808</c:v>
                </c:pt>
                <c:pt idx="1281">
                  <c:v>99.258064516129039</c:v>
                </c:pt>
                <c:pt idx="1282">
                  <c:v>99.064516129032256</c:v>
                </c:pt>
                <c:pt idx="1283">
                  <c:v>98.709677419354833</c:v>
                </c:pt>
                <c:pt idx="1284">
                  <c:v>98.129032258064512</c:v>
                </c:pt>
                <c:pt idx="1285">
                  <c:v>97.645161290322577</c:v>
                </c:pt>
                <c:pt idx="1286">
                  <c:v>97.516129032258064</c:v>
                </c:pt>
                <c:pt idx="1287">
                  <c:v>97.322580645161295</c:v>
                </c:pt>
                <c:pt idx="1288">
                  <c:v>96.741935483870961</c:v>
                </c:pt>
                <c:pt idx="1289">
                  <c:v>96.258064516129039</c:v>
                </c:pt>
                <c:pt idx="1290">
                  <c:v>96.354838709677423</c:v>
                </c:pt>
                <c:pt idx="1291">
                  <c:v>95.967741935483872</c:v>
                </c:pt>
                <c:pt idx="1292">
                  <c:v>95.806451612903231</c:v>
                </c:pt>
                <c:pt idx="1293">
                  <c:v>95.516129032258064</c:v>
                </c:pt>
                <c:pt idx="1294">
                  <c:v>95.064516129032256</c:v>
                </c:pt>
                <c:pt idx="1295">
                  <c:v>94.645161290322577</c:v>
                </c:pt>
                <c:pt idx="1296">
                  <c:v>94.129032258064512</c:v>
                </c:pt>
                <c:pt idx="1297">
                  <c:v>93.516129032258064</c:v>
                </c:pt>
                <c:pt idx="1298">
                  <c:v>93.258064516129039</c:v>
                </c:pt>
                <c:pt idx="1299">
                  <c:v>92.903225806451616</c:v>
                </c:pt>
                <c:pt idx="1300">
                  <c:v>92.709677419354833</c:v>
                </c:pt>
                <c:pt idx="1301">
                  <c:v>92.064516129032256</c:v>
                </c:pt>
                <c:pt idx="1302">
                  <c:v>91.516129032258064</c:v>
                </c:pt>
                <c:pt idx="1303">
                  <c:v>91.354838709677423</c:v>
                </c:pt>
                <c:pt idx="1304">
                  <c:v>91.322580645161295</c:v>
                </c:pt>
                <c:pt idx="1305">
                  <c:v>91.225806451612897</c:v>
                </c:pt>
                <c:pt idx="1306">
                  <c:v>90.612903225806448</c:v>
                </c:pt>
                <c:pt idx="1307">
                  <c:v>90.58064516129032</c:v>
                </c:pt>
                <c:pt idx="1308">
                  <c:v>90.645161290322577</c:v>
                </c:pt>
                <c:pt idx="1309">
                  <c:v>90.709677419354833</c:v>
                </c:pt>
                <c:pt idx="1310">
                  <c:v>90.838709677419359</c:v>
                </c:pt>
                <c:pt idx="1311">
                  <c:v>90.838709677419359</c:v>
                </c:pt>
                <c:pt idx="1312">
                  <c:v>90.516129032258064</c:v>
                </c:pt>
                <c:pt idx="1313">
                  <c:v>90.387096774193552</c:v>
                </c:pt>
                <c:pt idx="1314">
                  <c:v>90.677419354838705</c:v>
                </c:pt>
                <c:pt idx="1315">
                  <c:v>91.161290322580641</c:v>
                </c:pt>
                <c:pt idx="1316">
                  <c:v>91.064516129032256</c:v>
                </c:pt>
                <c:pt idx="1317">
                  <c:v>90.838709677419359</c:v>
                </c:pt>
                <c:pt idx="1318">
                  <c:v>90.516129032258064</c:v>
                </c:pt>
                <c:pt idx="1319">
                  <c:v>90.612903225806448</c:v>
                </c:pt>
                <c:pt idx="1320">
                  <c:v>90.774193548387103</c:v>
                </c:pt>
                <c:pt idx="1321">
                  <c:v>90.516129032258064</c:v>
                </c:pt>
                <c:pt idx="1322">
                  <c:v>90.516129032258064</c:v>
                </c:pt>
                <c:pt idx="1323">
                  <c:v>90.612903225806448</c:v>
                </c:pt>
                <c:pt idx="1324">
                  <c:v>90.741935483870961</c:v>
                </c:pt>
                <c:pt idx="1325">
                  <c:v>90.903225806451616</c:v>
                </c:pt>
                <c:pt idx="1326">
                  <c:v>91.096774193548384</c:v>
                </c:pt>
                <c:pt idx="1327">
                  <c:v>91.290322580645167</c:v>
                </c:pt>
                <c:pt idx="1328">
                  <c:v>91.290322580645167</c:v>
                </c:pt>
                <c:pt idx="1329">
                  <c:v>91.225806451612897</c:v>
                </c:pt>
                <c:pt idx="1330">
                  <c:v>91.354838709677423</c:v>
                </c:pt>
                <c:pt idx="1331">
                  <c:v>91.129032258064512</c:v>
                </c:pt>
                <c:pt idx="1332">
                  <c:v>91.387096774193552</c:v>
                </c:pt>
                <c:pt idx="1333">
                  <c:v>91.516129032258064</c:v>
                </c:pt>
                <c:pt idx="1334">
                  <c:v>90.903225806451616</c:v>
                </c:pt>
                <c:pt idx="1335">
                  <c:v>90.548387096774192</c:v>
                </c:pt>
                <c:pt idx="1336">
                  <c:v>90.387096774193552</c:v>
                </c:pt>
                <c:pt idx="1337">
                  <c:v>90.387096774193552</c:v>
                </c:pt>
                <c:pt idx="1338">
                  <c:v>90.096774193548384</c:v>
                </c:pt>
                <c:pt idx="1339">
                  <c:v>89.58064516129032</c:v>
                </c:pt>
                <c:pt idx="1340">
                  <c:v>89.516129032258064</c:v>
                </c:pt>
                <c:pt idx="1341">
                  <c:v>89.645161290322577</c:v>
                </c:pt>
                <c:pt idx="1342">
                  <c:v>89.032258064516128</c:v>
                </c:pt>
                <c:pt idx="1343">
                  <c:v>89.225806451612897</c:v>
                </c:pt>
                <c:pt idx="1344">
                  <c:v>89.161290322580641</c:v>
                </c:pt>
                <c:pt idx="1345">
                  <c:v>88.903225806451616</c:v>
                </c:pt>
                <c:pt idx="1346">
                  <c:v>88.483870967741936</c:v>
                </c:pt>
                <c:pt idx="1347">
                  <c:v>88.774193548387103</c:v>
                </c:pt>
                <c:pt idx="1348">
                  <c:v>88.870967741935488</c:v>
                </c:pt>
                <c:pt idx="1349">
                  <c:v>89.096774193548384</c:v>
                </c:pt>
                <c:pt idx="1350">
                  <c:v>89.064516129032256</c:v>
                </c:pt>
                <c:pt idx="1351">
                  <c:v>89.193548387096769</c:v>
                </c:pt>
                <c:pt idx="1352">
                  <c:v>89.322580645161295</c:v>
                </c:pt>
                <c:pt idx="1353">
                  <c:v>89.709677419354833</c:v>
                </c:pt>
                <c:pt idx="1354">
                  <c:v>89.322580645161295</c:v>
                </c:pt>
                <c:pt idx="1355">
                  <c:v>88.935483870967744</c:v>
                </c:pt>
                <c:pt idx="1356">
                  <c:v>88.838709677419359</c:v>
                </c:pt>
                <c:pt idx="1357">
                  <c:v>88.774193548387103</c:v>
                </c:pt>
                <c:pt idx="1358">
                  <c:v>89.129032258064512</c:v>
                </c:pt>
                <c:pt idx="1359">
                  <c:v>89.129032258064512</c:v>
                </c:pt>
                <c:pt idx="1360">
                  <c:v>89.096774193548384</c:v>
                </c:pt>
                <c:pt idx="1361">
                  <c:v>89.032258064516128</c:v>
                </c:pt>
                <c:pt idx="1362">
                  <c:v>88.774193548387103</c:v>
                </c:pt>
                <c:pt idx="1363">
                  <c:v>88.677419354838705</c:v>
                </c:pt>
                <c:pt idx="1364">
                  <c:v>88.806451612903231</c:v>
                </c:pt>
                <c:pt idx="1365">
                  <c:v>89</c:v>
                </c:pt>
                <c:pt idx="1366">
                  <c:v>88.806451612903231</c:v>
                </c:pt>
                <c:pt idx="1367">
                  <c:v>88.935483870967744</c:v>
                </c:pt>
                <c:pt idx="1368">
                  <c:v>89.064516129032256</c:v>
                </c:pt>
                <c:pt idx="1369">
                  <c:v>88.870967741935488</c:v>
                </c:pt>
                <c:pt idx="1370">
                  <c:v>89.096774193548384</c:v>
                </c:pt>
                <c:pt idx="1371">
                  <c:v>89.483870967741936</c:v>
                </c:pt>
                <c:pt idx="1372">
                  <c:v>89.709677419354833</c:v>
                </c:pt>
                <c:pt idx="1373">
                  <c:v>89.806451612903231</c:v>
                </c:pt>
                <c:pt idx="1374">
                  <c:v>90.032258064516128</c:v>
                </c:pt>
                <c:pt idx="1375">
                  <c:v>90.483870967741936</c:v>
                </c:pt>
                <c:pt idx="1376">
                  <c:v>90.483870967741936</c:v>
                </c:pt>
                <c:pt idx="1377">
                  <c:v>90.548387096774192</c:v>
                </c:pt>
                <c:pt idx="1378">
                  <c:v>90.193548387096769</c:v>
                </c:pt>
                <c:pt idx="1379">
                  <c:v>90</c:v>
                </c:pt>
                <c:pt idx="1380">
                  <c:v>90.129032258064512</c:v>
                </c:pt>
                <c:pt idx="1381">
                  <c:v>90</c:v>
                </c:pt>
                <c:pt idx="1382">
                  <c:v>89.709677419354833</c:v>
                </c:pt>
                <c:pt idx="1383">
                  <c:v>89.838709677419359</c:v>
                </c:pt>
                <c:pt idx="1384">
                  <c:v>89.645161290322577</c:v>
                </c:pt>
                <c:pt idx="1385">
                  <c:v>89.677419354838705</c:v>
                </c:pt>
                <c:pt idx="1386">
                  <c:v>89.645161290322577</c:v>
                </c:pt>
                <c:pt idx="1387">
                  <c:v>89.290322580645167</c:v>
                </c:pt>
                <c:pt idx="1388">
                  <c:v>88.967741935483872</c:v>
                </c:pt>
                <c:pt idx="1389">
                  <c:v>88.870967741935488</c:v>
                </c:pt>
                <c:pt idx="1390">
                  <c:v>88.774193548387103</c:v>
                </c:pt>
                <c:pt idx="1391">
                  <c:v>88.677419354838705</c:v>
                </c:pt>
                <c:pt idx="1392">
                  <c:v>88.548387096774192</c:v>
                </c:pt>
                <c:pt idx="1393">
                  <c:v>88.483870967741936</c:v>
                </c:pt>
                <c:pt idx="1394">
                  <c:v>88.806451612903231</c:v>
                </c:pt>
                <c:pt idx="1395">
                  <c:v>89</c:v>
                </c:pt>
                <c:pt idx="1396">
                  <c:v>89.032258064516128</c:v>
                </c:pt>
                <c:pt idx="1397">
                  <c:v>89.387096774193552</c:v>
                </c:pt>
                <c:pt idx="1398">
                  <c:v>89.387096774193552</c:v>
                </c:pt>
                <c:pt idx="1399">
                  <c:v>89.161290322580641</c:v>
                </c:pt>
                <c:pt idx="1400">
                  <c:v>89.709677419354833</c:v>
                </c:pt>
                <c:pt idx="1401">
                  <c:v>89.838709677419359</c:v>
                </c:pt>
                <c:pt idx="1402">
                  <c:v>89.451612903225808</c:v>
                </c:pt>
                <c:pt idx="1403">
                  <c:v>89.225806451612897</c:v>
                </c:pt>
                <c:pt idx="1404">
                  <c:v>89.41935483870968</c:v>
                </c:pt>
                <c:pt idx="1405">
                  <c:v>89.096774193548384</c:v>
                </c:pt>
                <c:pt idx="1406">
                  <c:v>89</c:v>
                </c:pt>
                <c:pt idx="1407">
                  <c:v>89.354838709677423</c:v>
                </c:pt>
                <c:pt idx="1408">
                  <c:v>89.612903225806448</c:v>
                </c:pt>
                <c:pt idx="1409">
                  <c:v>89.838709677419359</c:v>
                </c:pt>
                <c:pt idx="1410">
                  <c:v>89.548387096774192</c:v>
                </c:pt>
                <c:pt idx="1411">
                  <c:v>89.290322580645167</c:v>
                </c:pt>
                <c:pt idx="1412">
                  <c:v>89.129032258064512</c:v>
                </c:pt>
                <c:pt idx="1413">
                  <c:v>89.322580645161295</c:v>
                </c:pt>
                <c:pt idx="1414">
                  <c:v>88.838709677419359</c:v>
                </c:pt>
                <c:pt idx="1415">
                  <c:v>88.677419354838705</c:v>
                </c:pt>
                <c:pt idx="1416">
                  <c:v>88.806451612903231</c:v>
                </c:pt>
                <c:pt idx="1417">
                  <c:v>89.161290322580641</c:v>
                </c:pt>
                <c:pt idx="1418">
                  <c:v>89.709677419354833</c:v>
                </c:pt>
                <c:pt idx="1419">
                  <c:v>89.903225806451616</c:v>
                </c:pt>
                <c:pt idx="1420">
                  <c:v>89.677419354838705</c:v>
                </c:pt>
                <c:pt idx="1421">
                  <c:v>89.677419354838705</c:v>
                </c:pt>
                <c:pt idx="1422">
                  <c:v>89.741935483870961</c:v>
                </c:pt>
                <c:pt idx="1423">
                  <c:v>89.451612903225808</c:v>
                </c:pt>
                <c:pt idx="1424">
                  <c:v>90.032258064516128</c:v>
                </c:pt>
                <c:pt idx="1425">
                  <c:v>90.096774193548384</c:v>
                </c:pt>
                <c:pt idx="1426">
                  <c:v>89.741935483870961</c:v>
                </c:pt>
                <c:pt idx="1427">
                  <c:v>89.58064516129032</c:v>
                </c:pt>
                <c:pt idx="1428">
                  <c:v>89.483870967741936</c:v>
                </c:pt>
                <c:pt idx="1429">
                  <c:v>89.483870967741936</c:v>
                </c:pt>
                <c:pt idx="1430">
                  <c:v>89.612903225806448</c:v>
                </c:pt>
                <c:pt idx="1431">
                  <c:v>89.41935483870968</c:v>
                </c:pt>
                <c:pt idx="1432">
                  <c:v>89.193548387096769</c:v>
                </c:pt>
                <c:pt idx="1433">
                  <c:v>89.225806451612897</c:v>
                </c:pt>
                <c:pt idx="1434">
                  <c:v>89.064516129032256</c:v>
                </c:pt>
                <c:pt idx="1435">
                  <c:v>88.870967741935488</c:v>
                </c:pt>
                <c:pt idx="1436">
                  <c:v>89.129032258064512</c:v>
                </c:pt>
                <c:pt idx="1437">
                  <c:v>88.709677419354833</c:v>
                </c:pt>
                <c:pt idx="1438">
                  <c:v>88.322580645161295</c:v>
                </c:pt>
                <c:pt idx="1439">
                  <c:v>88.193548387096769</c:v>
                </c:pt>
                <c:pt idx="1440">
                  <c:v>88.387096774193552</c:v>
                </c:pt>
                <c:pt idx="1441">
                  <c:v>88.677419354838705</c:v>
                </c:pt>
                <c:pt idx="1442">
                  <c:v>88.612903225806448</c:v>
                </c:pt>
                <c:pt idx="1443">
                  <c:v>88.806451612903231</c:v>
                </c:pt>
                <c:pt idx="1444">
                  <c:v>88.322580645161295</c:v>
                </c:pt>
                <c:pt idx="1445">
                  <c:v>88.838709677419359</c:v>
                </c:pt>
                <c:pt idx="1446">
                  <c:v>89.064516129032256</c:v>
                </c:pt>
                <c:pt idx="1447">
                  <c:v>89.161290322580641</c:v>
                </c:pt>
                <c:pt idx="1448">
                  <c:v>89.161290322580641</c:v>
                </c:pt>
                <c:pt idx="1449">
                  <c:v>88.58064516129032</c:v>
                </c:pt>
                <c:pt idx="1450">
                  <c:v>88.806451612903231</c:v>
                </c:pt>
                <c:pt idx="1451">
                  <c:v>88.516129032258064</c:v>
                </c:pt>
                <c:pt idx="1452">
                  <c:v>88.935483870967744</c:v>
                </c:pt>
                <c:pt idx="1453">
                  <c:v>88.838709677419359</c:v>
                </c:pt>
                <c:pt idx="1454">
                  <c:v>89.032258064516128</c:v>
                </c:pt>
                <c:pt idx="1455">
                  <c:v>88.677419354838705</c:v>
                </c:pt>
                <c:pt idx="1456">
                  <c:v>88.290322580645167</c:v>
                </c:pt>
                <c:pt idx="1457">
                  <c:v>88.225806451612897</c:v>
                </c:pt>
                <c:pt idx="1458">
                  <c:v>88.387096774193552</c:v>
                </c:pt>
                <c:pt idx="1459">
                  <c:v>88.387096774193552</c:v>
                </c:pt>
                <c:pt idx="1460">
                  <c:v>87.774193548387103</c:v>
                </c:pt>
                <c:pt idx="1461">
                  <c:v>87.903225806451616</c:v>
                </c:pt>
                <c:pt idx="1462">
                  <c:v>87.612903225806448</c:v>
                </c:pt>
                <c:pt idx="1463">
                  <c:v>87.935483870967744</c:v>
                </c:pt>
                <c:pt idx="1464">
                  <c:v>88.483870967741936</c:v>
                </c:pt>
                <c:pt idx="1465">
                  <c:v>88.548387096774192</c:v>
                </c:pt>
                <c:pt idx="1466">
                  <c:v>88.58064516129032</c:v>
                </c:pt>
                <c:pt idx="1467">
                  <c:v>88.129032258064512</c:v>
                </c:pt>
                <c:pt idx="1468">
                  <c:v>88.064516129032256</c:v>
                </c:pt>
                <c:pt idx="1469">
                  <c:v>88.161290322580641</c:v>
                </c:pt>
                <c:pt idx="1470">
                  <c:v>87.935483870967744</c:v>
                </c:pt>
                <c:pt idx="1471">
                  <c:v>87.612903225806448</c:v>
                </c:pt>
                <c:pt idx="1472">
                  <c:v>87.903225806451616</c:v>
                </c:pt>
                <c:pt idx="1473">
                  <c:v>88.41935483870968</c:v>
                </c:pt>
                <c:pt idx="1474">
                  <c:v>88.258064516129039</c:v>
                </c:pt>
                <c:pt idx="1475">
                  <c:v>88.612903225806448</c:v>
                </c:pt>
                <c:pt idx="1476">
                  <c:v>88.032258064516128</c:v>
                </c:pt>
                <c:pt idx="1477">
                  <c:v>87.806451612903231</c:v>
                </c:pt>
                <c:pt idx="1478">
                  <c:v>87.935483870967744</c:v>
                </c:pt>
                <c:pt idx="1479">
                  <c:v>87.516129032258064</c:v>
                </c:pt>
                <c:pt idx="1480">
                  <c:v>87.548387096774192</c:v>
                </c:pt>
                <c:pt idx="1481">
                  <c:v>87.387096774193552</c:v>
                </c:pt>
                <c:pt idx="1482">
                  <c:v>87.645161290322577</c:v>
                </c:pt>
                <c:pt idx="1483">
                  <c:v>87.354838709677423</c:v>
                </c:pt>
                <c:pt idx="1484">
                  <c:v>87.870967741935488</c:v>
                </c:pt>
                <c:pt idx="1485">
                  <c:v>88.290322580645167</c:v>
                </c:pt>
                <c:pt idx="1486">
                  <c:v>88.354838709677423</c:v>
                </c:pt>
                <c:pt idx="1487">
                  <c:v>88.225806451612897</c:v>
                </c:pt>
                <c:pt idx="1488">
                  <c:v>88.290322580645167</c:v>
                </c:pt>
                <c:pt idx="1489">
                  <c:v>88.258064516129039</c:v>
                </c:pt>
                <c:pt idx="1490">
                  <c:v>88.225806451612897</c:v>
                </c:pt>
                <c:pt idx="1491">
                  <c:v>88.58064516129032</c:v>
                </c:pt>
                <c:pt idx="1492">
                  <c:v>88.741935483870961</c:v>
                </c:pt>
                <c:pt idx="1493">
                  <c:v>89.225806451612897</c:v>
                </c:pt>
                <c:pt idx="1494">
                  <c:v>88.935483870967744</c:v>
                </c:pt>
                <c:pt idx="1495">
                  <c:v>88.58064516129032</c:v>
                </c:pt>
                <c:pt idx="1496">
                  <c:v>88.612903225806448</c:v>
                </c:pt>
                <c:pt idx="1497">
                  <c:v>88.709677419354833</c:v>
                </c:pt>
                <c:pt idx="1498">
                  <c:v>88.709677419354833</c:v>
                </c:pt>
                <c:pt idx="1499">
                  <c:v>89.225806451612897</c:v>
                </c:pt>
                <c:pt idx="1500">
                  <c:v>89.41935483870968</c:v>
                </c:pt>
                <c:pt idx="1501">
                  <c:v>89.354838709677423</c:v>
                </c:pt>
                <c:pt idx="1502">
                  <c:v>89.806451612903231</c:v>
                </c:pt>
                <c:pt idx="1503">
                  <c:v>89.741935483870961</c:v>
                </c:pt>
                <c:pt idx="1504">
                  <c:v>89.41935483870968</c:v>
                </c:pt>
                <c:pt idx="1505">
                  <c:v>89.451612903225808</c:v>
                </c:pt>
                <c:pt idx="1506">
                  <c:v>89.451612903225808</c:v>
                </c:pt>
                <c:pt idx="1507">
                  <c:v>89.806451612903231</c:v>
                </c:pt>
                <c:pt idx="1508">
                  <c:v>90.129032258064512</c:v>
                </c:pt>
                <c:pt idx="1509">
                  <c:v>90.064516129032256</c:v>
                </c:pt>
                <c:pt idx="1510">
                  <c:v>90.225806451612897</c:v>
                </c:pt>
                <c:pt idx="1511">
                  <c:v>90.516129032258064</c:v>
                </c:pt>
                <c:pt idx="1512">
                  <c:v>90.096774193548384</c:v>
                </c:pt>
                <c:pt idx="1513">
                  <c:v>90.41935483870968</c:v>
                </c:pt>
                <c:pt idx="1514">
                  <c:v>90.645161290322577</c:v>
                </c:pt>
                <c:pt idx="1515">
                  <c:v>90.516129032258064</c:v>
                </c:pt>
                <c:pt idx="1516">
                  <c:v>90.258064516129039</c:v>
                </c:pt>
                <c:pt idx="1517">
                  <c:v>90.064516129032256</c:v>
                </c:pt>
                <c:pt idx="1518">
                  <c:v>90.58064516129032</c:v>
                </c:pt>
                <c:pt idx="1519">
                  <c:v>90.451612903225808</c:v>
                </c:pt>
                <c:pt idx="1520">
                  <c:v>90.290322580645167</c:v>
                </c:pt>
                <c:pt idx="1521">
                  <c:v>90.612903225806448</c:v>
                </c:pt>
                <c:pt idx="1522">
                  <c:v>90.548387096774192</c:v>
                </c:pt>
                <c:pt idx="1523">
                  <c:v>90.290322580645167</c:v>
                </c:pt>
                <c:pt idx="1524">
                  <c:v>90.225806451612897</c:v>
                </c:pt>
                <c:pt idx="1525">
                  <c:v>90.387096774193552</c:v>
                </c:pt>
                <c:pt idx="1526">
                  <c:v>90.774193548387103</c:v>
                </c:pt>
                <c:pt idx="1527">
                  <c:v>90.935483870967744</c:v>
                </c:pt>
                <c:pt idx="1528">
                  <c:v>91.258064516129039</c:v>
                </c:pt>
                <c:pt idx="1529">
                  <c:v>91.645161290322577</c:v>
                </c:pt>
                <c:pt idx="1530">
                  <c:v>91.58064516129032</c:v>
                </c:pt>
                <c:pt idx="1531">
                  <c:v>91.161290322580641</c:v>
                </c:pt>
                <c:pt idx="1532">
                  <c:v>91.709677419354833</c:v>
                </c:pt>
                <c:pt idx="1533">
                  <c:v>91.645161290322577</c:v>
                </c:pt>
                <c:pt idx="1534">
                  <c:v>91.548387096774192</c:v>
                </c:pt>
                <c:pt idx="1535">
                  <c:v>91.516129032258064</c:v>
                </c:pt>
                <c:pt idx="1536">
                  <c:v>91.612903225806448</c:v>
                </c:pt>
                <c:pt idx="1537">
                  <c:v>91.58064516129032</c:v>
                </c:pt>
                <c:pt idx="1538">
                  <c:v>91.225806451612897</c:v>
                </c:pt>
                <c:pt idx="1539">
                  <c:v>91</c:v>
                </c:pt>
                <c:pt idx="1540">
                  <c:v>90.838709677419359</c:v>
                </c:pt>
                <c:pt idx="1541">
                  <c:v>90.774193548387103</c:v>
                </c:pt>
                <c:pt idx="1542">
                  <c:v>90.677419354838705</c:v>
                </c:pt>
                <c:pt idx="1543">
                  <c:v>90.870967741935488</c:v>
                </c:pt>
                <c:pt idx="1544">
                  <c:v>90.903225806451616</c:v>
                </c:pt>
                <c:pt idx="1545">
                  <c:v>90.677419354838705</c:v>
                </c:pt>
                <c:pt idx="1546">
                  <c:v>90.322580645161295</c:v>
                </c:pt>
                <c:pt idx="1547">
                  <c:v>90.451612903225808</c:v>
                </c:pt>
                <c:pt idx="1548">
                  <c:v>90.838709677419359</c:v>
                </c:pt>
                <c:pt idx="1549">
                  <c:v>90.451612903225808</c:v>
                </c:pt>
                <c:pt idx="1550">
                  <c:v>91</c:v>
                </c:pt>
                <c:pt idx="1551">
                  <c:v>91.225806451612897</c:v>
                </c:pt>
                <c:pt idx="1552">
                  <c:v>90.903225806451616</c:v>
                </c:pt>
                <c:pt idx="1553">
                  <c:v>90.870967741935488</c:v>
                </c:pt>
                <c:pt idx="1554">
                  <c:v>91.161290322580641</c:v>
                </c:pt>
                <c:pt idx="1555">
                  <c:v>91.225806451612897</c:v>
                </c:pt>
                <c:pt idx="1556">
                  <c:v>91</c:v>
                </c:pt>
                <c:pt idx="1557">
                  <c:v>90.612903225806448</c:v>
                </c:pt>
                <c:pt idx="1558">
                  <c:v>90.225806451612897</c:v>
                </c:pt>
                <c:pt idx="1559">
                  <c:v>90.161290322580641</c:v>
                </c:pt>
                <c:pt idx="1560">
                  <c:v>90.290322580645167</c:v>
                </c:pt>
                <c:pt idx="1561">
                  <c:v>90.032258064516128</c:v>
                </c:pt>
                <c:pt idx="1562">
                  <c:v>90.290322580645167</c:v>
                </c:pt>
                <c:pt idx="1563">
                  <c:v>89.838709677419359</c:v>
                </c:pt>
                <c:pt idx="1564">
                  <c:v>89.516129032258064</c:v>
                </c:pt>
                <c:pt idx="1565">
                  <c:v>89.451612903225808</c:v>
                </c:pt>
                <c:pt idx="1566">
                  <c:v>89.58064516129032</c:v>
                </c:pt>
                <c:pt idx="1567">
                  <c:v>89.903225806451616</c:v>
                </c:pt>
                <c:pt idx="1568">
                  <c:v>89.870967741935488</c:v>
                </c:pt>
                <c:pt idx="1569">
                  <c:v>90.258064516129039</c:v>
                </c:pt>
                <c:pt idx="1570">
                  <c:v>90.483870967741936</c:v>
                </c:pt>
                <c:pt idx="1571">
                  <c:v>90.516129032258064</c:v>
                </c:pt>
                <c:pt idx="1572">
                  <c:v>90.483870967741936</c:v>
                </c:pt>
                <c:pt idx="1573">
                  <c:v>90.483870967741936</c:v>
                </c:pt>
                <c:pt idx="1574">
                  <c:v>90.548387096774192</c:v>
                </c:pt>
                <c:pt idx="1575">
                  <c:v>90.258064516129039</c:v>
                </c:pt>
                <c:pt idx="1576">
                  <c:v>90.322580645161295</c:v>
                </c:pt>
                <c:pt idx="1577">
                  <c:v>90.516129032258064</c:v>
                </c:pt>
                <c:pt idx="1578">
                  <c:v>90.290322580645167</c:v>
                </c:pt>
                <c:pt idx="1579">
                  <c:v>90.387096774193552</c:v>
                </c:pt>
                <c:pt idx="1580">
                  <c:v>90.838709677419359</c:v>
                </c:pt>
                <c:pt idx="1581">
                  <c:v>90.58064516129032</c:v>
                </c:pt>
                <c:pt idx="1582">
                  <c:v>90.838709677419359</c:v>
                </c:pt>
                <c:pt idx="1583">
                  <c:v>91</c:v>
                </c:pt>
                <c:pt idx="1584">
                  <c:v>91.290322580645167</c:v>
                </c:pt>
                <c:pt idx="1585">
                  <c:v>91.258064516129039</c:v>
                </c:pt>
                <c:pt idx="1586">
                  <c:v>91.129032258064512</c:v>
                </c:pt>
                <c:pt idx="1587">
                  <c:v>91.225806451612897</c:v>
                </c:pt>
                <c:pt idx="1588">
                  <c:v>91.41935483870968</c:v>
                </c:pt>
                <c:pt idx="1589">
                  <c:v>91.903225806451616</c:v>
                </c:pt>
                <c:pt idx="1590">
                  <c:v>91.677419354838705</c:v>
                </c:pt>
                <c:pt idx="1591">
                  <c:v>91.58064516129032</c:v>
                </c:pt>
                <c:pt idx="1592">
                  <c:v>91.967741935483872</c:v>
                </c:pt>
                <c:pt idx="1593">
                  <c:v>92.322580645161295</c:v>
                </c:pt>
                <c:pt idx="1594">
                  <c:v>92.225806451612897</c:v>
                </c:pt>
                <c:pt idx="1595">
                  <c:v>92.516129032258064</c:v>
                </c:pt>
                <c:pt idx="1596">
                  <c:v>92.354838709677423</c:v>
                </c:pt>
                <c:pt idx="1597">
                  <c:v>92.677419354838705</c:v>
                </c:pt>
                <c:pt idx="1598">
                  <c:v>92.451612903225808</c:v>
                </c:pt>
                <c:pt idx="1599">
                  <c:v>92.483870967741936</c:v>
                </c:pt>
                <c:pt idx="1600">
                  <c:v>92.387096774193552</c:v>
                </c:pt>
                <c:pt idx="1601">
                  <c:v>92.387096774193552</c:v>
                </c:pt>
                <c:pt idx="1602">
                  <c:v>92.193548387096769</c:v>
                </c:pt>
                <c:pt idx="1603">
                  <c:v>92.354838709677423</c:v>
                </c:pt>
                <c:pt idx="1604">
                  <c:v>92.41935483870968</c:v>
                </c:pt>
                <c:pt idx="1605">
                  <c:v>92.612903225806448</c:v>
                </c:pt>
                <c:pt idx="1606">
                  <c:v>92.483870967741936</c:v>
                </c:pt>
                <c:pt idx="1607">
                  <c:v>92.677419354838705</c:v>
                </c:pt>
                <c:pt idx="1608">
                  <c:v>92.838709677419359</c:v>
                </c:pt>
                <c:pt idx="1609">
                  <c:v>92.870967741935488</c:v>
                </c:pt>
                <c:pt idx="1610">
                  <c:v>92.290322580645167</c:v>
                </c:pt>
                <c:pt idx="1611">
                  <c:v>92.322580645161295</c:v>
                </c:pt>
                <c:pt idx="1612">
                  <c:v>92.387096774193552</c:v>
                </c:pt>
                <c:pt idx="1613">
                  <c:v>91.935483870967744</c:v>
                </c:pt>
                <c:pt idx="1614">
                  <c:v>91.935483870967744</c:v>
                </c:pt>
                <c:pt idx="1615">
                  <c:v>91.483870967741936</c:v>
                </c:pt>
                <c:pt idx="1616">
                  <c:v>91.225806451612897</c:v>
                </c:pt>
                <c:pt idx="1617">
                  <c:v>91.129032258064512</c:v>
                </c:pt>
                <c:pt idx="1618">
                  <c:v>90.967741935483872</c:v>
                </c:pt>
                <c:pt idx="1619">
                  <c:v>90.645161290322577</c:v>
                </c:pt>
                <c:pt idx="1620">
                  <c:v>90.129032258064512</c:v>
                </c:pt>
                <c:pt idx="1621">
                  <c:v>90.516129032258064</c:v>
                </c:pt>
                <c:pt idx="1622">
                  <c:v>90.193548387096769</c:v>
                </c:pt>
                <c:pt idx="1623">
                  <c:v>89.612903225806448</c:v>
                </c:pt>
                <c:pt idx="1624">
                  <c:v>89.193548387096769</c:v>
                </c:pt>
                <c:pt idx="1625">
                  <c:v>89.741935483870961</c:v>
                </c:pt>
                <c:pt idx="1626">
                  <c:v>89.645161290322577</c:v>
                </c:pt>
                <c:pt idx="1627">
                  <c:v>89.41935483870968</c:v>
                </c:pt>
                <c:pt idx="1628">
                  <c:v>89</c:v>
                </c:pt>
                <c:pt idx="1629">
                  <c:v>89.290322580645167</c:v>
                </c:pt>
                <c:pt idx="1630">
                  <c:v>89.451612903225808</c:v>
                </c:pt>
                <c:pt idx="1631">
                  <c:v>89.548387096774192</c:v>
                </c:pt>
                <c:pt idx="1632">
                  <c:v>89.354838709677423</c:v>
                </c:pt>
                <c:pt idx="1633">
                  <c:v>89.548387096774192</c:v>
                </c:pt>
                <c:pt idx="1634">
                  <c:v>89.548387096774192</c:v>
                </c:pt>
                <c:pt idx="1635">
                  <c:v>89.548387096774192</c:v>
                </c:pt>
                <c:pt idx="1636">
                  <c:v>89.612903225806448</c:v>
                </c:pt>
                <c:pt idx="1637">
                  <c:v>89.677419354838705</c:v>
                </c:pt>
                <c:pt idx="1638">
                  <c:v>89.741935483870961</c:v>
                </c:pt>
                <c:pt idx="1639">
                  <c:v>89.677419354838705</c:v>
                </c:pt>
                <c:pt idx="1640">
                  <c:v>89.806451612903231</c:v>
                </c:pt>
                <c:pt idx="1641">
                  <c:v>90.258064516129039</c:v>
                </c:pt>
                <c:pt idx="1642">
                  <c:v>89.870967741935488</c:v>
                </c:pt>
                <c:pt idx="1643">
                  <c:v>89.741935483870961</c:v>
                </c:pt>
                <c:pt idx="1644">
                  <c:v>89.774193548387103</c:v>
                </c:pt>
                <c:pt idx="1645">
                  <c:v>89.774193548387103</c:v>
                </c:pt>
                <c:pt idx="1646">
                  <c:v>90.161290322580641</c:v>
                </c:pt>
                <c:pt idx="1647">
                  <c:v>90.290322580645167</c:v>
                </c:pt>
                <c:pt idx="1648">
                  <c:v>90.612903225806448</c:v>
                </c:pt>
                <c:pt idx="1649">
                  <c:v>91.161290322580641</c:v>
                </c:pt>
                <c:pt idx="1650">
                  <c:v>91.645161290322577</c:v>
                </c:pt>
                <c:pt idx="1651">
                  <c:v>92.258064516129039</c:v>
                </c:pt>
                <c:pt idx="1652">
                  <c:v>91.903225806451616</c:v>
                </c:pt>
                <c:pt idx="1653">
                  <c:v>91.806451612903231</c:v>
                </c:pt>
                <c:pt idx="1654">
                  <c:v>92.225806451612897</c:v>
                </c:pt>
                <c:pt idx="1655">
                  <c:v>92.258064516129039</c:v>
                </c:pt>
                <c:pt idx="1656">
                  <c:v>92.032258064516128</c:v>
                </c:pt>
                <c:pt idx="1657">
                  <c:v>91.870967741935488</c:v>
                </c:pt>
                <c:pt idx="1658">
                  <c:v>92.225806451612897</c:v>
                </c:pt>
                <c:pt idx="1659">
                  <c:v>92.41935483870968</c:v>
                </c:pt>
                <c:pt idx="1660">
                  <c:v>91.967741935483872</c:v>
                </c:pt>
                <c:pt idx="1661">
                  <c:v>91.709677419354833</c:v>
                </c:pt>
                <c:pt idx="1662">
                  <c:v>91.58064516129032</c:v>
                </c:pt>
                <c:pt idx="1663">
                  <c:v>91.741935483870961</c:v>
                </c:pt>
                <c:pt idx="1664">
                  <c:v>91.709677419354833</c:v>
                </c:pt>
                <c:pt idx="1665">
                  <c:v>91.387096774193552</c:v>
                </c:pt>
                <c:pt idx="1666">
                  <c:v>91.548387096774192</c:v>
                </c:pt>
                <c:pt idx="1667">
                  <c:v>91.354838709677423</c:v>
                </c:pt>
                <c:pt idx="1668">
                  <c:v>91.516129032258064</c:v>
                </c:pt>
                <c:pt idx="1669">
                  <c:v>91.258064516129039</c:v>
                </c:pt>
                <c:pt idx="1670">
                  <c:v>91.58064516129032</c:v>
                </c:pt>
                <c:pt idx="1671">
                  <c:v>91.645161290322577</c:v>
                </c:pt>
                <c:pt idx="1672">
                  <c:v>91.741935483870961</c:v>
                </c:pt>
                <c:pt idx="1673">
                  <c:v>91.516129032258064</c:v>
                </c:pt>
                <c:pt idx="1674">
                  <c:v>91.483870967741936</c:v>
                </c:pt>
                <c:pt idx="1675">
                  <c:v>91.645161290322577</c:v>
                </c:pt>
                <c:pt idx="1676">
                  <c:v>91.354838709677423</c:v>
                </c:pt>
                <c:pt idx="1677">
                  <c:v>91.032258064516128</c:v>
                </c:pt>
                <c:pt idx="1678">
                  <c:v>90.870967741935488</c:v>
                </c:pt>
                <c:pt idx="1679">
                  <c:v>90.709677419354833</c:v>
                </c:pt>
                <c:pt idx="1680">
                  <c:v>90.451612903225808</c:v>
                </c:pt>
                <c:pt idx="1681">
                  <c:v>90.161290322580641</c:v>
                </c:pt>
                <c:pt idx="1682">
                  <c:v>89.58064516129032</c:v>
                </c:pt>
                <c:pt idx="1683">
                  <c:v>89.709677419354833</c:v>
                </c:pt>
                <c:pt idx="1684">
                  <c:v>90.225806451612897</c:v>
                </c:pt>
                <c:pt idx="1685">
                  <c:v>90.032258064516128</c:v>
                </c:pt>
                <c:pt idx="1686">
                  <c:v>90.096774193548384</c:v>
                </c:pt>
                <c:pt idx="1687">
                  <c:v>89.806451612903231</c:v>
                </c:pt>
                <c:pt idx="1688">
                  <c:v>90</c:v>
                </c:pt>
                <c:pt idx="1689">
                  <c:v>89.806451612903231</c:v>
                </c:pt>
                <c:pt idx="1690">
                  <c:v>89.935483870967744</c:v>
                </c:pt>
                <c:pt idx="1691">
                  <c:v>89.838709677419359</c:v>
                </c:pt>
                <c:pt idx="1692">
                  <c:v>90.193548387096769</c:v>
                </c:pt>
                <c:pt idx="1693">
                  <c:v>90.451612903225808</c:v>
                </c:pt>
                <c:pt idx="1694">
                  <c:v>90.161290322580641</c:v>
                </c:pt>
                <c:pt idx="1695">
                  <c:v>89.806451612903231</c:v>
                </c:pt>
                <c:pt idx="1696">
                  <c:v>90.161290322580641</c:v>
                </c:pt>
                <c:pt idx="1697">
                  <c:v>89.838709677419359</c:v>
                </c:pt>
                <c:pt idx="1698">
                  <c:v>89.741935483870961</c:v>
                </c:pt>
                <c:pt idx="1699">
                  <c:v>90.096774193548384</c:v>
                </c:pt>
                <c:pt idx="1700">
                  <c:v>90.548387096774192</c:v>
                </c:pt>
                <c:pt idx="1701">
                  <c:v>90.645161290322577</c:v>
                </c:pt>
                <c:pt idx="1702">
                  <c:v>90.612903225806448</c:v>
                </c:pt>
                <c:pt idx="1703">
                  <c:v>90.806451612903231</c:v>
                </c:pt>
                <c:pt idx="1704">
                  <c:v>91.354838709677423</c:v>
                </c:pt>
                <c:pt idx="1705">
                  <c:v>91.774193548387103</c:v>
                </c:pt>
                <c:pt idx="1706">
                  <c:v>92.322580645161295</c:v>
                </c:pt>
                <c:pt idx="1707">
                  <c:v>92.741935483870961</c:v>
                </c:pt>
                <c:pt idx="1708">
                  <c:v>93.161290322580641</c:v>
                </c:pt>
                <c:pt idx="1709">
                  <c:v>93.516129032258064</c:v>
                </c:pt>
                <c:pt idx="1710">
                  <c:v>93.516129032258064</c:v>
                </c:pt>
                <c:pt idx="1711">
                  <c:v>93.838709677419359</c:v>
                </c:pt>
                <c:pt idx="1712">
                  <c:v>94.258064516129039</c:v>
                </c:pt>
                <c:pt idx="1713">
                  <c:v>94.870967741935488</c:v>
                </c:pt>
                <c:pt idx="1714">
                  <c:v>94.967741935483872</c:v>
                </c:pt>
                <c:pt idx="1715">
                  <c:v>94.903225806451616</c:v>
                </c:pt>
                <c:pt idx="1716">
                  <c:v>95.096774193548384</c:v>
                </c:pt>
                <c:pt idx="1717">
                  <c:v>95.322580645161295</c:v>
                </c:pt>
                <c:pt idx="1718">
                  <c:v>95.967741935483872</c:v>
                </c:pt>
                <c:pt idx="1719">
                  <c:v>96.387096774193552</c:v>
                </c:pt>
                <c:pt idx="1720">
                  <c:v>97.032258064516128</c:v>
                </c:pt>
                <c:pt idx="1721">
                  <c:v>97.129032258064512</c:v>
                </c:pt>
                <c:pt idx="1722">
                  <c:v>97.838709677419359</c:v>
                </c:pt>
                <c:pt idx="1723">
                  <c:v>97.967741935483872</c:v>
                </c:pt>
                <c:pt idx="1724">
                  <c:v>97.967741935483872</c:v>
                </c:pt>
                <c:pt idx="1725">
                  <c:v>98.451612903225808</c:v>
                </c:pt>
                <c:pt idx="1726">
                  <c:v>98.967741935483872</c:v>
                </c:pt>
                <c:pt idx="1727">
                  <c:v>99.354838709677423</c:v>
                </c:pt>
                <c:pt idx="1728">
                  <c:v>100</c:v>
                </c:pt>
                <c:pt idx="1729">
                  <c:v>100.45161290322581</c:v>
                </c:pt>
                <c:pt idx="1730">
                  <c:v>100.12903225806451</c:v>
                </c:pt>
                <c:pt idx="1731">
                  <c:v>100.06451612903226</c:v>
                </c:pt>
                <c:pt idx="1732">
                  <c:v>99.838709677419359</c:v>
                </c:pt>
                <c:pt idx="1733">
                  <c:v>99.903225806451616</c:v>
                </c:pt>
                <c:pt idx="1734">
                  <c:v>99.806451612903231</c:v>
                </c:pt>
                <c:pt idx="1735">
                  <c:v>100</c:v>
                </c:pt>
                <c:pt idx="1736">
                  <c:v>100.12903225806451</c:v>
                </c:pt>
                <c:pt idx="1737">
                  <c:v>100.12903225806451</c:v>
                </c:pt>
                <c:pt idx="1738">
                  <c:v>100.12903225806451</c:v>
                </c:pt>
                <c:pt idx="1739">
                  <c:v>100.19354838709677</c:v>
                </c:pt>
                <c:pt idx="1740">
                  <c:v>100.3225806451613</c:v>
                </c:pt>
                <c:pt idx="1741">
                  <c:v>100.48387096774194</c:v>
                </c:pt>
                <c:pt idx="1742">
                  <c:v>100.58064516129032</c:v>
                </c:pt>
                <c:pt idx="1743">
                  <c:v>100.3225806451613</c:v>
                </c:pt>
                <c:pt idx="1744">
                  <c:v>99.709677419354833</c:v>
                </c:pt>
                <c:pt idx="1745">
                  <c:v>99.258064516129039</c:v>
                </c:pt>
                <c:pt idx="1746">
                  <c:v>99</c:v>
                </c:pt>
                <c:pt idx="1747">
                  <c:v>98.645161290322577</c:v>
                </c:pt>
                <c:pt idx="1748">
                  <c:v>98.774193548387103</c:v>
                </c:pt>
                <c:pt idx="1749">
                  <c:v>98.548387096774192</c:v>
                </c:pt>
                <c:pt idx="1750">
                  <c:v>98.193548387096769</c:v>
                </c:pt>
                <c:pt idx="1751">
                  <c:v>97.838709677419359</c:v>
                </c:pt>
                <c:pt idx="1752">
                  <c:v>97.290322580645167</c:v>
                </c:pt>
                <c:pt idx="1753">
                  <c:v>97.064516129032256</c:v>
                </c:pt>
                <c:pt idx="1754">
                  <c:v>96.516129032258064</c:v>
                </c:pt>
                <c:pt idx="1755">
                  <c:v>96.387096774193552</c:v>
                </c:pt>
                <c:pt idx="1756">
                  <c:v>95.903225806451616</c:v>
                </c:pt>
                <c:pt idx="1757">
                  <c:v>95.677419354838705</c:v>
                </c:pt>
                <c:pt idx="1758">
                  <c:v>95.225806451612897</c:v>
                </c:pt>
                <c:pt idx="1759">
                  <c:v>94.677419354838705</c:v>
                </c:pt>
                <c:pt idx="1760">
                  <c:v>94.354838709677423</c:v>
                </c:pt>
                <c:pt idx="1761">
                  <c:v>94.161290322580641</c:v>
                </c:pt>
                <c:pt idx="1762">
                  <c:v>93.709677419354833</c:v>
                </c:pt>
                <c:pt idx="1763">
                  <c:v>93.290322580645167</c:v>
                </c:pt>
                <c:pt idx="1764">
                  <c:v>92.967741935483872</c:v>
                </c:pt>
                <c:pt idx="1765">
                  <c:v>92.935483870967744</c:v>
                </c:pt>
                <c:pt idx="1766">
                  <c:v>92.322580645161295</c:v>
                </c:pt>
                <c:pt idx="1767">
                  <c:v>92</c:v>
                </c:pt>
                <c:pt idx="1768">
                  <c:v>91.677419354838705</c:v>
                </c:pt>
                <c:pt idx="1769">
                  <c:v>91.290322580645167</c:v>
                </c:pt>
                <c:pt idx="1770">
                  <c:v>90.935483870967744</c:v>
                </c:pt>
                <c:pt idx="1771">
                  <c:v>90.677419354838705</c:v>
                </c:pt>
                <c:pt idx="1772">
                  <c:v>90.096774193548384</c:v>
                </c:pt>
                <c:pt idx="1773">
                  <c:v>89.58064516129032</c:v>
                </c:pt>
                <c:pt idx="1774">
                  <c:v>89.516129032258064</c:v>
                </c:pt>
                <c:pt idx="1775">
                  <c:v>89.612903225806448</c:v>
                </c:pt>
                <c:pt idx="1776">
                  <c:v>89.935483870967744</c:v>
                </c:pt>
                <c:pt idx="1777">
                  <c:v>89.709677419354833</c:v>
                </c:pt>
                <c:pt idx="1778">
                  <c:v>90.225806451612897</c:v>
                </c:pt>
                <c:pt idx="1779">
                  <c:v>90.193548387096769</c:v>
                </c:pt>
                <c:pt idx="1780">
                  <c:v>89.903225806451616</c:v>
                </c:pt>
                <c:pt idx="1781">
                  <c:v>89.870967741935488</c:v>
                </c:pt>
                <c:pt idx="1782">
                  <c:v>89.483870967741936</c:v>
                </c:pt>
                <c:pt idx="1783">
                  <c:v>89.806451612903231</c:v>
                </c:pt>
                <c:pt idx="1784">
                  <c:v>89.387096774193552</c:v>
                </c:pt>
                <c:pt idx="1785">
                  <c:v>89.516129032258064</c:v>
                </c:pt>
                <c:pt idx="1786">
                  <c:v>89.645161290322577</c:v>
                </c:pt>
                <c:pt idx="1787">
                  <c:v>89.935483870967744</c:v>
                </c:pt>
                <c:pt idx="1788">
                  <c:v>90.225806451612897</c:v>
                </c:pt>
                <c:pt idx="1789">
                  <c:v>90.516129032258064</c:v>
                </c:pt>
                <c:pt idx="1790">
                  <c:v>90.290322580645167</c:v>
                </c:pt>
                <c:pt idx="1791">
                  <c:v>90.096774193548384</c:v>
                </c:pt>
                <c:pt idx="1792">
                  <c:v>90.387096774193552</c:v>
                </c:pt>
                <c:pt idx="1793">
                  <c:v>90.258064516129039</c:v>
                </c:pt>
                <c:pt idx="1794">
                  <c:v>90.322580645161295</c:v>
                </c:pt>
                <c:pt idx="1795">
                  <c:v>90.548387096774192</c:v>
                </c:pt>
                <c:pt idx="1796">
                  <c:v>90.451612903225808</c:v>
                </c:pt>
                <c:pt idx="1797">
                  <c:v>90.548387096774192</c:v>
                </c:pt>
                <c:pt idx="1798">
                  <c:v>90.322580645161295</c:v>
                </c:pt>
                <c:pt idx="1799">
                  <c:v>90.451612903225808</c:v>
                </c:pt>
                <c:pt idx="1800">
                  <c:v>90.387096774193552</c:v>
                </c:pt>
                <c:pt idx="1801">
                  <c:v>90.193548387096769</c:v>
                </c:pt>
                <c:pt idx="1802">
                  <c:v>89.967741935483872</c:v>
                </c:pt>
                <c:pt idx="1803">
                  <c:v>90.387096774193552</c:v>
                </c:pt>
                <c:pt idx="1804">
                  <c:v>90.225806451612897</c:v>
                </c:pt>
                <c:pt idx="1805">
                  <c:v>90.032258064516128</c:v>
                </c:pt>
                <c:pt idx="1806">
                  <c:v>90.322580645161295</c:v>
                </c:pt>
                <c:pt idx="1807">
                  <c:v>90.193548387096769</c:v>
                </c:pt>
                <c:pt idx="1808">
                  <c:v>90.774193548387103</c:v>
                </c:pt>
                <c:pt idx="1809">
                  <c:v>90.58064516129032</c:v>
                </c:pt>
                <c:pt idx="1810">
                  <c:v>90.548387096774192</c:v>
                </c:pt>
                <c:pt idx="1811">
                  <c:v>90.741935483870961</c:v>
                </c:pt>
                <c:pt idx="1812">
                  <c:v>90.354838709677423</c:v>
                </c:pt>
                <c:pt idx="1813">
                  <c:v>90.451612903225808</c:v>
                </c:pt>
                <c:pt idx="1814">
                  <c:v>90.548387096774192</c:v>
                </c:pt>
                <c:pt idx="1815">
                  <c:v>90.903225806451616</c:v>
                </c:pt>
                <c:pt idx="1816">
                  <c:v>91.161290322580641</c:v>
                </c:pt>
                <c:pt idx="1817">
                  <c:v>90.645161290322577</c:v>
                </c:pt>
                <c:pt idx="1818">
                  <c:v>90.387096774193552</c:v>
                </c:pt>
                <c:pt idx="1819">
                  <c:v>90.290322580645167</c:v>
                </c:pt>
                <c:pt idx="1820">
                  <c:v>89.677419354838705</c:v>
                </c:pt>
                <c:pt idx="1821">
                  <c:v>90.225806451612897</c:v>
                </c:pt>
                <c:pt idx="1822">
                  <c:v>90.322580645161295</c:v>
                </c:pt>
                <c:pt idx="1823">
                  <c:v>90.096774193548384</c:v>
                </c:pt>
                <c:pt idx="1824">
                  <c:v>90.096774193548384</c:v>
                </c:pt>
                <c:pt idx="1825">
                  <c:v>90.225806451612897</c:v>
                </c:pt>
                <c:pt idx="1826">
                  <c:v>89.774193548387103</c:v>
                </c:pt>
                <c:pt idx="1827">
                  <c:v>89.41935483870968</c:v>
                </c:pt>
                <c:pt idx="1828">
                  <c:v>89.516129032258064</c:v>
                </c:pt>
                <c:pt idx="1829">
                  <c:v>89.645161290322577</c:v>
                </c:pt>
                <c:pt idx="1830">
                  <c:v>89.290322580645167</c:v>
                </c:pt>
                <c:pt idx="1831">
                  <c:v>89.838709677419359</c:v>
                </c:pt>
                <c:pt idx="1832">
                  <c:v>90.129032258064512</c:v>
                </c:pt>
                <c:pt idx="1833">
                  <c:v>90.258064516129039</c:v>
                </c:pt>
                <c:pt idx="1834">
                  <c:v>90.193548387096769</c:v>
                </c:pt>
                <c:pt idx="1835">
                  <c:v>90.483870967741936</c:v>
                </c:pt>
                <c:pt idx="1836">
                  <c:v>90.483870967741936</c:v>
                </c:pt>
                <c:pt idx="1837">
                  <c:v>90.290322580645167</c:v>
                </c:pt>
                <c:pt idx="1838">
                  <c:v>90.161290322580641</c:v>
                </c:pt>
                <c:pt idx="1839">
                  <c:v>89.612903225806448</c:v>
                </c:pt>
                <c:pt idx="1840">
                  <c:v>89.225806451612897</c:v>
                </c:pt>
                <c:pt idx="1841">
                  <c:v>88.806451612903231</c:v>
                </c:pt>
                <c:pt idx="1842">
                  <c:v>88.806451612903231</c:v>
                </c:pt>
                <c:pt idx="1843">
                  <c:v>89.193548387096769</c:v>
                </c:pt>
                <c:pt idx="1844">
                  <c:v>89.645161290322577</c:v>
                </c:pt>
                <c:pt idx="1845">
                  <c:v>89.41935483870968</c:v>
                </c:pt>
                <c:pt idx="1846">
                  <c:v>89.161290322580641</c:v>
                </c:pt>
                <c:pt idx="1847">
                  <c:v>89.096774193548384</c:v>
                </c:pt>
                <c:pt idx="1848">
                  <c:v>89.516129032258064</c:v>
                </c:pt>
                <c:pt idx="1849">
                  <c:v>89.645161290322577</c:v>
                </c:pt>
                <c:pt idx="1850">
                  <c:v>89.677419354838705</c:v>
                </c:pt>
                <c:pt idx="1851">
                  <c:v>90.225806451612897</c:v>
                </c:pt>
                <c:pt idx="1852">
                  <c:v>90.258064516129039</c:v>
                </c:pt>
                <c:pt idx="1853">
                  <c:v>89.967741935483872</c:v>
                </c:pt>
                <c:pt idx="1854">
                  <c:v>89.935483870967744</c:v>
                </c:pt>
                <c:pt idx="1855">
                  <c:v>90.161290322580641</c:v>
                </c:pt>
                <c:pt idx="1856">
                  <c:v>90.064516129032256</c:v>
                </c:pt>
                <c:pt idx="1857">
                  <c:v>90.677419354838705</c:v>
                </c:pt>
                <c:pt idx="1858">
                  <c:v>90.516129032258064</c:v>
                </c:pt>
                <c:pt idx="1859">
                  <c:v>90.193548387096769</c:v>
                </c:pt>
                <c:pt idx="1860">
                  <c:v>90.451612903225808</c:v>
                </c:pt>
                <c:pt idx="1861">
                  <c:v>90.193548387096769</c:v>
                </c:pt>
                <c:pt idx="1862">
                  <c:v>89.677419354838705</c:v>
                </c:pt>
                <c:pt idx="1863">
                  <c:v>89.548387096774192</c:v>
                </c:pt>
                <c:pt idx="1864">
                  <c:v>89.516129032258064</c:v>
                </c:pt>
                <c:pt idx="1865">
                  <c:v>89.161290322580641</c:v>
                </c:pt>
                <c:pt idx="1866">
                  <c:v>89.322580645161295</c:v>
                </c:pt>
                <c:pt idx="1867">
                  <c:v>89.354838709677423</c:v>
                </c:pt>
                <c:pt idx="1868">
                  <c:v>89.741935483870961</c:v>
                </c:pt>
                <c:pt idx="1869">
                  <c:v>90.161290322580641</c:v>
                </c:pt>
                <c:pt idx="1870">
                  <c:v>90.322580645161295</c:v>
                </c:pt>
                <c:pt idx="1871">
                  <c:v>90.806451612903231</c:v>
                </c:pt>
                <c:pt idx="1872">
                  <c:v>90.709677419354833</c:v>
                </c:pt>
                <c:pt idx="1873">
                  <c:v>90.290322580645167</c:v>
                </c:pt>
                <c:pt idx="1874">
                  <c:v>90.483870967741936</c:v>
                </c:pt>
                <c:pt idx="1875">
                  <c:v>90</c:v>
                </c:pt>
                <c:pt idx="1876">
                  <c:v>90.354838709677423</c:v>
                </c:pt>
                <c:pt idx="1877">
                  <c:v>90.548387096774192</c:v>
                </c:pt>
                <c:pt idx="1878">
                  <c:v>90.677419354838705</c:v>
                </c:pt>
                <c:pt idx="1879">
                  <c:v>90.741935483870961</c:v>
                </c:pt>
                <c:pt idx="1880">
                  <c:v>90.935483870967744</c:v>
                </c:pt>
                <c:pt idx="1881">
                  <c:v>91.032258064516128</c:v>
                </c:pt>
                <c:pt idx="1882">
                  <c:v>90.709677419354833</c:v>
                </c:pt>
                <c:pt idx="1883">
                  <c:v>90.741935483870961</c:v>
                </c:pt>
                <c:pt idx="1884">
                  <c:v>90.967741935483872</c:v>
                </c:pt>
                <c:pt idx="1885">
                  <c:v>91.193548387096769</c:v>
                </c:pt>
                <c:pt idx="1886">
                  <c:v>91.516129032258064</c:v>
                </c:pt>
                <c:pt idx="1887">
                  <c:v>91.967741935483872</c:v>
                </c:pt>
                <c:pt idx="1888">
                  <c:v>91.838709677419359</c:v>
                </c:pt>
                <c:pt idx="1889">
                  <c:v>92.548387096774192</c:v>
                </c:pt>
                <c:pt idx="1890">
                  <c:v>93.225806451612897</c:v>
                </c:pt>
                <c:pt idx="1891">
                  <c:v>93.225806451612897</c:v>
                </c:pt>
                <c:pt idx="1892">
                  <c:v>93.870967741935488</c:v>
                </c:pt>
                <c:pt idx="1893">
                  <c:v>94.290322580645167</c:v>
                </c:pt>
                <c:pt idx="1894">
                  <c:v>94.741935483870961</c:v>
                </c:pt>
                <c:pt idx="1895">
                  <c:v>95.064516129032256</c:v>
                </c:pt>
                <c:pt idx="1896">
                  <c:v>95.645161290322577</c:v>
                </c:pt>
                <c:pt idx="1897">
                  <c:v>95.58064516129032</c:v>
                </c:pt>
                <c:pt idx="1898">
                  <c:v>96.096774193548384</c:v>
                </c:pt>
                <c:pt idx="1899">
                  <c:v>96.193548387096769</c:v>
                </c:pt>
                <c:pt idx="1900">
                  <c:v>96.258064516129039</c:v>
                </c:pt>
                <c:pt idx="1901">
                  <c:v>96.774193548387103</c:v>
                </c:pt>
                <c:pt idx="1902">
                  <c:v>96.741935483870961</c:v>
                </c:pt>
                <c:pt idx="1903">
                  <c:v>97.483870967741936</c:v>
                </c:pt>
                <c:pt idx="1904">
                  <c:v>98</c:v>
                </c:pt>
                <c:pt idx="1905">
                  <c:v>98.064516129032256</c:v>
                </c:pt>
                <c:pt idx="1906">
                  <c:v>98.451612903225808</c:v>
                </c:pt>
                <c:pt idx="1907">
                  <c:v>98.612903225806448</c:v>
                </c:pt>
                <c:pt idx="1908">
                  <c:v>99.032258064516128</c:v>
                </c:pt>
                <c:pt idx="1909">
                  <c:v>99.129032258064512</c:v>
                </c:pt>
                <c:pt idx="1910">
                  <c:v>99.161290322580641</c:v>
                </c:pt>
                <c:pt idx="1911">
                  <c:v>99.064516129032256</c:v>
                </c:pt>
                <c:pt idx="1912">
                  <c:v>98.967741935483872</c:v>
                </c:pt>
                <c:pt idx="1913">
                  <c:v>99.387096774193552</c:v>
                </c:pt>
                <c:pt idx="1914">
                  <c:v>99.516129032258064</c:v>
                </c:pt>
                <c:pt idx="1915">
                  <c:v>99.838709677419359</c:v>
                </c:pt>
                <c:pt idx="1916">
                  <c:v>99.903225806451616</c:v>
                </c:pt>
                <c:pt idx="1917">
                  <c:v>99.870967741935488</c:v>
                </c:pt>
                <c:pt idx="1918">
                  <c:v>100.03225806451613</c:v>
                </c:pt>
                <c:pt idx="1919">
                  <c:v>100.29032258064517</c:v>
                </c:pt>
                <c:pt idx="1920">
                  <c:v>100.25806451612904</c:v>
                </c:pt>
                <c:pt idx="1921">
                  <c:v>100.03225806451613</c:v>
                </c:pt>
                <c:pt idx="1922">
                  <c:v>99.903225806451616</c:v>
                </c:pt>
                <c:pt idx="1923">
                  <c:v>99.774193548387103</c:v>
                </c:pt>
                <c:pt idx="1924">
                  <c:v>99.870967741935488</c:v>
                </c:pt>
                <c:pt idx="1925">
                  <c:v>99.838709677419359</c:v>
                </c:pt>
                <c:pt idx="1926">
                  <c:v>99.967741935483872</c:v>
                </c:pt>
                <c:pt idx="1927">
                  <c:v>100.09677419354838</c:v>
                </c:pt>
                <c:pt idx="1928">
                  <c:v>100.16129032258064</c:v>
                </c:pt>
                <c:pt idx="1929">
                  <c:v>100.03225806451613</c:v>
                </c:pt>
                <c:pt idx="1930">
                  <c:v>99.806451612903231</c:v>
                </c:pt>
                <c:pt idx="1931">
                  <c:v>99.741935483870961</c:v>
                </c:pt>
                <c:pt idx="1932">
                  <c:v>99.483870967741936</c:v>
                </c:pt>
                <c:pt idx="1933">
                  <c:v>99.225806451612897</c:v>
                </c:pt>
                <c:pt idx="1934">
                  <c:v>98.774193548387103</c:v>
                </c:pt>
                <c:pt idx="1935">
                  <c:v>98.58064516129032</c:v>
                </c:pt>
                <c:pt idx="1936">
                  <c:v>98.451612903225808</c:v>
                </c:pt>
                <c:pt idx="1937">
                  <c:v>98.387096774193552</c:v>
                </c:pt>
                <c:pt idx="1938">
                  <c:v>97.774193548387103</c:v>
                </c:pt>
                <c:pt idx="1939">
                  <c:v>97.387096774193552</c:v>
                </c:pt>
                <c:pt idx="1940">
                  <c:v>97.290322580645167</c:v>
                </c:pt>
                <c:pt idx="1941">
                  <c:v>96.967741935483872</c:v>
                </c:pt>
                <c:pt idx="1942">
                  <c:v>96.516129032258064</c:v>
                </c:pt>
                <c:pt idx="1943">
                  <c:v>96.483870967741936</c:v>
                </c:pt>
                <c:pt idx="1944">
                  <c:v>95.903225806451616</c:v>
                </c:pt>
                <c:pt idx="1945">
                  <c:v>95.709677419354833</c:v>
                </c:pt>
                <c:pt idx="1946">
                  <c:v>95.645161290322577</c:v>
                </c:pt>
                <c:pt idx="1947">
                  <c:v>95.193548387096769</c:v>
                </c:pt>
                <c:pt idx="1948">
                  <c:v>94.774193548387103</c:v>
                </c:pt>
                <c:pt idx="1949">
                  <c:v>93.967741935483872</c:v>
                </c:pt>
                <c:pt idx="1950">
                  <c:v>93.41935483870968</c:v>
                </c:pt>
                <c:pt idx="1951">
                  <c:v>92.935483870967744</c:v>
                </c:pt>
                <c:pt idx="1952">
                  <c:v>92.806451612903231</c:v>
                </c:pt>
                <c:pt idx="1953">
                  <c:v>92.903225806451616</c:v>
                </c:pt>
                <c:pt idx="1954">
                  <c:v>92.806451612903231</c:v>
                </c:pt>
                <c:pt idx="1955">
                  <c:v>92.58064516129032</c:v>
                </c:pt>
                <c:pt idx="1956">
                  <c:v>92.354838709677423</c:v>
                </c:pt>
                <c:pt idx="1957">
                  <c:v>91.967741935483872</c:v>
                </c:pt>
                <c:pt idx="1958">
                  <c:v>91.290322580645167</c:v>
                </c:pt>
                <c:pt idx="1959">
                  <c:v>91.129032258064512</c:v>
                </c:pt>
                <c:pt idx="1960">
                  <c:v>90.516129032258064</c:v>
                </c:pt>
                <c:pt idx="1961">
                  <c:v>90.032258064516128</c:v>
                </c:pt>
                <c:pt idx="1962">
                  <c:v>89.548387096774192</c:v>
                </c:pt>
                <c:pt idx="1963">
                  <c:v>89.161290322580641</c:v>
                </c:pt>
                <c:pt idx="1964">
                  <c:v>89.516129032258064</c:v>
                </c:pt>
                <c:pt idx="1965">
                  <c:v>89.483870967741936</c:v>
                </c:pt>
                <c:pt idx="1966">
                  <c:v>89.677419354838705</c:v>
                </c:pt>
                <c:pt idx="1967">
                  <c:v>89.322580645161295</c:v>
                </c:pt>
                <c:pt idx="1968">
                  <c:v>89.290322580645167</c:v>
                </c:pt>
                <c:pt idx="1969">
                  <c:v>89.258064516129039</c:v>
                </c:pt>
                <c:pt idx="1970">
                  <c:v>89.41935483870968</c:v>
                </c:pt>
                <c:pt idx="1971">
                  <c:v>88.838709677419359</c:v>
                </c:pt>
                <c:pt idx="1972">
                  <c:v>88.806451612903231</c:v>
                </c:pt>
                <c:pt idx="1973">
                  <c:v>88.935483870967744</c:v>
                </c:pt>
                <c:pt idx="1974">
                  <c:v>88.516129032258064</c:v>
                </c:pt>
                <c:pt idx="1975">
                  <c:v>88.903225806451616</c:v>
                </c:pt>
                <c:pt idx="1976">
                  <c:v>88.516129032258064</c:v>
                </c:pt>
                <c:pt idx="1977">
                  <c:v>88.064516129032256</c:v>
                </c:pt>
                <c:pt idx="1978">
                  <c:v>87.903225806451616</c:v>
                </c:pt>
                <c:pt idx="1979">
                  <c:v>87.774193548387103</c:v>
                </c:pt>
                <c:pt idx="1980">
                  <c:v>87.967741935483872</c:v>
                </c:pt>
                <c:pt idx="1981">
                  <c:v>88.258064516129039</c:v>
                </c:pt>
                <c:pt idx="1982">
                  <c:v>88.41935483870968</c:v>
                </c:pt>
                <c:pt idx="1983">
                  <c:v>88.451612903225808</c:v>
                </c:pt>
                <c:pt idx="1984">
                  <c:v>88.064516129032256</c:v>
                </c:pt>
                <c:pt idx="1985">
                  <c:v>88.290322580645167</c:v>
                </c:pt>
                <c:pt idx="1986">
                  <c:v>88.193548387096769</c:v>
                </c:pt>
                <c:pt idx="1987">
                  <c:v>88.161290322580641</c:v>
                </c:pt>
                <c:pt idx="1988">
                  <c:v>88.161290322580641</c:v>
                </c:pt>
                <c:pt idx="1989">
                  <c:v>88.161290322580641</c:v>
                </c:pt>
                <c:pt idx="1990">
                  <c:v>88</c:v>
                </c:pt>
                <c:pt idx="1991">
                  <c:v>88.064516129032256</c:v>
                </c:pt>
                <c:pt idx="1992">
                  <c:v>88.709677419354833</c:v>
                </c:pt>
                <c:pt idx="1993">
                  <c:v>89.225806451612897</c:v>
                </c:pt>
                <c:pt idx="1994">
                  <c:v>89.354838709677423</c:v>
                </c:pt>
                <c:pt idx="1995">
                  <c:v>89.096774193548384</c:v>
                </c:pt>
                <c:pt idx="1996">
                  <c:v>89.41935483870968</c:v>
                </c:pt>
                <c:pt idx="1997">
                  <c:v>88.967741935483872</c:v>
                </c:pt>
                <c:pt idx="1998">
                  <c:v>88.838709677419359</c:v>
                </c:pt>
                <c:pt idx="1999">
                  <c:v>88.677419354838705</c:v>
                </c:pt>
                <c:pt idx="2000">
                  <c:v>88.806451612903231</c:v>
                </c:pt>
                <c:pt idx="2001">
                  <c:v>88.774193548387103</c:v>
                </c:pt>
                <c:pt idx="2002">
                  <c:v>89.161290322580641</c:v>
                </c:pt>
                <c:pt idx="2003">
                  <c:v>89.354838709677423</c:v>
                </c:pt>
                <c:pt idx="2004">
                  <c:v>89.161290322580641</c:v>
                </c:pt>
                <c:pt idx="2005">
                  <c:v>89.516129032258064</c:v>
                </c:pt>
                <c:pt idx="2006">
                  <c:v>89.064516129032256</c:v>
                </c:pt>
                <c:pt idx="2007">
                  <c:v>88.935483870967744</c:v>
                </c:pt>
                <c:pt idx="2008">
                  <c:v>88.935483870967744</c:v>
                </c:pt>
                <c:pt idx="2009">
                  <c:v>89.032258064516128</c:v>
                </c:pt>
                <c:pt idx="2010">
                  <c:v>89.096774193548384</c:v>
                </c:pt>
                <c:pt idx="2011">
                  <c:v>88.903225806451616</c:v>
                </c:pt>
                <c:pt idx="2012">
                  <c:v>88.645161290322577</c:v>
                </c:pt>
                <c:pt idx="2013">
                  <c:v>88.354838709677423</c:v>
                </c:pt>
                <c:pt idx="2014">
                  <c:v>88.129032258064512</c:v>
                </c:pt>
                <c:pt idx="2015">
                  <c:v>88.193548387096769</c:v>
                </c:pt>
                <c:pt idx="2016">
                  <c:v>88.193548387096769</c:v>
                </c:pt>
                <c:pt idx="2017">
                  <c:v>88</c:v>
                </c:pt>
                <c:pt idx="2018">
                  <c:v>87.903225806451616</c:v>
                </c:pt>
                <c:pt idx="2019">
                  <c:v>88</c:v>
                </c:pt>
                <c:pt idx="2020">
                  <c:v>88.032258064516128</c:v>
                </c:pt>
                <c:pt idx="2021">
                  <c:v>88.258064516129039</c:v>
                </c:pt>
                <c:pt idx="2022">
                  <c:v>88.161290322580641</c:v>
                </c:pt>
                <c:pt idx="2023">
                  <c:v>87.870967741935488</c:v>
                </c:pt>
                <c:pt idx="2024">
                  <c:v>87.774193548387103</c:v>
                </c:pt>
                <c:pt idx="2025">
                  <c:v>88.032258064516128</c:v>
                </c:pt>
                <c:pt idx="2026">
                  <c:v>87.903225806451616</c:v>
                </c:pt>
                <c:pt idx="2027">
                  <c:v>87.903225806451616</c:v>
                </c:pt>
                <c:pt idx="2028">
                  <c:v>87.903225806451616</c:v>
                </c:pt>
                <c:pt idx="2029">
                  <c:v>87.967741935483872</c:v>
                </c:pt>
                <c:pt idx="2030">
                  <c:v>88.193548387096769</c:v>
                </c:pt>
                <c:pt idx="2031">
                  <c:v>87.935483870967744</c:v>
                </c:pt>
                <c:pt idx="2032">
                  <c:v>87.58064516129032</c:v>
                </c:pt>
                <c:pt idx="2033">
                  <c:v>87.193548387096769</c:v>
                </c:pt>
                <c:pt idx="2034">
                  <c:v>87.096774193548384</c:v>
                </c:pt>
                <c:pt idx="2035">
                  <c:v>87.548387096774192</c:v>
                </c:pt>
                <c:pt idx="2036">
                  <c:v>87.677419354838705</c:v>
                </c:pt>
                <c:pt idx="2037">
                  <c:v>88.161290322580641</c:v>
                </c:pt>
                <c:pt idx="2038">
                  <c:v>88.225806451612897</c:v>
                </c:pt>
                <c:pt idx="2039">
                  <c:v>88.741935483870961</c:v>
                </c:pt>
                <c:pt idx="2040">
                  <c:v>89.129032258064512</c:v>
                </c:pt>
                <c:pt idx="2041">
                  <c:v>89.41935483870968</c:v>
                </c:pt>
                <c:pt idx="2042">
                  <c:v>89.516129032258064</c:v>
                </c:pt>
                <c:pt idx="2043">
                  <c:v>89.322580645161295</c:v>
                </c:pt>
                <c:pt idx="2044">
                  <c:v>89.387096774193552</c:v>
                </c:pt>
                <c:pt idx="2045">
                  <c:v>89.225806451612897</c:v>
                </c:pt>
                <c:pt idx="2046">
                  <c:v>88.935483870967744</c:v>
                </c:pt>
                <c:pt idx="2047">
                  <c:v>88.387096774193552</c:v>
                </c:pt>
                <c:pt idx="2048">
                  <c:v>88.677419354838705</c:v>
                </c:pt>
                <c:pt idx="2049">
                  <c:v>88.677419354838705</c:v>
                </c:pt>
                <c:pt idx="2050">
                  <c:v>88.387096774193552</c:v>
                </c:pt>
                <c:pt idx="2051">
                  <c:v>88.741935483870961</c:v>
                </c:pt>
                <c:pt idx="2052">
                  <c:v>88.41935483870968</c:v>
                </c:pt>
                <c:pt idx="2053">
                  <c:v>88.58064516129032</c:v>
                </c:pt>
                <c:pt idx="2054">
                  <c:v>88.225806451612897</c:v>
                </c:pt>
                <c:pt idx="2055">
                  <c:v>87.870967741935488</c:v>
                </c:pt>
                <c:pt idx="2056">
                  <c:v>87.58064516129032</c:v>
                </c:pt>
                <c:pt idx="2057">
                  <c:v>87.483870967741936</c:v>
                </c:pt>
                <c:pt idx="2058">
                  <c:v>87.225806451612897</c:v>
                </c:pt>
                <c:pt idx="2059">
                  <c:v>87.58064516129032</c:v>
                </c:pt>
                <c:pt idx="2060">
                  <c:v>87.870967741935488</c:v>
                </c:pt>
                <c:pt idx="2061">
                  <c:v>87.870967741935488</c:v>
                </c:pt>
                <c:pt idx="2062">
                  <c:v>88.129032258064512</c:v>
                </c:pt>
                <c:pt idx="2063">
                  <c:v>88.483870967741936</c:v>
                </c:pt>
                <c:pt idx="2064">
                  <c:v>88.838709677419359</c:v>
                </c:pt>
                <c:pt idx="2065">
                  <c:v>88.967741935483872</c:v>
                </c:pt>
                <c:pt idx="2066">
                  <c:v>88.709677419354833</c:v>
                </c:pt>
                <c:pt idx="2067">
                  <c:v>88.774193548387103</c:v>
                </c:pt>
                <c:pt idx="2068">
                  <c:v>88.645161290322577</c:v>
                </c:pt>
                <c:pt idx="2069">
                  <c:v>88.903225806451616</c:v>
                </c:pt>
                <c:pt idx="2070">
                  <c:v>88.774193548387103</c:v>
                </c:pt>
                <c:pt idx="2071">
                  <c:v>88.741935483870961</c:v>
                </c:pt>
                <c:pt idx="2072">
                  <c:v>88.516129032258064</c:v>
                </c:pt>
                <c:pt idx="2073">
                  <c:v>88.967741935483872</c:v>
                </c:pt>
                <c:pt idx="2074">
                  <c:v>89</c:v>
                </c:pt>
                <c:pt idx="2075">
                  <c:v>89.064516129032256</c:v>
                </c:pt>
                <c:pt idx="2076">
                  <c:v>89.516129032258064</c:v>
                </c:pt>
                <c:pt idx="2077">
                  <c:v>89.774193548387103</c:v>
                </c:pt>
                <c:pt idx="2078">
                  <c:v>89.677419354838705</c:v>
                </c:pt>
                <c:pt idx="2079">
                  <c:v>89.41935483870968</c:v>
                </c:pt>
                <c:pt idx="2080">
                  <c:v>89.741935483870961</c:v>
                </c:pt>
                <c:pt idx="2081">
                  <c:v>90.129032258064512</c:v>
                </c:pt>
                <c:pt idx="2082">
                  <c:v>90.290322580645167</c:v>
                </c:pt>
                <c:pt idx="2083">
                  <c:v>90.451612903225808</c:v>
                </c:pt>
                <c:pt idx="2084">
                  <c:v>90.838709677419359</c:v>
                </c:pt>
                <c:pt idx="2085">
                  <c:v>91.290322580645167</c:v>
                </c:pt>
                <c:pt idx="2086">
                  <c:v>91.677419354838705</c:v>
                </c:pt>
                <c:pt idx="2087">
                  <c:v>92.032258064516128</c:v>
                </c:pt>
                <c:pt idx="2088">
                  <c:v>91.935483870967744</c:v>
                </c:pt>
                <c:pt idx="2089">
                  <c:v>92</c:v>
                </c:pt>
                <c:pt idx="2090">
                  <c:v>91.677419354838705</c:v>
                </c:pt>
                <c:pt idx="2091">
                  <c:v>91.548387096774192</c:v>
                </c:pt>
                <c:pt idx="2092">
                  <c:v>91.41935483870968</c:v>
                </c:pt>
                <c:pt idx="2093">
                  <c:v>91.709677419354833</c:v>
                </c:pt>
                <c:pt idx="2094">
                  <c:v>91.354838709677423</c:v>
                </c:pt>
                <c:pt idx="2095">
                  <c:v>91.322580645161295</c:v>
                </c:pt>
                <c:pt idx="2096">
                  <c:v>91.129032258064512</c:v>
                </c:pt>
                <c:pt idx="2097">
                  <c:v>91.161290322580641</c:v>
                </c:pt>
                <c:pt idx="2098">
                  <c:v>90.806451612903231</c:v>
                </c:pt>
                <c:pt idx="2099">
                  <c:v>90.451612903225808</c:v>
                </c:pt>
                <c:pt idx="2100">
                  <c:v>90.193548387096769</c:v>
                </c:pt>
                <c:pt idx="2101">
                  <c:v>90</c:v>
                </c:pt>
                <c:pt idx="2102">
                  <c:v>89.58064516129032</c:v>
                </c:pt>
                <c:pt idx="2103">
                  <c:v>90.064516129032256</c:v>
                </c:pt>
                <c:pt idx="2104">
                  <c:v>89.903225806451616</c:v>
                </c:pt>
                <c:pt idx="2105">
                  <c:v>90.322580645161295</c:v>
                </c:pt>
                <c:pt idx="2106">
                  <c:v>90.354838709677423</c:v>
                </c:pt>
                <c:pt idx="2107">
                  <c:v>89.935483870967744</c:v>
                </c:pt>
                <c:pt idx="2108">
                  <c:v>89.903225806451616</c:v>
                </c:pt>
                <c:pt idx="2109">
                  <c:v>89.967741935483872</c:v>
                </c:pt>
                <c:pt idx="2110">
                  <c:v>90.129032258064512</c:v>
                </c:pt>
                <c:pt idx="2111">
                  <c:v>89.870967741935488</c:v>
                </c:pt>
                <c:pt idx="2112">
                  <c:v>89.41935483870968</c:v>
                </c:pt>
                <c:pt idx="2113">
                  <c:v>89</c:v>
                </c:pt>
                <c:pt idx="2114">
                  <c:v>88.677419354838705</c:v>
                </c:pt>
                <c:pt idx="2115">
                  <c:v>88.548387096774192</c:v>
                </c:pt>
                <c:pt idx="2116">
                  <c:v>88.290322580645167</c:v>
                </c:pt>
                <c:pt idx="2117">
                  <c:v>88.193548387096769</c:v>
                </c:pt>
                <c:pt idx="2118">
                  <c:v>88.258064516129039</c:v>
                </c:pt>
                <c:pt idx="2119">
                  <c:v>88.806451612903231</c:v>
                </c:pt>
                <c:pt idx="2120">
                  <c:v>88.870967741935488</c:v>
                </c:pt>
                <c:pt idx="2121">
                  <c:v>89.193548387096769</c:v>
                </c:pt>
                <c:pt idx="2122">
                  <c:v>89.354838709677423</c:v>
                </c:pt>
                <c:pt idx="2123">
                  <c:v>89.387096774193552</c:v>
                </c:pt>
                <c:pt idx="2124">
                  <c:v>88.967741935483872</c:v>
                </c:pt>
                <c:pt idx="2125">
                  <c:v>89.129032258064512</c:v>
                </c:pt>
                <c:pt idx="2126">
                  <c:v>89.064516129032256</c:v>
                </c:pt>
                <c:pt idx="2127">
                  <c:v>89.322580645161295</c:v>
                </c:pt>
                <c:pt idx="2128">
                  <c:v>89.58064516129032</c:v>
                </c:pt>
                <c:pt idx="2129">
                  <c:v>89.870967741935488</c:v>
                </c:pt>
                <c:pt idx="2130">
                  <c:v>90.193548387096769</c:v>
                </c:pt>
                <c:pt idx="2131">
                  <c:v>90.58064516129032</c:v>
                </c:pt>
                <c:pt idx="2132">
                  <c:v>90.774193548387103</c:v>
                </c:pt>
                <c:pt idx="2133">
                  <c:v>91.129032258064512</c:v>
                </c:pt>
                <c:pt idx="2134">
                  <c:v>90.483870967741936</c:v>
                </c:pt>
                <c:pt idx="2135">
                  <c:v>90.193548387096769</c:v>
                </c:pt>
                <c:pt idx="2136">
                  <c:v>90.225806451612897</c:v>
                </c:pt>
                <c:pt idx="2137">
                  <c:v>90.032258064516128</c:v>
                </c:pt>
                <c:pt idx="2138">
                  <c:v>90.258064516129039</c:v>
                </c:pt>
                <c:pt idx="2139">
                  <c:v>90.612903225806448</c:v>
                </c:pt>
                <c:pt idx="2140">
                  <c:v>90.838709677419359</c:v>
                </c:pt>
                <c:pt idx="2141">
                  <c:v>91.096774193548384</c:v>
                </c:pt>
                <c:pt idx="2142">
                  <c:v>91.129032258064512</c:v>
                </c:pt>
                <c:pt idx="2143">
                  <c:v>91.387096774193552</c:v>
                </c:pt>
                <c:pt idx="2144">
                  <c:v>91.677419354838705</c:v>
                </c:pt>
                <c:pt idx="2145">
                  <c:v>91.870967741935488</c:v>
                </c:pt>
                <c:pt idx="2146">
                  <c:v>91.903225806451616</c:v>
                </c:pt>
                <c:pt idx="2147">
                  <c:v>92.225806451612897</c:v>
                </c:pt>
                <c:pt idx="2148">
                  <c:v>92.451612903225808</c:v>
                </c:pt>
                <c:pt idx="2149">
                  <c:v>92.129032258064512</c:v>
                </c:pt>
                <c:pt idx="2150">
                  <c:v>91.645161290322577</c:v>
                </c:pt>
                <c:pt idx="2151">
                  <c:v>91.741935483870961</c:v>
                </c:pt>
                <c:pt idx="2152">
                  <c:v>91.612903225806448</c:v>
                </c:pt>
                <c:pt idx="2153">
                  <c:v>91.161290322580641</c:v>
                </c:pt>
                <c:pt idx="2154">
                  <c:v>91.322580645161295</c:v>
                </c:pt>
                <c:pt idx="2155">
                  <c:v>91.677419354838705</c:v>
                </c:pt>
                <c:pt idx="2156">
                  <c:v>91.58064516129032</c:v>
                </c:pt>
                <c:pt idx="2157">
                  <c:v>91.806451612903231</c:v>
                </c:pt>
                <c:pt idx="2158">
                  <c:v>91.451612903225808</c:v>
                </c:pt>
                <c:pt idx="2159">
                  <c:v>90.967741935483872</c:v>
                </c:pt>
                <c:pt idx="2160">
                  <c:v>90.935483870967744</c:v>
                </c:pt>
                <c:pt idx="2161">
                  <c:v>90.935483870967744</c:v>
                </c:pt>
                <c:pt idx="2162">
                  <c:v>90.967741935483872</c:v>
                </c:pt>
                <c:pt idx="2163">
                  <c:v>91.161290322580641</c:v>
                </c:pt>
                <c:pt idx="2164">
                  <c:v>91.064516129032256</c:v>
                </c:pt>
                <c:pt idx="2165">
                  <c:v>91.387096774193552</c:v>
                </c:pt>
                <c:pt idx="2166">
                  <c:v>91.935483870967744</c:v>
                </c:pt>
                <c:pt idx="2167">
                  <c:v>91.516129032258064</c:v>
                </c:pt>
                <c:pt idx="2168">
                  <c:v>91.58064516129032</c:v>
                </c:pt>
                <c:pt idx="2169">
                  <c:v>91.322580645161295</c:v>
                </c:pt>
                <c:pt idx="2170">
                  <c:v>90.774193548387103</c:v>
                </c:pt>
                <c:pt idx="2171">
                  <c:v>90.903225806451616</c:v>
                </c:pt>
                <c:pt idx="2172">
                  <c:v>90.41935483870968</c:v>
                </c:pt>
                <c:pt idx="2173">
                  <c:v>90.290322580645167</c:v>
                </c:pt>
                <c:pt idx="2174">
                  <c:v>90.032258064516128</c:v>
                </c:pt>
                <c:pt idx="2175">
                  <c:v>89.677419354838705</c:v>
                </c:pt>
                <c:pt idx="2176">
                  <c:v>90.096774193548384</c:v>
                </c:pt>
                <c:pt idx="2177">
                  <c:v>90.161290322580641</c:v>
                </c:pt>
                <c:pt idx="2178">
                  <c:v>89.870967741935488</c:v>
                </c:pt>
                <c:pt idx="2179">
                  <c:v>89.612903225806448</c:v>
                </c:pt>
                <c:pt idx="2180">
                  <c:v>89.354838709677423</c:v>
                </c:pt>
                <c:pt idx="2181">
                  <c:v>89.322580645161295</c:v>
                </c:pt>
                <c:pt idx="2182">
                  <c:v>89.225806451612897</c:v>
                </c:pt>
                <c:pt idx="2183">
                  <c:v>89.129032258064512</c:v>
                </c:pt>
                <c:pt idx="2184">
                  <c:v>89.709677419354833</c:v>
                </c:pt>
                <c:pt idx="2185">
                  <c:v>89.548387096774192</c:v>
                </c:pt>
                <c:pt idx="2186">
                  <c:v>89.58064516129032</c:v>
                </c:pt>
                <c:pt idx="2187">
                  <c:v>89.645161290322577</c:v>
                </c:pt>
                <c:pt idx="2188">
                  <c:v>89.709677419354833</c:v>
                </c:pt>
                <c:pt idx="2189">
                  <c:v>89.967741935483872</c:v>
                </c:pt>
                <c:pt idx="2190">
                  <c:v>89.967741935483872</c:v>
                </c:pt>
                <c:pt idx="2191">
                  <c:v>89.935483870967744</c:v>
                </c:pt>
                <c:pt idx="2192">
                  <c:v>90.032258064516128</c:v>
                </c:pt>
                <c:pt idx="2193">
                  <c:v>89.612903225806448</c:v>
                </c:pt>
                <c:pt idx="2194">
                  <c:v>89.322580645161295</c:v>
                </c:pt>
                <c:pt idx="2195">
                  <c:v>89.129032258064512</c:v>
                </c:pt>
                <c:pt idx="2196">
                  <c:v>89.354838709677423</c:v>
                </c:pt>
                <c:pt idx="2197">
                  <c:v>89.354838709677423</c:v>
                </c:pt>
                <c:pt idx="2198">
                  <c:v>89.58064516129032</c:v>
                </c:pt>
                <c:pt idx="2199">
                  <c:v>89.516129032258064</c:v>
                </c:pt>
                <c:pt idx="2200">
                  <c:v>89.806451612903231</c:v>
                </c:pt>
                <c:pt idx="2201">
                  <c:v>90.387096774193552</c:v>
                </c:pt>
                <c:pt idx="2202">
                  <c:v>90.41935483870968</c:v>
                </c:pt>
                <c:pt idx="2203">
                  <c:v>90.741935483870961</c:v>
                </c:pt>
                <c:pt idx="2204">
                  <c:v>90.58064516129032</c:v>
                </c:pt>
                <c:pt idx="2205">
                  <c:v>90.645161290322577</c:v>
                </c:pt>
                <c:pt idx="2206">
                  <c:v>91.064516129032256</c:v>
                </c:pt>
                <c:pt idx="2207">
                  <c:v>90.58064516129032</c:v>
                </c:pt>
                <c:pt idx="2208">
                  <c:v>90.516129032258064</c:v>
                </c:pt>
                <c:pt idx="2209">
                  <c:v>90.612903225806448</c:v>
                </c:pt>
                <c:pt idx="2210">
                  <c:v>90.451612903225808</c:v>
                </c:pt>
                <c:pt idx="2211">
                  <c:v>90.741935483870961</c:v>
                </c:pt>
                <c:pt idx="2212">
                  <c:v>90.741935483870961</c:v>
                </c:pt>
                <c:pt idx="2213">
                  <c:v>90.516129032258064</c:v>
                </c:pt>
                <c:pt idx="2214">
                  <c:v>90.41935483870968</c:v>
                </c:pt>
                <c:pt idx="2215">
                  <c:v>89.838709677419359</c:v>
                </c:pt>
                <c:pt idx="2216">
                  <c:v>89.903225806451616</c:v>
                </c:pt>
                <c:pt idx="2217">
                  <c:v>89.967741935483872</c:v>
                </c:pt>
                <c:pt idx="2218">
                  <c:v>90.193548387096769</c:v>
                </c:pt>
                <c:pt idx="2219">
                  <c:v>90.096774193548384</c:v>
                </c:pt>
                <c:pt idx="2220">
                  <c:v>90.129032258064512</c:v>
                </c:pt>
                <c:pt idx="2221">
                  <c:v>90.612903225806448</c:v>
                </c:pt>
                <c:pt idx="2222">
                  <c:v>90.451612903225808</c:v>
                </c:pt>
                <c:pt idx="2223">
                  <c:v>90.903225806451616</c:v>
                </c:pt>
                <c:pt idx="2224">
                  <c:v>91.838709677419359</c:v>
                </c:pt>
                <c:pt idx="2225">
                  <c:v>92.548387096774192</c:v>
                </c:pt>
                <c:pt idx="2226">
                  <c:v>93.096774193548384</c:v>
                </c:pt>
                <c:pt idx="2227">
                  <c:v>93.451612903225808</c:v>
                </c:pt>
                <c:pt idx="2228">
                  <c:v>93.806451612903231</c:v>
                </c:pt>
                <c:pt idx="2229">
                  <c:v>94.41935483870968</c:v>
                </c:pt>
                <c:pt idx="2230">
                  <c:v>95.032258064516128</c:v>
                </c:pt>
                <c:pt idx="2231">
                  <c:v>95.612903225806448</c:v>
                </c:pt>
                <c:pt idx="2232">
                  <c:v>95.903225806451616</c:v>
                </c:pt>
                <c:pt idx="2233">
                  <c:v>96.193548387096769</c:v>
                </c:pt>
                <c:pt idx="2234">
                  <c:v>96.516129032258064</c:v>
                </c:pt>
                <c:pt idx="2235">
                  <c:v>97.161290322580641</c:v>
                </c:pt>
                <c:pt idx="2236">
                  <c:v>98</c:v>
                </c:pt>
                <c:pt idx="2237">
                  <c:v>98.516129032258064</c:v>
                </c:pt>
                <c:pt idx="2238">
                  <c:v>99.258064516129039</c:v>
                </c:pt>
                <c:pt idx="2239">
                  <c:v>99.645161290322577</c:v>
                </c:pt>
                <c:pt idx="2240">
                  <c:v>100</c:v>
                </c:pt>
                <c:pt idx="2241">
                  <c:v>100.74193548387096</c:v>
                </c:pt>
                <c:pt idx="2242">
                  <c:v>101</c:v>
                </c:pt>
                <c:pt idx="2243">
                  <c:v>101.58064516129032</c:v>
                </c:pt>
                <c:pt idx="2244">
                  <c:v>102.03225806451613</c:v>
                </c:pt>
                <c:pt idx="2245">
                  <c:v>103.06451612903226</c:v>
                </c:pt>
                <c:pt idx="2246">
                  <c:v>103.70967741935483</c:v>
                </c:pt>
                <c:pt idx="2247">
                  <c:v>104.35483870967742</c:v>
                </c:pt>
                <c:pt idx="2248">
                  <c:v>104.41935483870968</c:v>
                </c:pt>
                <c:pt idx="2249">
                  <c:v>104.6774193548387</c:v>
                </c:pt>
                <c:pt idx="2250">
                  <c:v>104.87096774193549</c:v>
                </c:pt>
                <c:pt idx="2251">
                  <c:v>105.16129032258064</c:v>
                </c:pt>
                <c:pt idx="2252">
                  <c:v>105.25806451612904</c:v>
                </c:pt>
                <c:pt idx="2253">
                  <c:v>105.87096774193549</c:v>
                </c:pt>
                <c:pt idx="2254">
                  <c:v>105.61290322580645</c:v>
                </c:pt>
                <c:pt idx="2255">
                  <c:v>105.61290322580645</c:v>
                </c:pt>
                <c:pt idx="2256">
                  <c:v>105.45161290322581</c:v>
                </c:pt>
                <c:pt idx="2257">
                  <c:v>105.45161290322581</c:v>
                </c:pt>
                <c:pt idx="2258">
                  <c:v>105.41935483870968</c:v>
                </c:pt>
                <c:pt idx="2259">
                  <c:v>105.19354838709677</c:v>
                </c:pt>
                <c:pt idx="2260">
                  <c:v>105.3225806451613</c:v>
                </c:pt>
                <c:pt idx="2261">
                  <c:v>105.61290322580645</c:v>
                </c:pt>
                <c:pt idx="2262">
                  <c:v>105.80645161290323</c:v>
                </c:pt>
                <c:pt idx="2263">
                  <c:v>105.80645161290323</c:v>
                </c:pt>
                <c:pt idx="2264">
                  <c:v>106.16129032258064</c:v>
                </c:pt>
                <c:pt idx="2265">
                  <c:v>106.51612903225806</c:v>
                </c:pt>
                <c:pt idx="2266">
                  <c:v>106.90322580645162</c:v>
                </c:pt>
                <c:pt idx="2267">
                  <c:v>107.2258064516129</c:v>
                </c:pt>
                <c:pt idx="2268">
                  <c:v>107.54838709677419</c:v>
                </c:pt>
                <c:pt idx="2269">
                  <c:v>107.87096774193549</c:v>
                </c:pt>
                <c:pt idx="2270">
                  <c:v>108.25806451612904</c:v>
                </c:pt>
                <c:pt idx="2271">
                  <c:v>108.90322580645162</c:v>
                </c:pt>
                <c:pt idx="2272">
                  <c:v>109.2258064516129</c:v>
                </c:pt>
                <c:pt idx="2273">
                  <c:v>109.93548387096774</c:v>
                </c:pt>
                <c:pt idx="2274">
                  <c:v>110.54838709677419</c:v>
                </c:pt>
                <c:pt idx="2275">
                  <c:v>107.2258064516129</c:v>
                </c:pt>
                <c:pt idx="2276">
                  <c:v>103.51612903225806</c:v>
                </c:pt>
                <c:pt idx="2277">
                  <c:v>100.29032258064517</c:v>
                </c:pt>
                <c:pt idx="2278">
                  <c:v>96.612903225806448</c:v>
                </c:pt>
                <c:pt idx="2279">
                  <c:v>93.354838709677423</c:v>
                </c:pt>
                <c:pt idx="2280">
                  <c:v>90</c:v>
                </c:pt>
                <c:pt idx="2281">
                  <c:v>86.709677419354833</c:v>
                </c:pt>
                <c:pt idx="2282">
                  <c:v>83.41935483870968</c:v>
                </c:pt>
                <c:pt idx="2283">
                  <c:v>80.225806451612897</c:v>
                </c:pt>
                <c:pt idx="2284">
                  <c:v>76.709677419354833</c:v>
                </c:pt>
                <c:pt idx="2285">
                  <c:v>73.483870967741936</c:v>
                </c:pt>
                <c:pt idx="2286">
                  <c:v>69.838709677419359</c:v>
                </c:pt>
                <c:pt idx="2287">
                  <c:v>66.387096774193552</c:v>
                </c:pt>
                <c:pt idx="2288">
                  <c:v>63.161290322580648</c:v>
                </c:pt>
                <c:pt idx="2289">
                  <c:v>59.70967741935484</c:v>
                </c:pt>
                <c:pt idx="2290">
                  <c:v>56.354838709677416</c:v>
                </c:pt>
                <c:pt idx="2291">
                  <c:v>55.87096774193548</c:v>
                </c:pt>
                <c:pt idx="2292">
                  <c:v>55.193548387096776</c:v>
                </c:pt>
                <c:pt idx="2293">
                  <c:v>54.774193548387096</c:v>
                </c:pt>
                <c:pt idx="2294">
                  <c:v>54.451612903225808</c:v>
                </c:pt>
                <c:pt idx="2295">
                  <c:v>53.645161290322584</c:v>
                </c:pt>
                <c:pt idx="2296">
                  <c:v>52.87096774193548</c:v>
                </c:pt>
                <c:pt idx="2297">
                  <c:v>52.258064516129032</c:v>
                </c:pt>
                <c:pt idx="2298">
                  <c:v>51.064516129032256</c:v>
                </c:pt>
                <c:pt idx="2299">
                  <c:v>49.935483870967744</c:v>
                </c:pt>
                <c:pt idx="2300">
                  <c:v>49.032258064516128</c:v>
                </c:pt>
                <c:pt idx="2301">
                  <c:v>47.87096774193548</c:v>
                </c:pt>
                <c:pt idx="2302">
                  <c:v>46.87096774193548</c:v>
                </c:pt>
                <c:pt idx="2303">
                  <c:v>45.58064516129032</c:v>
                </c:pt>
                <c:pt idx="2304">
                  <c:v>44.548387096774192</c:v>
                </c:pt>
                <c:pt idx="2305">
                  <c:v>43.677419354838712</c:v>
                </c:pt>
                <c:pt idx="2306">
                  <c:v>46.903225806451616</c:v>
                </c:pt>
                <c:pt idx="2307">
                  <c:v>49.903225806451616</c:v>
                </c:pt>
                <c:pt idx="2308">
                  <c:v>52.774193548387096</c:v>
                </c:pt>
                <c:pt idx="2309">
                  <c:v>55.645161290322584</c:v>
                </c:pt>
                <c:pt idx="2310">
                  <c:v>58.645161290322584</c:v>
                </c:pt>
                <c:pt idx="2311">
                  <c:v>61.741935483870968</c:v>
                </c:pt>
                <c:pt idx="2312">
                  <c:v>64.645161290322577</c:v>
                </c:pt>
                <c:pt idx="2313">
                  <c:v>67.451612903225808</c:v>
                </c:pt>
                <c:pt idx="2314">
                  <c:v>70.612903225806448</c:v>
                </c:pt>
                <c:pt idx="2315">
                  <c:v>73.741935483870961</c:v>
                </c:pt>
                <c:pt idx="2316">
                  <c:v>76.903225806451616</c:v>
                </c:pt>
                <c:pt idx="2317">
                  <c:v>80.129032258064512</c:v>
                </c:pt>
                <c:pt idx="2318">
                  <c:v>82.774193548387103</c:v>
                </c:pt>
                <c:pt idx="2319">
                  <c:v>85.870967741935488</c:v>
                </c:pt>
                <c:pt idx="2320">
                  <c:v>88.483870967741936</c:v>
                </c:pt>
                <c:pt idx="2321">
                  <c:v>91.58064516129032</c:v>
                </c:pt>
                <c:pt idx="2322">
                  <c:v>91.322580645161295</c:v>
                </c:pt>
                <c:pt idx="2323">
                  <c:v>91.258064516129039</c:v>
                </c:pt>
                <c:pt idx="2324">
                  <c:v>90.612903225806448</c:v>
                </c:pt>
                <c:pt idx="2325">
                  <c:v>90.677419354838705</c:v>
                </c:pt>
                <c:pt idx="2326">
                  <c:v>90.838709677419359</c:v>
                </c:pt>
                <c:pt idx="2327">
                  <c:v>90.967741935483872</c:v>
                </c:pt>
                <c:pt idx="2328">
                  <c:v>90.548387096774192</c:v>
                </c:pt>
                <c:pt idx="2329">
                  <c:v>91.129032258064512</c:v>
                </c:pt>
                <c:pt idx="2330">
                  <c:v>91.032258064516128</c:v>
                </c:pt>
                <c:pt idx="2331">
                  <c:v>91.193548387096769</c:v>
                </c:pt>
                <c:pt idx="2332">
                  <c:v>91.225806451612897</c:v>
                </c:pt>
                <c:pt idx="2333">
                  <c:v>91.129032258064512</c:v>
                </c:pt>
                <c:pt idx="2334">
                  <c:v>91.258064516129039</c:v>
                </c:pt>
                <c:pt idx="2335">
                  <c:v>91.032258064516128</c:v>
                </c:pt>
                <c:pt idx="2336">
                  <c:v>90.645161290322577</c:v>
                </c:pt>
                <c:pt idx="2337">
                  <c:v>90.032258064516128</c:v>
                </c:pt>
                <c:pt idx="2338">
                  <c:v>89.709677419354833</c:v>
                </c:pt>
                <c:pt idx="2339">
                  <c:v>89.741935483870961</c:v>
                </c:pt>
                <c:pt idx="2340">
                  <c:v>89.58064516129032</c:v>
                </c:pt>
                <c:pt idx="2341">
                  <c:v>89.193548387096769</c:v>
                </c:pt>
                <c:pt idx="2342">
                  <c:v>88.741935483870961</c:v>
                </c:pt>
                <c:pt idx="2343">
                  <c:v>88.677419354838705</c:v>
                </c:pt>
                <c:pt idx="2344">
                  <c:v>88.483870967741936</c:v>
                </c:pt>
                <c:pt idx="2345">
                  <c:v>88.193548387096769</c:v>
                </c:pt>
                <c:pt idx="2346">
                  <c:v>87.741935483870961</c:v>
                </c:pt>
                <c:pt idx="2347">
                  <c:v>87.483870967741936</c:v>
                </c:pt>
                <c:pt idx="2348">
                  <c:v>87.354838709677423</c:v>
                </c:pt>
                <c:pt idx="2349">
                  <c:v>87.58064516129032</c:v>
                </c:pt>
                <c:pt idx="2350">
                  <c:v>87.612903225806448</c:v>
                </c:pt>
                <c:pt idx="2351">
                  <c:v>88.032258064516128</c:v>
                </c:pt>
                <c:pt idx="2352">
                  <c:v>87.903225806451616</c:v>
                </c:pt>
                <c:pt idx="2353">
                  <c:v>87.806451612903231</c:v>
                </c:pt>
                <c:pt idx="2354">
                  <c:v>87.870967741935488</c:v>
                </c:pt>
                <c:pt idx="2355">
                  <c:v>88.387096774193552</c:v>
                </c:pt>
                <c:pt idx="2356">
                  <c:v>88.193548387096769</c:v>
                </c:pt>
                <c:pt idx="2357">
                  <c:v>88.193548387096769</c:v>
                </c:pt>
                <c:pt idx="2358">
                  <c:v>87.935483870967744</c:v>
                </c:pt>
                <c:pt idx="2359">
                  <c:v>88.290322580645167</c:v>
                </c:pt>
                <c:pt idx="2360">
                  <c:v>87.677419354838705</c:v>
                </c:pt>
                <c:pt idx="2361">
                  <c:v>88</c:v>
                </c:pt>
                <c:pt idx="2362">
                  <c:v>87.58064516129032</c:v>
                </c:pt>
                <c:pt idx="2363">
                  <c:v>87.483870967741936</c:v>
                </c:pt>
                <c:pt idx="2364">
                  <c:v>87.354838709677423</c:v>
                </c:pt>
                <c:pt idx="2365">
                  <c:v>87.41935483870968</c:v>
                </c:pt>
                <c:pt idx="2366">
                  <c:v>87.967741935483872</c:v>
                </c:pt>
                <c:pt idx="2367">
                  <c:v>88.096774193548384</c:v>
                </c:pt>
                <c:pt idx="2368">
                  <c:v>88.612903225806448</c:v>
                </c:pt>
                <c:pt idx="2369">
                  <c:v>88.677419354838705</c:v>
                </c:pt>
                <c:pt idx="2370">
                  <c:v>88.677419354838705</c:v>
                </c:pt>
                <c:pt idx="2371">
                  <c:v>89</c:v>
                </c:pt>
                <c:pt idx="2372">
                  <c:v>89.032258064516128</c:v>
                </c:pt>
                <c:pt idx="2373">
                  <c:v>89.58064516129032</c:v>
                </c:pt>
                <c:pt idx="2374">
                  <c:v>89.741935483870961</c:v>
                </c:pt>
                <c:pt idx="2375">
                  <c:v>90.322580645161295</c:v>
                </c:pt>
                <c:pt idx="2376">
                  <c:v>90.032258064516128</c:v>
                </c:pt>
                <c:pt idx="2377">
                  <c:v>89.967741935483872</c:v>
                </c:pt>
                <c:pt idx="2378">
                  <c:v>89.677419354838705</c:v>
                </c:pt>
                <c:pt idx="2379">
                  <c:v>89.322580645161295</c:v>
                </c:pt>
                <c:pt idx="2380">
                  <c:v>89.161290322580641</c:v>
                </c:pt>
                <c:pt idx="2381">
                  <c:v>89.032258064516128</c:v>
                </c:pt>
                <c:pt idx="2382">
                  <c:v>88.935483870967744</c:v>
                </c:pt>
                <c:pt idx="2383">
                  <c:v>88.645161290322577</c:v>
                </c:pt>
                <c:pt idx="2384">
                  <c:v>88.774193548387103</c:v>
                </c:pt>
                <c:pt idx="2385">
                  <c:v>89.032258064516128</c:v>
                </c:pt>
                <c:pt idx="2386">
                  <c:v>89.064516129032256</c:v>
                </c:pt>
                <c:pt idx="2387">
                  <c:v>89.225806451612897</c:v>
                </c:pt>
                <c:pt idx="2388">
                  <c:v>89.322580645161295</c:v>
                </c:pt>
                <c:pt idx="2389">
                  <c:v>89.129032258064512</c:v>
                </c:pt>
                <c:pt idx="2390">
                  <c:v>88.935483870967744</c:v>
                </c:pt>
                <c:pt idx="2391">
                  <c:v>89.129032258064512</c:v>
                </c:pt>
                <c:pt idx="2392">
                  <c:v>88.870967741935488</c:v>
                </c:pt>
                <c:pt idx="2393">
                  <c:v>88.935483870967744</c:v>
                </c:pt>
                <c:pt idx="2394">
                  <c:v>89.451612903225808</c:v>
                </c:pt>
                <c:pt idx="2395">
                  <c:v>89.387096774193552</c:v>
                </c:pt>
                <c:pt idx="2396">
                  <c:v>89.612903225806448</c:v>
                </c:pt>
                <c:pt idx="2397">
                  <c:v>89.58064516129032</c:v>
                </c:pt>
                <c:pt idx="2398">
                  <c:v>89.58064516129032</c:v>
                </c:pt>
                <c:pt idx="2399">
                  <c:v>89.41935483870968</c:v>
                </c:pt>
                <c:pt idx="2400">
                  <c:v>89.258064516129039</c:v>
                </c:pt>
                <c:pt idx="2401">
                  <c:v>89.58064516129032</c:v>
                </c:pt>
                <c:pt idx="2402">
                  <c:v>89.58064516129032</c:v>
                </c:pt>
                <c:pt idx="2403">
                  <c:v>89.838709677419359</c:v>
                </c:pt>
                <c:pt idx="2404">
                  <c:v>89.612903225806448</c:v>
                </c:pt>
                <c:pt idx="2405">
                  <c:v>89.225806451612897</c:v>
                </c:pt>
                <c:pt idx="2406">
                  <c:v>88.967741935483872</c:v>
                </c:pt>
                <c:pt idx="2407">
                  <c:v>89.451612903225808</c:v>
                </c:pt>
                <c:pt idx="2408">
                  <c:v>90.064516129032256</c:v>
                </c:pt>
                <c:pt idx="2409">
                  <c:v>90.483870967741936</c:v>
                </c:pt>
                <c:pt idx="2410">
                  <c:v>90.806451612903231</c:v>
                </c:pt>
                <c:pt idx="2411">
                  <c:v>90.741935483870961</c:v>
                </c:pt>
                <c:pt idx="2412">
                  <c:v>90.58064516129032</c:v>
                </c:pt>
                <c:pt idx="2413">
                  <c:v>90.387096774193552</c:v>
                </c:pt>
                <c:pt idx="2414">
                  <c:v>90.483870967741936</c:v>
                </c:pt>
                <c:pt idx="2415">
                  <c:v>90.741935483870961</c:v>
                </c:pt>
                <c:pt idx="2416">
                  <c:v>90.645161290322577</c:v>
                </c:pt>
                <c:pt idx="2417">
                  <c:v>90.516129032258064</c:v>
                </c:pt>
                <c:pt idx="2418">
                  <c:v>90.129032258064512</c:v>
                </c:pt>
                <c:pt idx="2419">
                  <c:v>90.225806451612897</c:v>
                </c:pt>
                <c:pt idx="2420">
                  <c:v>90.516129032258064</c:v>
                </c:pt>
                <c:pt idx="2421">
                  <c:v>90.516129032258064</c:v>
                </c:pt>
                <c:pt idx="2422">
                  <c:v>90.612903225806448</c:v>
                </c:pt>
                <c:pt idx="2423">
                  <c:v>90.7</c:v>
                </c:pt>
                <c:pt idx="2424">
                  <c:v>90.965517241379317</c:v>
                </c:pt>
                <c:pt idx="2425">
                  <c:v>90.785714285714292</c:v>
                </c:pt>
                <c:pt idx="2426">
                  <c:v>91.148148148148152</c:v>
                </c:pt>
                <c:pt idx="2427">
                  <c:v>91.07692307692308</c:v>
                </c:pt>
                <c:pt idx="2428">
                  <c:v>90.8</c:v>
                </c:pt>
                <c:pt idx="2429">
                  <c:v>91.083333333333329</c:v>
                </c:pt>
                <c:pt idx="2430">
                  <c:v>91.043478260869563</c:v>
                </c:pt>
                <c:pt idx="2431">
                  <c:v>91.545454545454547</c:v>
                </c:pt>
                <c:pt idx="2432">
                  <c:v>91.142857142857139</c:v>
                </c:pt>
                <c:pt idx="2433">
                  <c:v>91</c:v>
                </c:pt>
                <c:pt idx="2434">
                  <c:v>91.05263157894737</c:v>
                </c:pt>
                <c:pt idx="2435">
                  <c:v>91</c:v>
                </c:pt>
                <c:pt idx="2436">
                  <c:v>91.588235294117652</c:v>
                </c:pt>
                <c:pt idx="2437">
                  <c:v>91.625</c:v>
                </c:pt>
                <c:pt idx="2438">
                  <c:v>91.4</c:v>
                </c:pt>
                <c:pt idx="2439">
                  <c:v>90.785714285714292</c:v>
                </c:pt>
                <c:pt idx="2440">
                  <c:v>90.538461538461533</c:v>
                </c:pt>
                <c:pt idx="2441">
                  <c:v>90.166666666666671</c:v>
                </c:pt>
                <c:pt idx="2442">
                  <c:v>90.909090909090907</c:v>
                </c:pt>
                <c:pt idx="2443">
                  <c:v>91.2</c:v>
                </c:pt>
                <c:pt idx="2444">
                  <c:v>91.888888888888886</c:v>
                </c:pt>
                <c:pt idx="2445">
                  <c:v>92.625</c:v>
                </c:pt>
                <c:pt idx="2446">
                  <c:v>91.714285714285708</c:v>
                </c:pt>
                <c:pt idx="2447">
                  <c:v>91.333333333333329</c:v>
                </c:pt>
                <c:pt idx="2448">
                  <c:v>91</c:v>
                </c:pt>
                <c:pt idx="2449">
                  <c:v>92</c:v>
                </c:pt>
                <c:pt idx="2450">
                  <c:v>89.333333333333329</c:v>
                </c:pt>
                <c:pt idx="2451">
                  <c:v>89.5</c:v>
                </c:pt>
              </c:numCache>
            </c:numRef>
          </c:val>
          <c:smooth val="0"/>
          <c:extLst>
            <c:ext xmlns:c16="http://schemas.microsoft.com/office/drawing/2014/chart" uri="{C3380CC4-5D6E-409C-BE32-E72D297353CC}">
              <c16:uniqueId val="{00000004-A317-4990-AD5E-DF35E9825BF6}"/>
            </c:ext>
          </c:extLst>
        </c:ser>
        <c:ser>
          <c:idx val="3"/>
          <c:order val="3"/>
          <c:tx>
            <c:strRef>
              <c:f>'DRT Rolling Mean'!$F$1</c:f>
              <c:strCache>
                <c:ptCount val="1"/>
                <c:pt idx="0">
                  <c:v>Pump Torque </c:v>
                </c:pt>
              </c:strCache>
            </c:strRef>
          </c:tx>
          <c:spPr>
            <a:ln w="28575" cap="rnd">
              <a:solidFill>
                <a:schemeClr val="accent4"/>
              </a:solidFill>
              <a:round/>
            </a:ln>
            <a:effectLst/>
          </c:spPr>
          <c:marker>
            <c:symbol val="none"/>
          </c:marker>
          <c:cat>
            <c:numRef>
              <c:f>'DRT Rolling Mean'!$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F$2:$F$2453</c:f>
              <c:numCache>
                <c:formatCode>#,##0.00</c:formatCode>
                <c:ptCount val="2452"/>
                <c:pt idx="0">
                  <c:v>202.74193548387098</c:v>
                </c:pt>
                <c:pt idx="1">
                  <c:v>203.09677419354838</c:v>
                </c:pt>
                <c:pt idx="2">
                  <c:v>202.41935483870967</c:v>
                </c:pt>
                <c:pt idx="3">
                  <c:v>201.70967741935485</c:v>
                </c:pt>
                <c:pt idx="4">
                  <c:v>201.74193548387098</c:v>
                </c:pt>
                <c:pt idx="5">
                  <c:v>201.70967741935485</c:v>
                </c:pt>
                <c:pt idx="6">
                  <c:v>201.45161290322579</c:v>
                </c:pt>
                <c:pt idx="7">
                  <c:v>200.7741935483871</c:v>
                </c:pt>
                <c:pt idx="8">
                  <c:v>200.35483870967741</c:v>
                </c:pt>
                <c:pt idx="9">
                  <c:v>200.45161290322579</c:v>
                </c:pt>
                <c:pt idx="10">
                  <c:v>201.41935483870967</c:v>
                </c:pt>
                <c:pt idx="11">
                  <c:v>201.2258064516129</c:v>
                </c:pt>
                <c:pt idx="12">
                  <c:v>201.09677419354838</c:v>
                </c:pt>
                <c:pt idx="13">
                  <c:v>200.87096774193549</c:v>
                </c:pt>
                <c:pt idx="14">
                  <c:v>201.2258064516129</c:v>
                </c:pt>
                <c:pt idx="15">
                  <c:v>201.83870967741936</c:v>
                </c:pt>
                <c:pt idx="16">
                  <c:v>201.96774193548387</c:v>
                </c:pt>
                <c:pt idx="17">
                  <c:v>202</c:v>
                </c:pt>
                <c:pt idx="18">
                  <c:v>202.16129032258064</c:v>
                </c:pt>
                <c:pt idx="19">
                  <c:v>202.45161290322579</c:v>
                </c:pt>
                <c:pt idx="20">
                  <c:v>202.16129032258064</c:v>
                </c:pt>
                <c:pt idx="21">
                  <c:v>201.74193548387098</c:v>
                </c:pt>
                <c:pt idx="22">
                  <c:v>201.35483870967741</c:v>
                </c:pt>
                <c:pt idx="23">
                  <c:v>201.19354838709677</c:v>
                </c:pt>
                <c:pt idx="24">
                  <c:v>200.67741935483872</c:v>
                </c:pt>
                <c:pt idx="25">
                  <c:v>200.38709677419354</c:v>
                </c:pt>
                <c:pt idx="26">
                  <c:v>200.06451612903226</c:v>
                </c:pt>
                <c:pt idx="27">
                  <c:v>199.64516129032259</c:v>
                </c:pt>
                <c:pt idx="28">
                  <c:v>198.96774193548387</c:v>
                </c:pt>
                <c:pt idx="29">
                  <c:v>198.83870967741936</c:v>
                </c:pt>
                <c:pt idx="30">
                  <c:v>198.54838709677421</c:v>
                </c:pt>
                <c:pt idx="31">
                  <c:v>198.25806451612902</c:v>
                </c:pt>
                <c:pt idx="32">
                  <c:v>197.7741935483871</c:v>
                </c:pt>
                <c:pt idx="33">
                  <c:v>198.48387096774192</c:v>
                </c:pt>
                <c:pt idx="34">
                  <c:v>198.45161290322579</c:v>
                </c:pt>
                <c:pt idx="35">
                  <c:v>199.16129032258064</c:v>
                </c:pt>
                <c:pt idx="36">
                  <c:v>198.90322580645162</c:v>
                </c:pt>
                <c:pt idx="37">
                  <c:v>198.2258064516129</c:v>
                </c:pt>
                <c:pt idx="38">
                  <c:v>198.25806451612902</c:v>
                </c:pt>
                <c:pt idx="39">
                  <c:v>198.25806451612902</c:v>
                </c:pt>
                <c:pt idx="40">
                  <c:v>199</c:v>
                </c:pt>
                <c:pt idx="41">
                  <c:v>198.41935483870967</c:v>
                </c:pt>
                <c:pt idx="42">
                  <c:v>197.93548387096774</c:v>
                </c:pt>
                <c:pt idx="43">
                  <c:v>198.38709677419354</c:v>
                </c:pt>
                <c:pt idx="44">
                  <c:v>198.67741935483872</c:v>
                </c:pt>
                <c:pt idx="45">
                  <c:v>198.32258064516128</c:v>
                </c:pt>
                <c:pt idx="46">
                  <c:v>198.09677419354838</c:v>
                </c:pt>
                <c:pt idx="47">
                  <c:v>197.96774193548387</c:v>
                </c:pt>
                <c:pt idx="48">
                  <c:v>198.29032258064515</c:v>
                </c:pt>
                <c:pt idx="49">
                  <c:v>198.80645161290323</c:v>
                </c:pt>
                <c:pt idx="50">
                  <c:v>199.74193548387098</c:v>
                </c:pt>
                <c:pt idx="51">
                  <c:v>200.2258064516129</c:v>
                </c:pt>
                <c:pt idx="52">
                  <c:v>199.7741935483871</c:v>
                </c:pt>
                <c:pt idx="53">
                  <c:v>199.2258064516129</c:v>
                </c:pt>
                <c:pt idx="54">
                  <c:v>199.16129032258064</c:v>
                </c:pt>
                <c:pt idx="55">
                  <c:v>199.29032258064515</c:v>
                </c:pt>
                <c:pt idx="56">
                  <c:v>198.7741935483871</c:v>
                </c:pt>
                <c:pt idx="57">
                  <c:v>199.45161290322579</c:v>
                </c:pt>
                <c:pt idx="58">
                  <c:v>199.32258064516128</c:v>
                </c:pt>
                <c:pt idx="59">
                  <c:v>199.06451612903226</c:v>
                </c:pt>
                <c:pt idx="60">
                  <c:v>198.74193548387098</c:v>
                </c:pt>
                <c:pt idx="61">
                  <c:v>199.29032258064515</c:v>
                </c:pt>
                <c:pt idx="62">
                  <c:v>200.2258064516129</c:v>
                </c:pt>
                <c:pt idx="63">
                  <c:v>200.70967741935485</c:v>
                </c:pt>
                <c:pt idx="64">
                  <c:v>199.87096774193549</c:v>
                </c:pt>
                <c:pt idx="65">
                  <c:v>200.41935483870967</c:v>
                </c:pt>
                <c:pt idx="66">
                  <c:v>199.90322580645162</c:v>
                </c:pt>
                <c:pt idx="67">
                  <c:v>200.67741935483872</c:v>
                </c:pt>
                <c:pt idx="68">
                  <c:v>201.25806451612902</c:v>
                </c:pt>
                <c:pt idx="69">
                  <c:v>201.48387096774192</c:v>
                </c:pt>
                <c:pt idx="70">
                  <c:v>202.45161290322579</c:v>
                </c:pt>
                <c:pt idx="71">
                  <c:v>201.90322580645162</c:v>
                </c:pt>
                <c:pt idx="72">
                  <c:v>201.67741935483872</c:v>
                </c:pt>
                <c:pt idx="73">
                  <c:v>202.35483870967741</c:v>
                </c:pt>
                <c:pt idx="74">
                  <c:v>202.41935483870967</c:v>
                </c:pt>
                <c:pt idx="75">
                  <c:v>201.2258064516129</c:v>
                </c:pt>
                <c:pt idx="76">
                  <c:v>201.06451612903226</c:v>
                </c:pt>
                <c:pt idx="77">
                  <c:v>200.58064516129033</c:v>
                </c:pt>
                <c:pt idx="78">
                  <c:v>200.7741935483871</c:v>
                </c:pt>
                <c:pt idx="79">
                  <c:v>200.80645161290323</c:v>
                </c:pt>
                <c:pt idx="80">
                  <c:v>200.58064516129033</c:v>
                </c:pt>
                <c:pt idx="81">
                  <c:v>199.41935483870967</c:v>
                </c:pt>
                <c:pt idx="82">
                  <c:v>200.03225806451613</c:v>
                </c:pt>
                <c:pt idx="83">
                  <c:v>200.74193548387098</c:v>
                </c:pt>
                <c:pt idx="84">
                  <c:v>201.64516129032259</c:v>
                </c:pt>
                <c:pt idx="85">
                  <c:v>201.09677419354838</c:v>
                </c:pt>
                <c:pt idx="86">
                  <c:v>201.87096774193549</c:v>
                </c:pt>
                <c:pt idx="87">
                  <c:v>201.61290322580646</c:v>
                </c:pt>
                <c:pt idx="88">
                  <c:v>202.12903225806451</c:v>
                </c:pt>
                <c:pt idx="89">
                  <c:v>202.83870967741936</c:v>
                </c:pt>
                <c:pt idx="90">
                  <c:v>203.41935483870967</c:v>
                </c:pt>
                <c:pt idx="91">
                  <c:v>202.80645161290323</c:v>
                </c:pt>
                <c:pt idx="92">
                  <c:v>201.93548387096774</c:v>
                </c:pt>
                <c:pt idx="93">
                  <c:v>202</c:v>
                </c:pt>
                <c:pt idx="94">
                  <c:v>200.93548387096774</c:v>
                </c:pt>
                <c:pt idx="95">
                  <c:v>201.38709677419354</c:v>
                </c:pt>
                <c:pt idx="96">
                  <c:v>201.29032258064515</c:v>
                </c:pt>
                <c:pt idx="97">
                  <c:v>201.45161290322579</c:v>
                </c:pt>
                <c:pt idx="98">
                  <c:v>200.90322580645162</c:v>
                </c:pt>
                <c:pt idx="99">
                  <c:v>200.54838709677421</c:v>
                </c:pt>
                <c:pt idx="100">
                  <c:v>200.74193548387098</c:v>
                </c:pt>
                <c:pt idx="101">
                  <c:v>200.19354838709677</c:v>
                </c:pt>
                <c:pt idx="102">
                  <c:v>200.7741935483871</c:v>
                </c:pt>
                <c:pt idx="103">
                  <c:v>200.61290322580646</c:v>
                </c:pt>
                <c:pt idx="104">
                  <c:v>199.80645161290323</c:v>
                </c:pt>
                <c:pt idx="105">
                  <c:v>199.67741935483872</c:v>
                </c:pt>
                <c:pt idx="106">
                  <c:v>200.41935483870967</c:v>
                </c:pt>
                <c:pt idx="107">
                  <c:v>201.58064516129033</c:v>
                </c:pt>
                <c:pt idx="108">
                  <c:v>201.58064516129033</c:v>
                </c:pt>
                <c:pt idx="109">
                  <c:v>201.74193548387098</c:v>
                </c:pt>
                <c:pt idx="110">
                  <c:v>201.67741935483872</c:v>
                </c:pt>
                <c:pt idx="111">
                  <c:v>200.80645161290323</c:v>
                </c:pt>
                <c:pt idx="112">
                  <c:v>200.70967741935485</c:v>
                </c:pt>
                <c:pt idx="113">
                  <c:v>200.70967741935485</c:v>
                </c:pt>
                <c:pt idx="114">
                  <c:v>199.61290322580646</c:v>
                </c:pt>
                <c:pt idx="115">
                  <c:v>199.70967741935485</c:v>
                </c:pt>
                <c:pt idx="116">
                  <c:v>199.38709677419354</c:v>
                </c:pt>
                <c:pt idx="117">
                  <c:v>198.67741935483872</c:v>
                </c:pt>
                <c:pt idx="118">
                  <c:v>199.58064516129033</c:v>
                </c:pt>
                <c:pt idx="119">
                  <c:v>198.32258064516128</c:v>
                </c:pt>
                <c:pt idx="120">
                  <c:v>198.2258064516129</c:v>
                </c:pt>
                <c:pt idx="121">
                  <c:v>198.09677419354838</c:v>
                </c:pt>
                <c:pt idx="122">
                  <c:v>198.67741935483872</c:v>
                </c:pt>
                <c:pt idx="123">
                  <c:v>198.45161290322579</c:v>
                </c:pt>
                <c:pt idx="124">
                  <c:v>198</c:v>
                </c:pt>
                <c:pt idx="125">
                  <c:v>198.90322580645162</c:v>
                </c:pt>
                <c:pt idx="126">
                  <c:v>199.12903225806451</c:v>
                </c:pt>
                <c:pt idx="127">
                  <c:v>199.67741935483872</c:v>
                </c:pt>
                <c:pt idx="128">
                  <c:v>199.70967741935485</c:v>
                </c:pt>
                <c:pt idx="129">
                  <c:v>199.7741935483871</c:v>
                </c:pt>
                <c:pt idx="130">
                  <c:v>200.2258064516129</c:v>
                </c:pt>
                <c:pt idx="131">
                  <c:v>200.70967741935485</c:v>
                </c:pt>
                <c:pt idx="132">
                  <c:v>201.35483870967741</c:v>
                </c:pt>
                <c:pt idx="133">
                  <c:v>200.83870967741936</c:v>
                </c:pt>
                <c:pt idx="134">
                  <c:v>201.58064516129033</c:v>
                </c:pt>
                <c:pt idx="135">
                  <c:v>202.29032258064515</c:v>
                </c:pt>
                <c:pt idx="136">
                  <c:v>201.70967741935485</c:v>
                </c:pt>
                <c:pt idx="137">
                  <c:v>201.29032258064515</c:v>
                </c:pt>
                <c:pt idx="138">
                  <c:v>201.12903225806451</c:v>
                </c:pt>
                <c:pt idx="139">
                  <c:v>201.61290322580646</c:v>
                </c:pt>
                <c:pt idx="140">
                  <c:v>201.35483870967741</c:v>
                </c:pt>
                <c:pt idx="141">
                  <c:v>201.51612903225808</c:v>
                </c:pt>
                <c:pt idx="142">
                  <c:v>201.96774193548387</c:v>
                </c:pt>
                <c:pt idx="143">
                  <c:v>202.09677419354838</c:v>
                </c:pt>
                <c:pt idx="144">
                  <c:v>201.67741935483872</c:v>
                </c:pt>
                <c:pt idx="145">
                  <c:v>202.32258064516128</c:v>
                </c:pt>
                <c:pt idx="146">
                  <c:v>202.38709677419354</c:v>
                </c:pt>
                <c:pt idx="147">
                  <c:v>202.7741935483871</c:v>
                </c:pt>
                <c:pt idx="148">
                  <c:v>203.06451612903226</c:v>
                </c:pt>
                <c:pt idx="149">
                  <c:v>202.03225806451613</c:v>
                </c:pt>
                <c:pt idx="150">
                  <c:v>202.93548387096774</c:v>
                </c:pt>
                <c:pt idx="151">
                  <c:v>202.74193548387098</c:v>
                </c:pt>
                <c:pt idx="152">
                  <c:v>203.2258064516129</c:v>
                </c:pt>
                <c:pt idx="153">
                  <c:v>203.25806451612902</c:v>
                </c:pt>
                <c:pt idx="154">
                  <c:v>203.7741935483871</c:v>
                </c:pt>
                <c:pt idx="155">
                  <c:v>203.90322580645162</c:v>
                </c:pt>
                <c:pt idx="156">
                  <c:v>203.48387096774192</c:v>
                </c:pt>
                <c:pt idx="157">
                  <c:v>202.74193548387098</c:v>
                </c:pt>
                <c:pt idx="158">
                  <c:v>202.03225806451613</c:v>
                </c:pt>
                <c:pt idx="159">
                  <c:v>202.32258064516128</c:v>
                </c:pt>
                <c:pt idx="160">
                  <c:v>202.67741935483872</c:v>
                </c:pt>
                <c:pt idx="161">
                  <c:v>202.83870967741936</c:v>
                </c:pt>
                <c:pt idx="162">
                  <c:v>202.16129032258064</c:v>
                </c:pt>
                <c:pt idx="163">
                  <c:v>201.45161290322579</c:v>
                </c:pt>
                <c:pt idx="164">
                  <c:v>201.35483870967741</c:v>
                </c:pt>
                <c:pt idx="165">
                  <c:v>200.32258064516128</c:v>
                </c:pt>
                <c:pt idx="166">
                  <c:v>200.48387096774192</c:v>
                </c:pt>
                <c:pt idx="167">
                  <c:v>201.2258064516129</c:v>
                </c:pt>
                <c:pt idx="168">
                  <c:v>201.06451612903226</c:v>
                </c:pt>
                <c:pt idx="169">
                  <c:v>200</c:v>
                </c:pt>
                <c:pt idx="170">
                  <c:v>199.83870967741936</c:v>
                </c:pt>
                <c:pt idx="171">
                  <c:v>200.83870967741936</c:v>
                </c:pt>
                <c:pt idx="172">
                  <c:v>200</c:v>
                </c:pt>
                <c:pt idx="173">
                  <c:v>199.90322580645162</c:v>
                </c:pt>
                <c:pt idx="174">
                  <c:v>200.64516129032259</c:v>
                </c:pt>
                <c:pt idx="175">
                  <c:v>200.58064516129033</c:v>
                </c:pt>
                <c:pt idx="176">
                  <c:v>199.93548387096774</c:v>
                </c:pt>
                <c:pt idx="177">
                  <c:v>199.67741935483872</c:v>
                </c:pt>
                <c:pt idx="178">
                  <c:v>200.19354838709677</c:v>
                </c:pt>
                <c:pt idx="179">
                  <c:v>199.87096774193549</c:v>
                </c:pt>
                <c:pt idx="180">
                  <c:v>201.09677419354838</c:v>
                </c:pt>
                <c:pt idx="181">
                  <c:v>201.29032258064515</c:v>
                </c:pt>
                <c:pt idx="182">
                  <c:v>200.90322580645162</c:v>
                </c:pt>
                <c:pt idx="183">
                  <c:v>200.12903225806451</c:v>
                </c:pt>
                <c:pt idx="184">
                  <c:v>199.51612903225808</c:v>
                </c:pt>
                <c:pt idx="185">
                  <c:v>200.03225806451613</c:v>
                </c:pt>
                <c:pt idx="186">
                  <c:v>200.12903225806451</c:v>
                </c:pt>
                <c:pt idx="187">
                  <c:v>200.38709677419354</c:v>
                </c:pt>
                <c:pt idx="188">
                  <c:v>201.09677419354838</c:v>
                </c:pt>
                <c:pt idx="189">
                  <c:v>200.67741935483872</c:v>
                </c:pt>
                <c:pt idx="190">
                  <c:v>200.90322580645162</c:v>
                </c:pt>
                <c:pt idx="191">
                  <c:v>201.09677419354838</c:v>
                </c:pt>
                <c:pt idx="192">
                  <c:v>200.03225806451613</c:v>
                </c:pt>
                <c:pt idx="193">
                  <c:v>199.48387096774192</c:v>
                </c:pt>
                <c:pt idx="194">
                  <c:v>200.09677419354838</c:v>
                </c:pt>
                <c:pt idx="195">
                  <c:v>199.64516129032259</c:v>
                </c:pt>
                <c:pt idx="196">
                  <c:v>199.96774193548387</c:v>
                </c:pt>
                <c:pt idx="197">
                  <c:v>199.09677419354838</c:v>
                </c:pt>
                <c:pt idx="198">
                  <c:v>198.93548387096774</c:v>
                </c:pt>
                <c:pt idx="199">
                  <c:v>198.7741935483871</c:v>
                </c:pt>
                <c:pt idx="200">
                  <c:v>199.48387096774192</c:v>
                </c:pt>
                <c:pt idx="201">
                  <c:v>199.70967741935485</c:v>
                </c:pt>
                <c:pt idx="202">
                  <c:v>199.74193548387098</c:v>
                </c:pt>
                <c:pt idx="203">
                  <c:v>199.96774193548387</c:v>
                </c:pt>
                <c:pt idx="204">
                  <c:v>199.80645161290323</c:v>
                </c:pt>
                <c:pt idx="205">
                  <c:v>199.51612903225808</c:v>
                </c:pt>
                <c:pt idx="206">
                  <c:v>200</c:v>
                </c:pt>
                <c:pt idx="207">
                  <c:v>200.38709677419354</c:v>
                </c:pt>
                <c:pt idx="208">
                  <c:v>199.80645161290323</c:v>
                </c:pt>
                <c:pt idx="209">
                  <c:v>199.45161290322579</c:v>
                </c:pt>
                <c:pt idx="210">
                  <c:v>199.06451612903226</c:v>
                </c:pt>
                <c:pt idx="211">
                  <c:v>198.38709677419354</c:v>
                </c:pt>
                <c:pt idx="212">
                  <c:v>198.58064516129033</c:v>
                </c:pt>
                <c:pt idx="213">
                  <c:v>199.70967741935485</c:v>
                </c:pt>
                <c:pt idx="214">
                  <c:v>201.06451612903226</c:v>
                </c:pt>
                <c:pt idx="215">
                  <c:v>202.41935483870967</c:v>
                </c:pt>
                <c:pt idx="216">
                  <c:v>203.03225806451613</c:v>
                </c:pt>
                <c:pt idx="217">
                  <c:v>203.93548387096774</c:v>
                </c:pt>
                <c:pt idx="218">
                  <c:v>204.96774193548387</c:v>
                </c:pt>
                <c:pt idx="219">
                  <c:v>206.03225806451613</c:v>
                </c:pt>
                <c:pt idx="220">
                  <c:v>207.70967741935485</c:v>
                </c:pt>
                <c:pt idx="221">
                  <c:v>208.16129032258064</c:v>
                </c:pt>
                <c:pt idx="222">
                  <c:v>208.64516129032259</c:v>
                </c:pt>
                <c:pt idx="223">
                  <c:v>210.38709677419354</c:v>
                </c:pt>
                <c:pt idx="224">
                  <c:v>211.70967741935485</c:v>
                </c:pt>
                <c:pt idx="225">
                  <c:v>212.35483870967741</c:v>
                </c:pt>
                <c:pt idx="226">
                  <c:v>214.16129032258064</c:v>
                </c:pt>
                <c:pt idx="227">
                  <c:v>215.2258064516129</c:v>
                </c:pt>
                <c:pt idx="228">
                  <c:v>216.93548387096774</c:v>
                </c:pt>
                <c:pt idx="229">
                  <c:v>217.41935483870967</c:v>
                </c:pt>
                <c:pt idx="230">
                  <c:v>219.19354838709677</c:v>
                </c:pt>
                <c:pt idx="231">
                  <c:v>220.2258064516129</c:v>
                </c:pt>
                <c:pt idx="232">
                  <c:v>220.61290322580646</c:v>
                </c:pt>
                <c:pt idx="233">
                  <c:v>220.64516129032259</c:v>
                </c:pt>
                <c:pt idx="234">
                  <c:v>221.90322580645162</c:v>
                </c:pt>
                <c:pt idx="235">
                  <c:v>223.03225806451613</c:v>
                </c:pt>
                <c:pt idx="236">
                  <c:v>223.74193548387098</c:v>
                </c:pt>
                <c:pt idx="237">
                  <c:v>224.38709677419354</c:v>
                </c:pt>
                <c:pt idx="238">
                  <c:v>225.58064516129033</c:v>
                </c:pt>
                <c:pt idx="239">
                  <c:v>226.67741935483872</c:v>
                </c:pt>
                <c:pt idx="240">
                  <c:v>227.29032258064515</c:v>
                </c:pt>
                <c:pt idx="241">
                  <c:v>229.09677419354838</c:v>
                </c:pt>
                <c:pt idx="242">
                  <c:v>230.41935483870967</c:v>
                </c:pt>
                <c:pt idx="243">
                  <c:v>230.74193548387098</c:v>
                </c:pt>
                <c:pt idx="244">
                  <c:v>230.80645161290323</c:v>
                </c:pt>
                <c:pt idx="245">
                  <c:v>230.45161290322579</c:v>
                </c:pt>
                <c:pt idx="246">
                  <c:v>230.45161290322579</c:v>
                </c:pt>
                <c:pt idx="247">
                  <c:v>230.29032258064515</c:v>
                </c:pt>
                <c:pt idx="248">
                  <c:v>230.29032258064515</c:v>
                </c:pt>
                <c:pt idx="249">
                  <c:v>229.96774193548387</c:v>
                </c:pt>
                <c:pt idx="250">
                  <c:v>229.41935483870967</c:v>
                </c:pt>
                <c:pt idx="251">
                  <c:v>229.06451612903226</c:v>
                </c:pt>
                <c:pt idx="252">
                  <c:v>228.70967741935485</c:v>
                </c:pt>
                <c:pt idx="253">
                  <c:v>228.90322580645162</c:v>
                </c:pt>
                <c:pt idx="254">
                  <c:v>228.38709677419354</c:v>
                </c:pt>
                <c:pt idx="255">
                  <c:v>228.80645161290323</c:v>
                </c:pt>
                <c:pt idx="256">
                  <c:v>228.80645161290323</c:v>
                </c:pt>
                <c:pt idx="257">
                  <c:v>227.61290322580646</c:v>
                </c:pt>
                <c:pt idx="258">
                  <c:v>226.83870967741936</c:v>
                </c:pt>
                <c:pt idx="259">
                  <c:v>226</c:v>
                </c:pt>
                <c:pt idx="260">
                  <c:v>225.7741935483871</c:v>
                </c:pt>
                <c:pt idx="261">
                  <c:v>224.32258064516128</c:v>
                </c:pt>
                <c:pt idx="262">
                  <c:v>222.74193548387098</c:v>
                </c:pt>
                <c:pt idx="263">
                  <c:v>222.45161290322579</c:v>
                </c:pt>
                <c:pt idx="264">
                  <c:v>221.80645161290323</c:v>
                </c:pt>
                <c:pt idx="265">
                  <c:v>221.06451612903226</c:v>
                </c:pt>
                <c:pt idx="266">
                  <c:v>221.03225806451613</c:v>
                </c:pt>
                <c:pt idx="267">
                  <c:v>220.70967741935485</c:v>
                </c:pt>
                <c:pt idx="268">
                  <c:v>219.58064516129033</c:v>
                </c:pt>
                <c:pt idx="269">
                  <c:v>218.70967741935485</c:v>
                </c:pt>
                <c:pt idx="270">
                  <c:v>217.83870967741936</c:v>
                </c:pt>
                <c:pt idx="271">
                  <c:v>217.48387096774192</c:v>
                </c:pt>
                <c:pt idx="272">
                  <c:v>215.58064516129033</c:v>
                </c:pt>
                <c:pt idx="273">
                  <c:v>215</c:v>
                </c:pt>
                <c:pt idx="274">
                  <c:v>214.38709677419354</c:v>
                </c:pt>
                <c:pt idx="275">
                  <c:v>213.67741935483872</c:v>
                </c:pt>
                <c:pt idx="276">
                  <c:v>213.35483870967741</c:v>
                </c:pt>
                <c:pt idx="277">
                  <c:v>213.19354838709677</c:v>
                </c:pt>
                <c:pt idx="278">
                  <c:v>211.61290322580646</c:v>
                </c:pt>
                <c:pt idx="279">
                  <c:v>210.51612903225808</c:v>
                </c:pt>
                <c:pt idx="280">
                  <c:v>210.12903225806451</c:v>
                </c:pt>
                <c:pt idx="281">
                  <c:v>208.74193548387098</c:v>
                </c:pt>
                <c:pt idx="282">
                  <c:v>207.48387096774192</c:v>
                </c:pt>
                <c:pt idx="283">
                  <c:v>207.2258064516129</c:v>
                </c:pt>
                <c:pt idx="284">
                  <c:v>206.58064516129033</c:v>
                </c:pt>
                <c:pt idx="285">
                  <c:v>206.38709677419354</c:v>
                </c:pt>
                <c:pt idx="286">
                  <c:v>205</c:v>
                </c:pt>
                <c:pt idx="287">
                  <c:v>204.48387096774192</c:v>
                </c:pt>
                <c:pt idx="288">
                  <c:v>204.25806451612902</c:v>
                </c:pt>
                <c:pt idx="289">
                  <c:v>204.90322580645162</c:v>
                </c:pt>
                <c:pt idx="290">
                  <c:v>205</c:v>
                </c:pt>
                <c:pt idx="291">
                  <c:v>203.93548387096774</c:v>
                </c:pt>
                <c:pt idx="292">
                  <c:v>204</c:v>
                </c:pt>
                <c:pt idx="293">
                  <c:v>204.38709677419354</c:v>
                </c:pt>
                <c:pt idx="294">
                  <c:v>204.29032258064515</c:v>
                </c:pt>
                <c:pt idx="295">
                  <c:v>203.70967741935485</c:v>
                </c:pt>
                <c:pt idx="296">
                  <c:v>202.87096774193549</c:v>
                </c:pt>
                <c:pt idx="297">
                  <c:v>201.90322580645162</c:v>
                </c:pt>
                <c:pt idx="298">
                  <c:v>201.32258064516128</c:v>
                </c:pt>
                <c:pt idx="299">
                  <c:v>201.51612903225808</c:v>
                </c:pt>
                <c:pt idx="300">
                  <c:v>201.7741935483871</c:v>
                </c:pt>
                <c:pt idx="301">
                  <c:v>201.19354838709677</c:v>
                </c:pt>
                <c:pt idx="302">
                  <c:v>200.74193548387098</c:v>
                </c:pt>
                <c:pt idx="303">
                  <c:v>200.83870967741936</c:v>
                </c:pt>
                <c:pt idx="304">
                  <c:v>199.7741935483871</c:v>
                </c:pt>
                <c:pt idx="305">
                  <c:v>198.7741935483871</c:v>
                </c:pt>
                <c:pt idx="306">
                  <c:v>198.32258064516128</c:v>
                </c:pt>
                <c:pt idx="307">
                  <c:v>197.48387096774192</c:v>
                </c:pt>
                <c:pt idx="308">
                  <c:v>197.12903225806451</c:v>
                </c:pt>
                <c:pt idx="309">
                  <c:v>197.16129032258064</c:v>
                </c:pt>
                <c:pt idx="310">
                  <c:v>196.7741935483871</c:v>
                </c:pt>
                <c:pt idx="311">
                  <c:v>195.58064516129033</c:v>
                </c:pt>
                <c:pt idx="312">
                  <c:v>195.96774193548387</c:v>
                </c:pt>
                <c:pt idx="313">
                  <c:v>196.06451612903226</c:v>
                </c:pt>
                <c:pt idx="314">
                  <c:v>195.06451612903226</c:v>
                </c:pt>
                <c:pt idx="315">
                  <c:v>195.2258064516129</c:v>
                </c:pt>
                <c:pt idx="316">
                  <c:v>194.35483870967741</c:v>
                </c:pt>
                <c:pt idx="317">
                  <c:v>194.64516129032259</c:v>
                </c:pt>
                <c:pt idx="318">
                  <c:v>193.64516129032259</c:v>
                </c:pt>
                <c:pt idx="319">
                  <c:v>194.51612903225808</c:v>
                </c:pt>
                <c:pt idx="320">
                  <c:v>193.83870967741936</c:v>
                </c:pt>
                <c:pt idx="321">
                  <c:v>193.19354838709677</c:v>
                </c:pt>
                <c:pt idx="322">
                  <c:v>194.03225806451613</c:v>
                </c:pt>
                <c:pt idx="323">
                  <c:v>194.45161290322579</c:v>
                </c:pt>
                <c:pt idx="324">
                  <c:v>195.09677419354838</c:v>
                </c:pt>
                <c:pt idx="325">
                  <c:v>194.48387096774192</c:v>
                </c:pt>
                <c:pt idx="326">
                  <c:v>195.67741935483872</c:v>
                </c:pt>
                <c:pt idx="327">
                  <c:v>196.67741935483872</c:v>
                </c:pt>
                <c:pt idx="328">
                  <c:v>197.58064516129033</c:v>
                </c:pt>
                <c:pt idx="329">
                  <c:v>198.16129032258064</c:v>
                </c:pt>
                <c:pt idx="330">
                  <c:v>197.70967741935485</c:v>
                </c:pt>
                <c:pt idx="331">
                  <c:v>197.51612903225808</c:v>
                </c:pt>
                <c:pt idx="332">
                  <c:v>197.93548387096774</c:v>
                </c:pt>
                <c:pt idx="333">
                  <c:v>197.80645161290323</c:v>
                </c:pt>
                <c:pt idx="334">
                  <c:v>197.96774193548387</c:v>
                </c:pt>
                <c:pt idx="335">
                  <c:v>197.90322580645162</c:v>
                </c:pt>
                <c:pt idx="336">
                  <c:v>198.90322580645162</c:v>
                </c:pt>
                <c:pt idx="337">
                  <c:v>198.74193548387098</c:v>
                </c:pt>
                <c:pt idx="338">
                  <c:v>199.29032258064515</c:v>
                </c:pt>
                <c:pt idx="339">
                  <c:v>199.35483870967741</c:v>
                </c:pt>
                <c:pt idx="340">
                  <c:v>200.16129032258064</c:v>
                </c:pt>
                <c:pt idx="341">
                  <c:v>200.32258064516128</c:v>
                </c:pt>
                <c:pt idx="342">
                  <c:v>201.48387096774192</c:v>
                </c:pt>
                <c:pt idx="343">
                  <c:v>201.19354838709677</c:v>
                </c:pt>
                <c:pt idx="344">
                  <c:v>201.70967741935485</c:v>
                </c:pt>
                <c:pt idx="345">
                  <c:v>201.70967741935485</c:v>
                </c:pt>
                <c:pt idx="346">
                  <c:v>201.29032258064515</c:v>
                </c:pt>
                <c:pt idx="347">
                  <c:v>201</c:v>
                </c:pt>
                <c:pt idx="348">
                  <c:v>200.32258064516128</c:v>
                </c:pt>
                <c:pt idx="349">
                  <c:v>200.41935483870967</c:v>
                </c:pt>
                <c:pt idx="350">
                  <c:v>200.25806451612902</c:v>
                </c:pt>
                <c:pt idx="351">
                  <c:v>200.38709677419354</c:v>
                </c:pt>
                <c:pt idx="352">
                  <c:v>200.19354838709677</c:v>
                </c:pt>
                <c:pt idx="353">
                  <c:v>199.74193548387098</c:v>
                </c:pt>
                <c:pt idx="354">
                  <c:v>199.06451612903226</c:v>
                </c:pt>
                <c:pt idx="355">
                  <c:v>198.93548387096774</c:v>
                </c:pt>
                <c:pt idx="356">
                  <c:v>199.70967741935485</c:v>
                </c:pt>
                <c:pt idx="357">
                  <c:v>198.83870967741936</c:v>
                </c:pt>
                <c:pt idx="358">
                  <c:v>197.90322580645162</c:v>
                </c:pt>
                <c:pt idx="359">
                  <c:v>197.90322580645162</c:v>
                </c:pt>
                <c:pt idx="360">
                  <c:v>197.38709677419354</c:v>
                </c:pt>
                <c:pt idx="361">
                  <c:v>198.12903225806451</c:v>
                </c:pt>
                <c:pt idx="362">
                  <c:v>197.45161290322579</c:v>
                </c:pt>
                <c:pt idx="363">
                  <c:v>197.70967741935485</c:v>
                </c:pt>
                <c:pt idx="364">
                  <c:v>197.41935483870967</c:v>
                </c:pt>
                <c:pt idx="365">
                  <c:v>197.70967741935485</c:v>
                </c:pt>
                <c:pt idx="366">
                  <c:v>197.61290322580646</c:v>
                </c:pt>
                <c:pt idx="367">
                  <c:v>197.74193548387098</c:v>
                </c:pt>
                <c:pt idx="368">
                  <c:v>198.48387096774192</c:v>
                </c:pt>
                <c:pt idx="369">
                  <c:v>199.06451612903226</c:v>
                </c:pt>
                <c:pt idx="370">
                  <c:v>198.7741935483871</c:v>
                </c:pt>
                <c:pt idx="371">
                  <c:v>198.35483870967741</c:v>
                </c:pt>
                <c:pt idx="372">
                  <c:v>199.03225806451613</c:v>
                </c:pt>
                <c:pt idx="373">
                  <c:v>197.83870967741936</c:v>
                </c:pt>
                <c:pt idx="374">
                  <c:v>198.96774193548387</c:v>
                </c:pt>
                <c:pt idx="375">
                  <c:v>199.38709677419354</c:v>
                </c:pt>
                <c:pt idx="376">
                  <c:v>199.80645161290323</c:v>
                </c:pt>
                <c:pt idx="377">
                  <c:v>200.06451612903226</c:v>
                </c:pt>
                <c:pt idx="378">
                  <c:v>200.61290322580646</c:v>
                </c:pt>
                <c:pt idx="379">
                  <c:v>201.03225806451613</c:v>
                </c:pt>
                <c:pt idx="380">
                  <c:v>201.67741935483872</c:v>
                </c:pt>
                <c:pt idx="381">
                  <c:v>201.29032258064515</c:v>
                </c:pt>
                <c:pt idx="382">
                  <c:v>201.87096774193549</c:v>
                </c:pt>
                <c:pt idx="383">
                  <c:v>202</c:v>
                </c:pt>
                <c:pt idx="384">
                  <c:v>202.67741935483872</c:v>
                </c:pt>
                <c:pt idx="385">
                  <c:v>203.70967741935485</c:v>
                </c:pt>
                <c:pt idx="386">
                  <c:v>203.67741935483872</c:v>
                </c:pt>
                <c:pt idx="387">
                  <c:v>203.41935483870967</c:v>
                </c:pt>
                <c:pt idx="388">
                  <c:v>204.03225806451613</c:v>
                </c:pt>
                <c:pt idx="389">
                  <c:v>204.48387096774192</c:v>
                </c:pt>
                <c:pt idx="390">
                  <c:v>203.67741935483872</c:v>
                </c:pt>
                <c:pt idx="391">
                  <c:v>204.38709677419354</c:v>
                </c:pt>
                <c:pt idx="392">
                  <c:v>203.38709677419354</c:v>
                </c:pt>
                <c:pt idx="393">
                  <c:v>203.45161290322579</c:v>
                </c:pt>
                <c:pt idx="394">
                  <c:v>203.2258064516129</c:v>
                </c:pt>
                <c:pt idx="395">
                  <c:v>203.7741935483871</c:v>
                </c:pt>
                <c:pt idx="396">
                  <c:v>204.38709677419354</c:v>
                </c:pt>
                <c:pt idx="397">
                  <c:v>205.48387096774192</c:v>
                </c:pt>
                <c:pt idx="398">
                  <c:v>205.12903225806451</c:v>
                </c:pt>
                <c:pt idx="399">
                  <c:v>204.29032258064515</c:v>
                </c:pt>
                <c:pt idx="400">
                  <c:v>203.74193548387098</c:v>
                </c:pt>
                <c:pt idx="401">
                  <c:v>203.51612903225808</c:v>
                </c:pt>
                <c:pt idx="402">
                  <c:v>203.70967741935485</c:v>
                </c:pt>
                <c:pt idx="403">
                  <c:v>202.70967741935485</c:v>
                </c:pt>
                <c:pt idx="404">
                  <c:v>203.32258064516128</c:v>
                </c:pt>
                <c:pt idx="405">
                  <c:v>203.38709677419354</c:v>
                </c:pt>
                <c:pt idx="406">
                  <c:v>203.29032258064515</c:v>
                </c:pt>
                <c:pt idx="407">
                  <c:v>203.35483870967741</c:v>
                </c:pt>
                <c:pt idx="408">
                  <c:v>203.41935483870967</c:v>
                </c:pt>
                <c:pt idx="409">
                  <c:v>203.51612903225808</c:v>
                </c:pt>
                <c:pt idx="410">
                  <c:v>203.61290322580646</c:v>
                </c:pt>
                <c:pt idx="411">
                  <c:v>203.48387096774192</c:v>
                </c:pt>
                <c:pt idx="412">
                  <c:v>203.96774193548387</c:v>
                </c:pt>
                <c:pt idx="413">
                  <c:v>202.96774193548387</c:v>
                </c:pt>
                <c:pt idx="414">
                  <c:v>204</c:v>
                </c:pt>
                <c:pt idx="415">
                  <c:v>203.38709677419354</c:v>
                </c:pt>
                <c:pt idx="416">
                  <c:v>202.74193548387098</c:v>
                </c:pt>
                <c:pt idx="417">
                  <c:v>201.74193548387098</c:v>
                </c:pt>
                <c:pt idx="418">
                  <c:v>201.51612903225808</c:v>
                </c:pt>
                <c:pt idx="419">
                  <c:v>201.58064516129033</c:v>
                </c:pt>
                <c:pt idx="420">
                  <c:v>201.41935483870967</c:v>
                </c:pt>
                <c:pt idx="421">
                  <c:v>202.06451612903226</c:v>
                </c:pt>
                <c:pt idx="422">
                  <c:v>201.09677419354838</c:v>
                </c:pt>
                <c:pt idx="423">
                  <c:v>201</c:v>
                </c:pt>
                <c:pt idx="424">
                  <c:v>201.06451612903226</c:v>
                </c:pt>
                <c:pt idx="425">
                  <c:v>200.93548387096774</c:v>
                </c:pt>
                <c:pt idx="426">
                  <c:v>201.03225806451613</c:v>
                </c:pt>
                <c:pt idx="427">
                  <c:v>200.58064516129033</c:v>
                </c:pt>
                <c:pt idx="428">
                  <c:v>199.90322580645162</c:v>
                </c:pt>
                <c:pt idx="429">
                  <c:v>199.74193548387098</c:v>
                </c:pt>
                <c:pt idx="430">
                  <c:v>200.80645161290323</c:v>
                </c:pt>
                <c:pt idx="431">
                  <c:v>200.16129032258064</c:v>
                </c:pt>
                <c:pt idx="432">
                  <c:v>200.87096774193549</c:v>
                </c:pt>
                <c:pt idx="433">
                  <c:v>200.93548387096774</c:v>
                </c:pt>
                <c:pt idx="434">
                  <c:v>201.58064516129033</c:v>
                </c:pt>
                <c:pt idx="435">
                  <c:v>201.41935483870967</c:v>
                </c:pt>
                <c:pt idx="436">
                  <c:v>200.16129032258064</c:v>
                </c:pt>
                <c:pt idx="437">
                  <c:v>200.06451612903226</c:v>
                </c:pt>
                <c:pt idx="438">
                  <c:v>199.61290322580646</c:v>
                </c:pt>
                <c:pt idx="439">
                  <c:v>199.61290322580646</c:v>
                </c:pt>
                <c:pt idx="440">
                  <c:v>199.83870967741936</c:v>
                </c:pt>
                <c:pt idx="441">
                  <c:v>199.83870967741936</c:v>
                </c:pt>
                <c:pt idx="442">
                  <c:v>199.32258064516128</c:v>
                </c:pt>
                <c:pt idx="443">
                  <c:v>198.54838709677421</c:v>
                </c:pt>
                <c:pt idx="444">
                  <c:v>198.87096774193549</c:v>
                </c:pt>
                <c:pt idx="445">
                  <c:v>197.90322580645162</c:v>
                </c:pt>
                <c:pt idx="446">
                  <c:v>198.41935483870967</c:v>
                </c:pt>
                <c:pt idx="447">
                  <c:v>198.90322580645162</c:v>
                </c:pt>
                <c:pt idx="448">
                  <c:v>199.90322580645162</c:v>
                </c:pt>
                <c:pt idx="449">
                  <c:v>200</c:v>
                </c:pt>
                <c:pt idx="450">
                  <c:v>200.12903225806451</c:v>
                </c:pt>
                <c:pt idx="451">
                  <c:v>200.54838709677421</c:v>
                </c:pt>
                <c:pt idx="452">
                  <c:v>200.35483870967741</c:v>
                </c:pt>
                <c:pt idx="453">
                  <c:v>200.2258064516129</c:v>
                </c:pt>
                <c:pt idx="454">
                  <c:v>201.38709677419354</c:v>
                </c:pt>
                <c:pt idx="455">
                  <c:v>201.2258064516129</c:v>
                </c:pt>
                <c:pt idx="456">
                  <c:v>202.09677419354838</c:v>
                </c:pt>
                <c:pt idx="457">
                  <c:v>201.90322580645162</c:v>
                </c:pt>
                <c:pt idx="458">
                  <c:v>201.25806451612902</c:v>
                </c:pt>
                <c:pt idx="459">
                  <c:v>201.41935483870967</c:v>
                </c:pt>
                <c:pt idx="460">
                  <c:v>202.03225806451613</c:v>
                </c:pt>
                <c:pt idx="461">
                  <c:v>201.54838709677421</c:v>
                </c:pt>
                <c:pt idx="462">
                  <c:v>201.51612903225808</c:v>
                </c:pt>
                <c:pt idx="463">
                  <c:v>201.58064516129033</c:v>
                </c:pt>
                <c:pt idx="464">
                  <c:v>201.61290322580646</c:v>
                </c:pt>
                <c:pt idx="465">
                  <c:v>201.16129032258064</c:v>
                </c:pt>
                <c:pt idx="466">
                  <c:v>201.16129032258064</c:v>
                </c:pt>
                <c:pt idx="467">
                  <c:v>201.58064516129033</c:v>
                </c:pt>
                <c:pt idx="468">
                  <c:v>200.87096774193549</c:v>
                </c:pt>
                <c:pt idx="469">
                  <c:v>200.80645161290323</c:v>
                </c:pt>
                <c:pt idx="470">
                  <c:v>200.74193548387098</c:v>
                </c:pt>
                <c:pt idx="471">
                  <c:v>200.32258064516128</c:v>
                </c:pt>
                <c:pt idx="472">
                  <c:v>201.09677419354838</c:v>
                </c:pt>
                <c:pt idx="473">
                  <c:v>201.90322580645162</c:v>
                </c:pt>
                <c:pt idx="474">
                  <c:v>201.93548387096774</c:v>
                </c:pt>
                <c:pt idx="475">
                  <c:v>201.54838709677421</c:v>
                </c:pt>
                <c:pt idx="476">
                  <c:v>201.32258064516128</c:v>
                </c:pt>
                <c:pt idx="477">
                  <c:v>200.74193548387098</c:v>
                </c:pt>
                <c:pt idx="478">
                  <c:v>200.41935483870967</c:v>
                </c:pt>
                <c:pt idx="479">
                  <c:v>200.51612903225808</c:v>
                </c:pt>
                <c:pt idx="480">
                  <c:v>200.03225806451613</c:v>
                </c:pt>
                <c:pt idx="481">
                  <c:v>199.48387096774192</c:v>
                </c:pt>
                <c:pt idx="482">
                  <c:v>199.80645161290323</c:v>
                </c:pt>
                <c:pt idx="483">
                  <c:v>199.45161290322579</c:v>
                </c:pt>
                <c:pt idx="484">
                  <c:v>199.35483870967741</c:v>
                </c:pt>
                <c:pt idx="485">
                  <c:v>199.06451612903226</c:v>
                </c:pt>
                <c:pt idx="486">
                  <c:v>200.03225806451613</c:v>
                </c:pt>
                <c:pt idx="487">
                  <c:v>198.90322580645162</c:v>
                </c:pt>
                <c:pt idx="488">
                  <c:v>199.48387096774192</c:v>
                </c:pt>
                <c:pt idx="489">
                  <c:v>200.54838709677421</c:v>
                </c:pt>
                <c:pt idx="490">
                  <c:v>200.51612903225808</c:v>
                </c:pt>
                <c:pt idx="491">
                  <c:v>199.70967741935485</c:v>
                </c:pt>
                <c:pt idx="492">
                  <c:v>200.32258064516128</c:v>
                </c:pt>
                <c:pt idx="493">
                  <c:v>200.93548387096774</c:v>
                </c:pt>
                <c:pt idx="494">
                  <c:v>201.03225806451613</c:v>
                </c:pt>
                <c:pt idx="495">
                  <c:v>200.45161290322579</c:v>
                </c:pt>
                <c:pt idx="496">
                  <c:v>200.90322580645162</c:v>
                </c:pt>
                <c:pt idx="497">
                  <c:v>201.19354838709677</c:v>
                </c:pt>
                <c:pt idx="498">
                  <c:v>201.58064516129033</c:v>
                </c:pt>
                <c:pt idx="499">
                  <c:v>201.7741935483871</c:v>
                </c:pt>
                <c:pt idx="500">
                  <c:v>202.06451612903226</c:v>
                </c:pt>
                <c:pt idx="501">
                  <c:v>202.29032258064515</c:v>
                </c:pt>
                <c:pt idx="502">
                  <c:v>202.09677419354838</c:v>
                </c:pt>
                <c:pt idx="503">
                  <c:v>201.16129032258064</c:v>
                </c:pt>
                <c:pt idx="504">
                  <c:v>201.03225806451613</c:v>
                </c:pt>
                <c:pt idx="505">
                  <c:v>201.12903225806451</c:v>
                </c:pt>
                <c:pt idx="506">
                  <c:v>201.38709677419354</c:v>
                </c:pt>
                <c:pt idx="507">
                  <c:v>201.90322580645162</c:v>
                </c:pt>
                <c:pt idx="508">
                  <c:v>201.54838709677421</c:v>
                </c:pt>
                <c:pt idx="509">
                  <c:v>202.12903225806451</c:v>
                </c:pt>
                <c:pt idx="510">
                  <c:v>202.2258064516129</c:v>
                </c:pt>
                <c:pt idx="511">
                  <c:v>202.64516129032259</c:v>
                </c:pt>
                <c:pt idx="512">
                  <c:v>202.51612903225808</c:v>
                </c:pt>
                <c:pt idx="513">
                  <c:v>202.35483870967741</c:v>
                </c:pt>
                <c:pt idx="514">
                  <c:v>202.87096774193549</c:v>
                </c:pt>
                <c:pt idx="515">
                  <c:v>203.70967741935485</c:v>
                </c:pt>
                <c:pt idx="516">
                  <c:v>202.74193548387098</c:v>
                </c:pt>
                <c:pt idx="517">
                  <c:v>201.74193548387098</c:v>
                </c:pt>
                <c:pt idx="518">
                  <c:v>202.19354838709677</c:v>
                </c:pt>
                <c:pt idx="519">
                  <c:v>201.25806451612902</c:v>
                </c:pt>
                <c:pt idx="520">
                  <c:v>200.41935483870967</c:v>
                </c:pt>
                <c:pt idx="521">
                  <c:v>199.93548387096774</c:v>
                </c:pt>
                <c:pt idx="522">
                  <c:v>200.25806451612902</c:v>
                </c:pt>
                <c:pt idx="523">
                  <c:v>200.2258064516129</c:v>
                </c:pt>
                <c:pt idx="524">
                  <c:v>200.61290322580646</c:v>
                </c:pt>
                <c:pt idx="525">
                  <c:v>200.41935483870967</c:v>
                </c:pt>
                <c:pt idx="526">
                  <c:v>200.83870967741936</c:v>
                </c:pt>
                <c:pt idx="527">
                  <c:v>200.38709677419354</c:v>
                </c:pt>
                <c:pt idx="528">
                  <c:v>200.45161290322579</c:v>
                </c:pt>
                <c:pt idx="529">
                  <c:v>199.90322580645162</c:v>
                </c:pt>
                <c:pt idx="530">
                  <c:v>200.29032258064515</c:v>
                </c:pt>
                <c:pt idx="531">
                  <c:v>201.16129032258064</c:v>
                </c:pt>
                <c:pt idx="532">
                  <c:v>200.48387096774192</c:v>
                </c:pt>
                <c:pt idx="533">
                  <c:v>200.35483870967741</c:v>
                </c:pt>
                <c:pt idx="534">
                  <c:v>200.93548387096774</c:v>
                </c:pt>
                <c:pt idx="535">
                  <c:v>200.74193548387098</c:v>
                </c:pt>
                <c:pt idx="536">
                  <c:v>200.96774193548387</c:v>
                </c:pt>
                <c:pt idx="537">
                  <c:v>201.06451612903226</c:v>
                </c:pt>
                <c:pt idx="538">
                  <c:v>201.35483870967741</c:v>
                </c:pt>
                <c:pt idx="539">
                  <c:v>201.35483870967741</c:v>
                </c:pt>
                <c:pt idx="540">
                  <c:v>200.41935483870967</c:v>
                </c:pt>
                <c:pt idx="541">
                  <c:v>199.93548387096774</c:v>
                </c:pt>
                <c:pt idx="542">
                  <c:v>200.38709677419354</c:v>
                </c:pt>
                <c:pt idx="543">
                  <c:v>200.74193548387098</c:v>
                </c:pt>
                <c:pt idx="544">
                  <c:v>199.64516129032259</c:v>
                </c:pt>
                <c:pt idx="545">
                  <c:v>199.32258064516128</c:v>
                </c:pt>
                <c:pt idx="546">
                  <c:v>199.09677419354838</c:v>
                </c:pt>
                <c:pt idx="547">
                  <c:v>199.29032258064515</c:v>
                </c:pt>
                <c:pt idx="548">
                  <c:v>200.06451612903226</c:v>
                </c:pt>
                <c:pt idx="549">
                  <c:v>200.58064516129033</c:v>
                </c:pt>
                <c:pt idx="550">
                  <c:v>201.06451612903226</c:v>
                </c:pt>
                <c:pt idx="551">
                  <c:v>201.64516129032259</c:v>
                </c:pt>
                <c:pt idx="552">
                  <c:v>202.45161290322579</c:v>
                </c:pt>
                <c:pt idx="553">
                  <c:v>202.35483870967741</c:v>
                </c:pt>
                <c:pt idx="554">
                  <c:v>202.06451612903226</c:v>
                </c:pt>
                <c:pt idx="555">
                  <c:v>201.61290322580646</c:v>
                </c:pt>
                <c:pt idx="556">
                  <c:v>200.83870967741936</c:v>
                </c:pt>
                <c:pt idx="557">
                  <c:v>200.38709677419354</c:v>
                </c:pt>
                <c:pt idx="558">
                  <c:v>200.06451612903226</c:v>
                </c:pt>
                <c:pt idx="559">
                  <c:v>199.7741935483871</c:v>
                </c:pt>
                <c:pt idx="560">
                  <c:v>200.58064516129033</c:v>
                </c:pt>
                <c:pt idx="561">
                  <c:v>200.45161290322579</c:v>
                </c:pt>
                <c:pt idx="562">
                  <c:v>199.38709677419354</c:v>
                </c:pt>
                <c:pt idx="563">
                  <c:v>199</c:v>
                </c:pt>
                <c:pt idx="564">
                  <c:v>199.35483870967741</c:v>
                </c:pt>
                <c:pt idx="565">
                  <c:v>199.03225806451613</c:v>
                </c:pt>
                <c:pt idx="566">
                  <c:v>198.67741935483872</c:v>
                </c:pt>
                <c:pt idx="567">
                  <c:v>198.25806451612902</c:v>
                </c:pt>
                <c:pt idx="568">
                  <c:v>197.83870967741936</c:v>
                </c:pt>
                <c:pt idx="569">
                  <c:v>197.25806451612902</c:v>
                </c:pt>
                <c:pt idx="570">
                  <c:v>197.74193548387098</c:v>
                </c:pt>
                <c:pt idx="571">
                  <c:v>197.90322580645162</c:v>
                </c:pt>
                <c:pt idx="572">
                  <c:v>197.93548387096774</c:v>
                </c:pt>
                <c:pt idx="573">
                  <c:v>197.12903225806451</c:v>
                </c:pt>
                <c:pt idx="574">
                  <c:v>197.41935483870967</c:v>
                </c:pt>
                <c:pt idx="575">
                  <c:v>197.38709677419354</c:v>
                </c:pt>
                <c:pt idx="576">
                  <c:v>197.51612903225808</c:v>
                </c:pt>
                <c:pt idx="577">
                  <c:v>197.25806451612902</c:v>
                </c:pt>
                <c:pt idx="578">
                  <c:v>198.2258064516129</c:v>
                </c:pt>
                <c:pt idx="579">
                  <c:v>198.29032258064515</c:v>
                </c:pt>
                <c:pt idx="580">
                  <c:v>198.38709677419354</c:v>
                </c:pt>
                <c:pt idx="581">
                  <c:v>197.96774193548387</c:v>
                </c:pt>
                <c:pt idx="582">
                  <c:v>197.19354838709677</c:v>
                </c:pt>
                <c:pt idx="583">
                  <c:v>196.54838709677421</c:v>
                </c:pt>
                <c:pt idx="584">
                  <c:v>196.83870967741936</c:v>
                </c:pt>
                <c:pt idx="585">
                  <c:v>196.58064516129033</c:v>
                </c:pt>
                <c:pt idx="586">
                  <c:v>195.96774193548387</c:v>
                </c:pt>
                <c:pt idx="587">
                  <c:v>196.87096774193549</c:v>
                </c:pt>
                <c:pt idx="588">
                  <c:v>197.32258064516128</c:v>
                </c:pt>
                <c:pt idx="589">
                  <c:v>198.12903225806451</c:v>
                </c:pt>
                <c:pt idx="590">
                  <c:v>198.90322580645162</c:v>
                </c:pt>
                <c:pt idx="591">
                  <c:v>197.80645161290323</c:v>
                </c:pt>
                <c:pt idx="592">
                  <c:v>197.90322580645162</c:v>
                </c:pt>
                <c:pt idx="593">
                  <c:v>198.7741935483871</c:v>
                </c:pt>
                <c:pt idx="594">
                  <c:v>198.7741935483871</c:v>
                </c:pt>
                <c:pt idx="595">
                  <c:v>199.2258064516129</c:v>
                </c:pt>
                <c:pt idx="596">
                  <c:v>199.54838709677421</c:v>
                </c:pt>
                <c:pt idx="597">
                  <c:v>199.74193548387098</c:v>
                </c:pt>
                <c:pt idx="598">
                  <c:v>199.38709677419354</c:v>
                </c:pt>
                <c:pt idx="599">
                  <c:v>200.51612903225808</c:v>
                </c:pt>
                <c:pt idx="600">
                  <c:v>200.38709677419354</c:v>
                </c:pt>
                <c:pt idx="601">
                  <c:v>200.83870967741936</c:v>
                </c:pt>
                <c:pt idx="602">
                  <c:v>202.03225806451613</c:v>
                </c:pt>
                <c:pt idx="603">
                  <c:v>202.64516129032259</c:v>
                </c:pt>
                <c:pt idx="604">
                  <c:v>203.87096774193549</c:v>
                </c:pt>
                <c:pt idx="605">
                  <c:v>204.09677419354838</c:v>
                </c:pt>
                <c:pt idx="606">
                  <c:v>205.90322580645162</c:v>
                </c:pt>
                <c:pt idx="607">
                  <c:v>206.35483870967741</c:v>
                </c:pt>
                <c:pt idx="608">
                  <c:v>207.80645161290323</c:v>
                </c:pt>
                <c:pt idx="609">
                  <c:v>208.35483870967741</c:v>
                </c:pt>
                <c:pt idx="610">
                  <c:v>208.90322580645162</c:v>
                </c:pt>
                <c:pt idx="611">
                  <c:v>209.45161290322579</c:v>
                </c:pt>
                <c:pt idx="612">
                  <c:v>210.96774193548387</c:v>
                </c:pt>
                <c:pt idx="613">
                  <c:v>212.54838709677421</c:v>
                </c:pt>
                <c:pt idx="614">
                  <c:v>213.90322580645162</c:v>
                </c:pt>
                <c:pt idx="615">
                  <c:v>214.41935483870967</c:v>
                </c:pt>
                <c:pt idx="616">
                  <c:v>215.38709677419354</c:v>
                </c:pt>
                <c:pt idx="617">
                  <c:v>216.83870967741936</c:v>
                </c:pt>
                <c:pt idx="618">
                  <c:v>217.35483870967741</c:v>
                </c:pt>
                <c:pt idx="619">
                  <c:v>218.64516129032259</c:v>
                </c:pt>
                <c:pt idx="620">
                  <c:v>219.06451612903226</c:v>
                </c:pt>
                <c:pt idx="621">
                  <c:v>219.38709677419354</c:v>
                </c:pt>
                <c:pt idx="622">
                  <c:v>220.93548387096774</c:v>
                </c:pt>
                <c:pt idx="623">
                  <c:v>221.83870967741936</c:v>
                </c:pt>
                <c:pt idx="624">
                  <c:v>222.54838709677421</c:v>
                </c:pt>
                <c:pt idx="625">
                  <c:v>224.12903225806451</c:v>
                </c:pt>
                <c:pt idx="626">
                  <c:v>224.80645161290323</c:v>
                </c:pt>
                <c:pt idx="627">
                  <c:v>225.74193548387098</c:v>
                </c:pt>
                <c:pt idx="628">
                  <c:v>226.45161290322579</c:v>
                </c:pt>
                <c:pt idx="629">
                  <c:v>228.16129032258064</c:v>
                </c:pt>
                <c:pt idx="630">
                  <c:v>228.61290322580646</c:v>
                </c:pt>
                <c:pt idx="631">
                  <c:v>230</c:v>
                </c:pt>
                <c:pt idx="632">
                  <c:v>230.25806451612902</c:v>
                </c:pt>
                <c:pt idx="633">
                  <c:v>230.19354838709677</c:v>
                </c:pt>
                <c:pt idx="634">
                  <c:v>230.48387096774192</c:v>
                </c:pt>
                <c:pt idx="635">
                  <c:v>230.19354838709677</c:v>
                </c:pt>
                <c:pt idx="636">
                  <c:v>230.35483870967741</c:v>
                </c:pt>
                <c:pt idx="637">
                  <c:v>229.87096774193549</c:v>
                </c:pt>
                <c:pt idx="638">
                  <c:v>229.87096774193549</c:v>
                </c:pt>
                <c:pt idx="639">
                  <c:v>229.35483870967741</c:v>
                </c:pt>
                <c:pt idx="640">
                  <c:v>229.03225806451613</c:v>
                </c:pt>
                <c:pt idx="641">
                  <c:v>229.32258064516128</c:v>
                </c:pt>
                <c:pt idx="642">
                  <c:v>229.51612903225808</c:v>
                </c:pt>
                <c:pt idx="643">
                  <c:v>229.32258064516128</c:v>
                </c:pt>
                <c:pt idx="644">
                  <c:v>229.16129032258064</c:v>
                </c:pt>
                <c:pt idx="645">
                  <c:v>228.87096774193549</c:v>
                </c:pt>
                <c:pt idx="646">
                  <c:v>228.16129032258064</c:v>
                </c:pt>
                <c:pt idx="647">
                  <c:v>226.93548387096774</c:v>
                </c:pt>
                <c:pt idx="648">
                  <c:v>226.03225806451613</c:v>
                </c:pt>
                <c:pt idx="649">
                  <c:v>224.70967741935485</c:v>
                </c:pt>
                <c:pt idx="650">
                  <c:v>223.06451612903226</c:v>
                </c:pt>
                <c:pt idx="651">
                  <c:v>221.83870967741936</c:v>
                </c:pt>
                <c:pt idx="652">
                  <c:v>220.90322580645162</c:v>
                </c:pt>
                <c:pt idx="653">
                  <c:v>219.35483870967741</c:v>
                </c:pt>
                <c:pt idx="654">
                  <c:v>218.03225806451613</c:v>
                </c:pt>
                <c:pt idx="655">
                  <c:v>217.38709677419354</c:v>
                </c:pt>
                <c:pt idx="656">
                  <c:v>215.90322580645162</c:v>
                </c:pt>
                <c:pt idx="657">
                  <c:v>214.38709677419354</c:v>
                </c:pt>
                <c:pt idx="658">
                  <c:v>213.48387096774192</c:v>
                </c:pt>
                <c:pt idx="659">
                  <c:v>212.7741935483871</c:v>
                </c:pt>
                <c:pt idx="660">
                  <c:v>212.29032258064515</c:v>
                </c:pt>
                <c:pt idx="661">
                  <c:v>211.54838709677421</c:v>
                </c:pt>
                <c:pt idx="662">
                  <c:v>210.58064516129033</c:v>
                </c:pt>
                <c:pt idx="663">
                  <c:v>209.61290322580646</c:v>
                </c:pt>
                <c:pt idx="664">
                  <c:v>208.67741935483872</c:v>
                </c:pt>
                <c:pt idx="665">
                  <c:v>207.93548387096774</c:v>
                </c:pt>
                <c:pt idx="666">
                  <c:v>207.48387096774192</c:v>
                </c:pt>
                <c:pt idx="667">
                  <c:v>207.12903225806451</c:v>
                </c:pt>
                <c:pt idx="668">
                  <c:v>206.09677419354838</c:v>
                </c:pt>
                <c:pt idx="669">
                  <c:v>205.51612903225808</c:v>
                </c:pt>
                <c:pt idx="670">
                  <c:v>205</c:v>
                </c:pt>
                <c:pt idx="671">
                  <c:v>204.35483870967741</c:v>
                </c:pt>
                <c:pt idx="672">
                  <c:v>202.90322580645162</c:v>
                </c:pt>
                <c:pt idx="673">
                  <c:v>202.09677419354838</c:v>
                </c:pt>
                <c:pt idx="674">
                  <c:v>200.80645161290323</c:v>
                </c:pt>
                <c:pt idx="675">
                  <c:v>200.16129032258064</c:v>
                </c:pt>
                <c:pt idx="676">
                  <c:v>199.70967741935485</c:v>
                </c:pt>
                <c:pt idx="677">
                  <c:v>199.7741935483871</c:v>
                </c:pt>
                <c:pt idx="678">
                  <c:v>200.19354838709677</c:v>
                </c:pt>
                <c:pt idx="679">
                  <c:v>200.06451612903226</c:v>
                </c:pt>
                <c:pt idx="680">
                  <c:v>200.74193548387098</c:v>
                </c:pt>
                <c:pt idx="681">
                  <c:v>201.45161290322579</c:v>
                </c:pt>
                <c:pt idx="682">
                  <c:v>201.58064516129033</c:v>
                </c:pt>
                <c:pt idx="683">
                  <c:v>202.03225806451613</c:v>
                </c:pt>
                <c:pt idx="684">
                  <c:v>202.48387096774192</c:v>
                </c:pt>
                <c:pt idx="685">
                  <c:v>202.25806451612902</c:v>
                </c:pt>
                <c:pt idx="686">
                  <c:v>201.80645161290323</c:v>
                </c:pt>
                <c:pt idx="687">
                  <c:v>202.25806451612902</c:v>
                </c:pt>
                <c:pt idx="688">
                  <c:v>202.80645161290323</c:v>
                </c:pt>
                <c:pt idx="689">
                  <c:v>202.54838709677421</c:v>
                </c:pt>
                <c:pt idx="690">
                  <c:v>202.12903225806451</c:v>
                </c:pt>
                <c:pt idx="691">
                  <c:v>201.96774193548387</c:v>
                </c:pt>
                <c:pt idx="692">
                  <c:v>201.83870967741936</c:v>
                </c:pt>
                <c:pt idx="693">
                  <c:v>201.2258064516129</c:v>
                </c:pt>
                <c:pt idx="694">
                  <c:v>201.51612903225808</c:v>
                </c:pt>
                <c:pt idx="695">
                  <c:v>201.29032258064515</c:v>
                </c:pt>
                <c:pt idx="696">
                  <c:v>201.19354838709677</c:v>
                </c:pt>
                <c:pt idx="697">
                  <c:v>200.61290322580646</c:v>
                </c:pt>
                <c:pt idx="698">
                  <c:v>200.16129032258064</c:v>
                </c:pt>
                <c:pt idx="699">
                  <c:v>200.96774193548387</c:v>
                </c:pt>
                <c:pt idx="700">
                  <c:v>200.32258064516128</c:v>
                </c:pt>
                <c:pt idx="701">
                  <c:v>199.74193548387098</c:v>
                </c:pt>
                <c:pt idx="702">
                  <c:v>199.93548387096774</c:v>
                </c:pt>
                <c:pt idx="703">
                  <c:v>200.41935483870967</c:v>
                </c:pt>
                <c:pt idx="704">
                  <c:v>199.64516129032259</c:v>
                </c:pt>
                <c:pt idx="705">
                  <c:v>200.03225806451613</c:v>
                </c:pt>
                <c:pt idx="706">
                  <c:v>200.19354838709677</c:v>
                </c:pt>
                <c:pt idx="707">
                  <c:v>199.51612903225808</c:v>
                </c:pt>
                <c:pt idx="708">
                  <c:v>199.90322580645162</c:v>
                </c:pt>
                <c:pt idx="709">
                  <c:v>199.64516129032259</c:v>
                </c:pt>
                <c:pt idx="710">
                  <c:v>199.96774193548387</c:v>
                </c:pt>
                <c:pt idx="711">
                  <c:v>199.64516129032259</c:v>
                </c:pt>
                <c:pt idx="712">
                  <c:v>199.19354838709677</c:v>
                </c:pt>
                <c:pt idx="713">
                  <c:v>199.70967741935485</c:v>
                </c:pt>
                <c:pt idx="714">
                  <c:v>199.87096774193549</c:v>
                </c:pt>
                <c:pt idx="715">
                  <c:v>199.67741935483872</c:v>
                </c:pt>
                <c:pt idx="716">
                  <c:v>200</c:v>
                </c:pt>
                <c:pt idx="717">
                  <c:v>199.90322580645162</c:v>
                </c:pt>
                <c:pt idx="718">
                  <c:v>199.2258064516129</c:v>
                </c:pt>
                <c:pt idx="719">
                  <c:v>198.83870967741936</c:v>
                </c:pt>
                <c:pt idx="720">
                  <c:v>198.16129032258064</c:v>
                </c:pt>
                <c:pt idx="721">
                  <c:v>198.61290322580646</c:v>
                </c:pt>
                <c:pt idx="722">
                  <c:v>198.38709677419354</c:v>
                </c:pt>
                <c:pt idx="723">
                  <c:v>198.29032258064515</c:v>
                </c:pt>
                <c:pt idx="724">
                  <c:v>199.51612903225808</c:v>
                </c:pt>
                <c:pt idx="725">
                  <c:v>198.90322580645162</c:v>
                </c:pt>
                <c:pt idx="726">
                  <c:v>198.48387096774192</c:v>
                </c:pt>
                <c:pt idx="727">
                  <c:v>197.70967741935485</c:v>
                </c:pt>
                <c:pt idx="728">
                  <c:v>198.61290322580646</c:v>
                </c:pt>
                <c:pt idx="729">
                  <c:v>198.16129032258064</c:v>
                </c:pt>
                <c:pt idx="730">
                  <c:v>198.19354838709677</c:v>
                </c:pt>
                <c:pt idx="731">
                  <c:v>199.32258064516128</c:v>
                </c:pt>
                <c:pt idx="732">
                  <c:v>200</c:v>
                </c:pt>
                <c:pt idx="733">
                  <c:v>199.93548387096774</c:v>
                </c:pt>
                <c:pt idx="734">
                  <c:v>200.16129032258064</c:v>
                </c:pt>
                <c:pt idx="735">
                  <c:v>200.45161290322579</c:v>
                </c:pt>
                <c:pt idx="736">
                  <c:v>200.61290322580646</c:v>
                </c:pt>
                <c:pt idx="737">
                  <c:v>199.64516129032259</c:v>
                </c:pt>
                <c:pt idx="738">
                  <c:v>200.54838709677421</c:v>
                </c:pt>
                <c:pt idx="739">
                  <c:v>199.93548387096774</c:v>
                </c:pt>
                <c:pt idx="740">
                  <c:v>199.70967741935485</c:v>
                </c:pt>
                <c:pt idx="741">
                  <c:v>199.2258064516129</c:v>
                </c:pt>
                <c:pt idx="742">
                  <c:v>198.74193548387098</c:v>
                </c:pt>
                <c:pt idx="743">
                  <c:v>198.38709677419354</c:v>
                </c:pt>
                <c:pt idx="744">
                  <c:v>197.74193548387098</c:v>
                </c:pt>
                <c:pt idx="745">
                  <c:v>197.09677419354838</c:v>
                </c:pt>
                <c:pt idx="746">
                  <c:v>197.87096774193549</c:v>
                </c:pt>
                <c:pt idx="747">
                  <c:v>198.38709677419354</c:v>
                </c:pt>
                <c:pt idx="748">
                  <c:v>198.19354838709677</c:v>
                </c:pt>
                <c:pt idx="749">
                  <c:v>198.70967741935485</c:v>
                </c:pt>
                <c:pt idx="750">
                  <c:v>199.51612903225808</c:v>
                </c:pt>
                <c:pt idx="751">
                  <c:v>200.35483870967741</c:v>
                </c:pt>
                <c:pt idx="752">
                  <c:v>200.90322580645162</c:v>
                </c:pt>
                <c:pt idx="753">
                  <c:v>201.29032258064515</c:v>
                </c:pt>
                <c:pt idx="754">
                  <c:v>201.32258064516128</c:v>
                </c:pt>
                <c:pt idx="755">
                  <c:v>200.67741935483872</c:v>
                </c:pt>
                <c:pt idx="756">
                  <c:v>201.41935483870967</c:v>
                </c:pt>
                <c:pt idx="757">
                  <c:v>202</c:v>
                </c:pt>
                <c:pt idx="758">
                  <c:v>203.09677419354838</c:v>
                </c:pt>
                <c:pt idx="759">
                  <c:v>202.93548387096774</c:v>
                </c:pt>
                <c:pt idx="760">
                  <c:v>203.74193548387098</c:v>
                </c:pt>
                <c:pt idx="761">
                  <c:v>203.70967741935485</c:v>
                </c:pt>
                <c:pt idx="762">
                  <c:v>203.80645161290323</c:v>
                </c:pt>
                <c:pt idx="763">
                  <c:v>203.03225806451613</c:v>
                </c:pt>
                <c:pt idx="764">
                  <c:v>202.64516129032259</c:v>
                </c:pt>
                <c:pt idx="765">
                  <c:v>202.38709677419354</c:v>
                </c:pt>
                <c:pt idx="766">
                  <c:v>201.74193548387098</c:v>
                </c:pt>
                <c:pt idx="767">
                  <c:v>201.87096774193549</c:v>
                </c:pt>
                <c:pt idx="768">
                  <c:v>202.06451612903226</c:v>
                </c:pt>
                <c:pt idx="769">
                  <c:v>201.67741935483872</c:v>
                </c:pt>
                <c:pt idx="770">
                  <c:v>201.58064516129033</c:v>
                </c:pt>
                <c:pt idx="771">
                  <c:v>201.61290322580646</c:v>
                </c:pt>
                <c:pt idx="772">
                  <c:v>202.48387096774192</c:v>
                </c:pt>
                <c:pt idx="773">
                  <c:v>202.61290322580646</c:v>
                </c:pt>
                <c:pt idx="774">
                  <c:v>203.29032258064515</c:v>
                </c:pt>
                <c:pt idx="775">
                  <c:v>203.35483870967741</c:v>
                </c:pt>
                <c:pt idx="776">
                  <c:v>202.87096774193549</c:v>
                </c:pt>
                <c:pt idx="777">
                  <c:v>203.12903225806451</c:v>
                </c:pt>
                <c:pt idx="778">
                  <c:v>202.93548387096774</c:v>
                </c:pt>
                <c:pt idx="779">
                  <c:v>203.7741935483871</c:v>
                </c:pt>
                <c:pt idx="780">
                  <c:v>203.83870967741936</c:v>
                </c:pt>
                <c:pt idx="781">
                  <c:v>204</c:v>
                </c:pt>
                <c:pt idx="782">
                  <c:v>203.2258064516129</c:v>
                </c:pt>
                <c:pt idx="783">
                  <c:v>202.74193548387098</c:v>
                </c:pt>
                <c:pt idx="784">
                  <c:v>202.74193548387098</c:v>
                </c:pt>
                <c:pt idx="785">
                  <c:v>203.03225806451613</c:v>
                </c:pt>
                <c:pt idx="786">
                  <c:v>203.12903225806451</c:v>
                </c:pt>
                <c:pt idx="787">
                  <c:v>203.41935483870967</c:v>
                </c:pt>
                <c:pt idx="788">
                  <c:v>203.09677419354838</c:v>
                </c:pt>
                <c:pt idx="789">
                  <c:v>203.12903225806451</c:v>
                </c:pt>
                <c:pt idx="790">
                  <c:v>202.7741935483871</c:v>
                </c:pt>
                <c:pt idx="791">
                  <c:v>202.48387096774192</c:v>
                </c:pt>
                <c:pt idx="792">
                  <c:v>202.2258064516129</c:v>
                </c:pt>
                <c:pt idx="793">
                  <c:v>201.35483870967741</c:v>
                </c:pt>
                <c:pt idx="794">
                  <c:v>201.87096774193549</c:v>
                </c:pt>
                <c:pt idx="795">
                  <c:v>202.2258064516129</c:v>
                </c:pt>
                <c:pt idx="796">
                  <c:v>202.06451612903226</c:v>
                </c:pt>
                <c:pt idx="797">
                  <c:v>202.48387096774192</c:v>
                </c:pt>
                <c:pt idx="798">
                  <c:v>202.38709677419354</c:v>
                </c:pt>
                <c:pt idx="799">
                  <c:v>202.64516129032259</c:v>
                </c:pt>
                <c:pt idx="800">
                  <c:v>202.74193548387098</c:v>
                </c:pt>
                <c:pt idx="801">
                  <c:v>202.93548387096774</c:v>
                </c:pt>
                <c:pt idx="802">
                  <c:v>203.54838709677421</c:v>
                </c:pt>
                <c:pt idx="803">
                  <c:v>203.19354838709677</c:v>
                </c:pt>
                <c:pt idx="804">
                  <c:v>202.80645161290323</c:v>
                </c:pt>
                <c:pt idx="805">
                  <c:v>202.80645161290323</c:v>
                </c:pt>
                <c:pt idx="806">
                  <c:v>203.09677419354838</c:v>
                </c:pt>
                <c:pt idx="807">
                  <c:v>204.2258064516129</c:v>
                </c:pt>
                <c:pt idx="808">
                  <c:v>204.19354838709677</c:v>
                </c:pt>
                <c:pt idx="809">
                  <c:v>204.29032258064515</c:v>
                </c:pt>
                <c:pt idx="810">
                  <c:v>203.93548387096774</c:v>
                </c:pt>
                <c:pt idx="811">
                  <c:v>204.35483870967741</c:v>
                </c:pt>
                <c:pt idx="812">
                  <c:v>203.58064516129033</c:v>
                </c:pt>
                <c:pt idx="813">
                  <c:v>204.67741935483872</c:v>
                </c:pt>
                <c:pt idx="814">
                  <c:v>204.09677419354838</c:v>
                </c:pt>
                <c:pt idx="815">
                  <c:v>203.29032258064515</c:v>
                </c:pt>
                <c:pt idx="816">
                  <c:v>202.83870967741936</c:v>
                </c:pt>
                <c:pt idx="817">
                  <c:v>203.09677419354838</c:v>
                </c:pt>
                <c:pt idx="818">
                  <c:v>203</c:v>
                </c:pt>
                <c:pt idx="819">
                  <c:v>203.51612903225808</c:v>
                </c:pt>
                <c:pt idx="820">
                  <c:v>202.38709677419354</c:v>
                </c:pt>
                <c:pt idx="821">
                  <c:v>203</c:v>
                </c:pt>
                <c:pt idx="822">
                  <c:v>202.29032258064515</c:v>
                </c:pt>
                <c:pt idx="823">
                  <c:v>202.67741935483872</c:v>
                </c:pt>
                <c:pt idx="824">
                  <c:v>203.03225806451613</c:v>
                </c:pt>
                <c:pt idx="825">
                  <c:v>202.51612903225808</c:v>
                </c:pt>
                <c:pt idx="826">
                  <c:v>202.38709677419354</c:v>
                </c:pt>
                <c:pt idx="827">
                  <c:v>202.93548387096774</c:v>
                </c:pt>
                <c:pt idx="828">
                  <c:v>203.03225806451613</c:v>
                </c:pt>
                <c:pt idx="829">
                  <c:v>203.25806451612902</c:v>
                </c:pt>
                <c:pt idx="830">
                  <c:v>203.90322580645162</c:v>
                </c:pt>
                <c:pt idx="831">
                  <c:v>203.58064516129033</c:v>
                </c:pt>
                <c:pt idx="832">
                  <c:v>203.06451612903226</c:v>
                </c:pt>
                <c:pt idx="833">
                  <c:v>203.2258064516129</c:v>
                </c:pt>
                <c:pt idx="834">
                  <c:v>203.48387096774192</c:v>
                </c:pt>
                <c:pt idx="835">
                  <c:v>203.64516129032259</c:v>
                </c:pt>
                <c:pt idx="836">
                  <c:v>203.38709677419354</c:v>
                </c:pt>
                <c:pt idx="837">
                  <c:v>203.58064516129033</c:v>
                </c:pt>
                <c:pt idx="838">
                  <c:v>203.12903225806451</c:v>
                </c:pt>
                <c:pt idx="839">
                  <c:v>202.32258064516128</c:v>
                </c:pt>
                <c:pt idx="840">
                  <c:v>202.35483870967741</c:v>
                </c:pt>
                <c:pt idx="841">
                  <c:v>202.64516129032259</c:v>
                </c:pt>
                <c:pt idx="842">
                  <c:v>201.7741935483871</c:v>
                </c:pt>
                <c:pt idx="843">
                  <c:v>201.54838709677421</c:v>
                </c:pt>
                <c:pt idx="844">
                  <c:v>201.19354838709677</c:v>
                </c:pt>
                <c:pt idx="845">
                  <c:v>202.12903225806451</c:v>
                </c:pt>
                <c:pt idx="846">
                  <c:v>203</c:v>
                </c:pt>
                <c:pt idx="847">
                  <c:v>203.48387096774192</c:v>
                </c:pt>
                <c:pt idx="848">
                  <c:v>203.48387096774192</c:v>
                </c:pt>
                <c:pt idx="849">
                  <c:v>202.51612903225808</c:v>
                </c:pt>
                <c:pt idx="850">
                  <c:v>202.64516129032259</c:v>
                </c:pt>
                <c:pt idx="851">
                  <c:v>202.90322580645162</c:v>
                </c:pt>
                <c:pt idx="852">
                  <c:v>202.12903225806451</c:v>
                </c:pt>
                <c:pt idx="853">
                  <c:v>203.2258064516129</c:v>
                </c:pt>
                <c:pt idx="854">
                  <c:v>202.83870967741936</c:v>
                </c:pt>
                <c:pt idx="855">
                  <c:v>202.09677419354838</c:v>
                </c:pt>
                <c:pt idx="856">
                  <c:v>202.41935483870967</c:v>
                </c:pt>
                <c:pt idx="857">
                  <c:v>201.83870967741936</c:v>
                </c:pt>
                <c:pt idx="858">
                  <c:v>200.90322580645162</c:v>
                </c:pt>
                <c:pt idx="859">
                  <c:v>200.90322580645162</c:v>
                </c:pt>
                <c:pt idx="860">
                  <c:v>200</c:v>
                </c:pt>
                <c:pt idx="861">
                  <c:v>199.29032258064515</c:v>
                </c:pt>
                <c:pt idx="862">
                  <c:v>199</c:v>
                </c:pt>
                <c:pt idx="863">
                  <c:v>200.12903225806451</c:v>
                </c:pt>
                <c:pt idx="864">
                  <c:v>200.12903225806451</c:v>
                </c:pt>
                <c:pt idx="865">
                  <c:v>199.7741935483871</c:v>
                </c:pt>
                <c:pt idx="866">
                  <c:v>200.87096774193549</c:v>
                </c:pt>
                <c:pt idx="867">
                  <c:v>200.61290322580646</c:v>
                </c:pt>
                <c:pt idx="868">
                  <c:v>200.74193548387098</c:v>
                </c:pt>
                <c:pt idx="869">
                  <c:v>200.48387096774192</c:v>
                </c:pt>
                <c:pt idx="870">
                  <c:v>201.2258064516129</c:v>
                </c:pt>
                <c:pt idx="871">
                  <c:v>200.38709677419354</c:v>
                </c:pt>
                <c:pt idx="872">
                  <c:v>200.48387096774192</c:v>
                </c:pt>
                <c:pt idx="873">
                  <c:v>201.29032258064515</c:v>
                </c:pt>
                <c:pt idx="874">
                  <c:v>201.58064516129033</c:v>
                </c:pt>
                <c:pt idx="875">
                  <c:v>201.25806451612902</c:v>
                </c:pt>
                <c:pt idx="876">
                  <c:v>201.12903225806451</c:v>
                </c:pt>
                <c:pt idx="877">
                  <c:v>200.64516129032259</c:v>
                </c:pt>
                <c:pt idx="878">
                  <c:v>200.06451612903226</c:v>
                </c:pt>
                <c:pt idx="879">
                  <c:v>200.38709677419354</c:v>
                </c:pt>
                <c:pt idx="880">
                  <c:v>200.7741935483871</c:v>
                </c:pt>
                <c:pt idx="881">
                  <c:v>200.32258064516128</c:v>
                </c:pt>
                <c:pt idx="882">
                  <c:v>201.03225806451613</c:v>
                </c:pt>
                <c:pt idx="883">
                  <c:v>201.32258064516128</c:v>
                </c:pt>
                <c:pt idx="884">
                  <c:v>200.7741935483871</c:v>
                </c:pt>
                <c:pt idx="885">
                  <c:v>200.12903225806451</c:v>
                </c:pt>
                <c:pt idx="886">
                  <c:v>200.70967741935485</c:v>
                </c:pt>
                <c:pt idx="887">
                  <c:v>200.93548387096774</c:v>
                </c:pt>
                <c:pt idx="888">
                  <c:v>200.96774193548387</c:v>
                </c:pt>
                <c:pt idx="889">
                  <c:v>201.64516129032259</c:v>
                </c:pt>
                <c:pt idx="890">
                  <c:v>202.38709677419354</c:v>
                </c:pt>
                <c:pt idx="891">
                  <c:v>203.06451612903226</c:v>
                </c:pt>
                <c:pt idx="892">
                  <c:v>203.67741935483872</c:v>
                </c:pt>
                <c:pt idx="893">
                  <c:v>204.58064516129033</c:v>
                </c:pt>
                <c:pt idx="894">
                  <c:v>204.29032258064515</c:v>
                </c:pt>
                <c:pt idx="895">
                  <c:v>204.25806451612902</c:v>
                </c:pt>
                <c:pt idx="896">
                  <c:v>204.51612903225808</c:v>
                </c:pt>
                <c:pt idx="897">
                  <c:v>204.35483870967741</c:v>
                </c:pt>
                <c:pt idx="898">
                  <c:v>204.74193548387098</c:v>
                </c:pt>
                <c:pt idx="899">
                  <c:v>204.51612903225808</c:v>
                </c:pt>
                <c:pt idx="900">
                  <c:v>204.29032258064515</c:v>
                </c:pt>
                <c:pt idx="901">
                  <c:v>204.32258064516128</c:v>
                </c:pt>
                <c:pt idx="902">
                  <c:v>204.51612903225808</c:v>
                </c:pt>
                <c:pt idx="903">
                  <c:v>203.48387096774192</c:v>
                </c:pt>
                <c:pt idx="904">
                  <c:v>203.70967741935485</c:v>
                </c:pt>
                <c:pt idx="905">
                  <c:v>204.45161290322579</c:v>
                </c:pt>
                <c:pt idx="906">
                  <c:v>204.96774193548387</c:v>
                </c:pt>
                <c:pt idx="907">
                  <c:v>204.29032258064515</c:v>
                </c:pt>
                <c:pt idx="908">
                  <c:v>204.35483870967741</c:v>
                </c:pt>
                <c:pt idx="909">
                  <c:v>204</c:v>
                </c:pt>
                <c:pt idx="910">
                  <c:v>203.51612903225808</c:v>
                </c:pt>
                <c:pt idx="911">
                  <c:v>203.35483870967741</c:v>
                </c:pt>
                <c:pt idx="912">
                  <c:v>203.7741935483871</c:v>
                </c:pt>
                <c:pt idx="913">
                  <c:v>203.64516129032259</c:v>
                </c:pt>
                <c:pt idx="914">
                  <c:v>203.58064516129033</c:v>
                </c:pt>
                <c:pt idx="915">
                  <c:v>203.54838709677421</c:v>
                </c:pt>
                <c:pt idx="916">
                  <c:v>203.83870967741936</c:v>
                </c:pt>
                <c:pt idx="917">
                  <c:v>203.2258064516129</c:v>
                </c:pt>
                <c:pt idx="918">
                  <c:v>203.29032258064515</c:v>
                </c:pt>
                <c:pt idx="919">
                  <c:v>203.41935483870967</c:v>
                </c:pt>
                <c:pt idx="920">
                  <c:v>203.54838709677421</c:v>
                </c:pt>
                <c:pt idx="921">
                  <c:v>202.7741935483871</c:v>
                </c:pt>
                <c:pt idx="922">
                  <c:v>202.64516129032259</c:v>
                </c:pt>
                <c:pt idx="923">
                  <c:v>202.35483870967741</c:v>
                </c:pt>
                <c:pt idx="924">
                  <c:v>201.35483870967741</c:v>
                </c:pt>
                <c:pt idx="925">
                  <c:v>201.38709677419354</c:v>
                </c:pt>
                <c:pt idx="926">
                  <c:v>200.87096774193549</c:v>
                </c:pt>
                <c:pt idx="927">
                  <c:v>200.48387096774192</c:v>
                </c:pt>
                <c:pt idx="928">
                  <c:v>200.45161290322579</c:v>
                </c:pt>
                <c:pt idx="929">
                  <c:v>200.87096774193549</c:v>
                </c:pt>
                <c:pt idx="930">
                  <c:v>201.12903225806451</c:v>
                </c:pt>
                <c:pt idx="931">
                  <c:v>202</c:v>
                </c:pt>
                <c:pt idx="932">
                  <c:v>201.83870967741936</c:v>
                </c:pt>
                <c:pt idx="933">
                  <c:v>202.67741935483872</c:v>
                </c:pt>
                <c:pt idx="934">
                  <c:v>203.67741935483872</c:v>
                </c:pt>
                <c:pt idx="935">
                  <c:v>203.29032258064515</c:v>
                </c:pt>
                <c:pt idx="936">
                  <c:v>203.12903225806451</c:v>
                </c:pt>
                <c:pt idx="937">
                  <c:v>203</c:v>
                </c:pt>
                <c:pt idx="938">
                  <c:v>203.45161290322579</c:v>
                </c:pt>
                <c:pt idx="939">
                  <c:v>203.35483870967741</c:v>
                </c:pt>
                <c:pt idx="940">
                  <c:v>203.70967741935485</c:v>
                </c:pt>
                <c:pt idx="941">
                  <c:v>203.41935483870967</c:v>
                </c:pt>
                <c:pt idx="942">
                  <c:v>203.19354838709677</c:v>
                </c:pt>
                <c:pt idx="943">
                  <c:v>202.38709677419354</c:v>
                </c:pt>
                <c:pt idx="944">
                  <c:v>202.58064516129033</c:v>
                </c:pt>
                <c:pt idx="945">
                  <c:v>202.38709677419354</c:v>
                </c:pt>
                <c:pt idx="946">
                  <c:v>202.83870967741936</c:v>
                </c:pt>
                <c:pt idx="947">
                  <c:v>202.35483870967741</c:v>
                </c:pt>
                <c:pt idx="948">
                  <c:v>203.2258064516129</c:v>
                </c:pt>
                <c:pt idx="949">
                  <c:v>203.51612903225808</c:v>
                </c:pt>
                <c:pt idx="950">
                  <c:v>204.32258064516128</c:v>
                </c:pt>
                <c:pt idx="951">
                  <c:v>203.80645161290323</c:v>
                </c:pt>
                <c:pt idx="952">
                  <c:v>203.7741935483871</c:v>
                </c:pt>
                <c:pt idx="953">
                  <c:v>204.29032258064515</c:v>
                </c:pt>
                <c:pt idx="954">
                  <c:v>203.54838709677421</c:v>
                </c:pt>
                <c:pt idx="955">
                  <c:v>204.2258064516129</c:v>
                </c:pt>
                <c:pt idx="956">
                  <c:v>203.29032258064515</c:v>
                </c:pt>
                <c:pt idx="957">
                  <c:v>203.12903225806451</c:v>
                </c:pt>
                <c:pt idx="958">
                  <c:v>203.2258064516129</c:v>
                </c:pt>
                <c:pt idx="959">
                  <c:v>202.48387096774192</c:v>
                </c:pt>
                <c:pt idx="960">
                  <c:v>201.64516129032259</c:v>
                </c:pt>
                <c:pt idx="961">
                  <c:v>201.03225806451613</c:v>
                </c:pt>
                <c:pt idx="962">
                  <c:v>200.61290322580646</c:v>
                </c:pt>
                <c:pt idx="963">
                  <c:v>199.90322580645162</c:v>
                </c:pt>
                <c:pt idx="964">
                  <c:v>198.90322580645162</c:v>
                </c:pt>
                <c:pt idx="965">
                  <c:v>198.19354838709677</c:v>
                </c:pt>
                <c:pt idx="966">
                  <c:v>198.2258064516129</c:v>
                </c:pt>
                <c:pt idx="967">
                  <c:v>198.38709677419354</c:v>
                </c:pt>
                <c:pt idx="968">
                  <c:v>198.16129032258064</c:v>
                </c:pt>
                <c:pt idx="969">
                  <c:v>197.48387096774192</c:v>
                </c:pt>
                <c:pt idx="970">
                  <c:v>197.90322580645162</c:v>
                </c:pt>
                <c:pt idx="971">
                  <c:v>197.61290322580646</c:v>
                </c:pt>
                <c:pt idx="972">
                  <c:v>197.83870967741936</c:v>
                </c:pt>
                <c:pt idx="973">
                  <c:v>198.54838709677421</c:v>
                </c:pt>
                <c:pt idx="974">
                  <c:v>198.67741935483872</c:v>
                </c:pt>
                <c:pt idx="975">
                  <c:v>197.61290322580646</c:v>
                </c:pt>
                <c:pt idx="976">
                  <c:v>197.87096774193549</c:v>
                </c:pt>
                <c:pt idx="977">
                  <c:v>197.41935483870967</c:v>
                </c:pt>
                <c:pt idx="978">
                  <c:v>197.58064516129033</c:v>
                </c:pt>
                <c:pt idx="979">
                  <c:v>196.90322580645162</c:v>
                </c:pt>
                <c:pt idx="980">
                  <c:v>196.64516129032259</c:v>
                </c:pt>
                <c:pt idx="981">
                  <c:v>196.09677419354838</c:v>
                </c:pt>
                <c:pt idx="982">
                  <c:v>196.32258064516128</c:v>
                </c:pt>
                <c:pt idx="983">
                  <c:v>196.61290322580646</c:v>
                </c:pt>
                <c:pt idx="984">
                  <c:v>195.58064516129033</c:v>
                </c:pt>
                <c:pt idx="985">
                  <c:v>195.61290322580646</c:v>
                </c:pt>
                <c:pt idx="986">
                  <c:v>194.87096774193549</c:v>
                </c:pt>
                <c:pt idx="987">
                  <c:v>196</c:v>
                </c:pt>
                <c:pt idx="988">
                  <c:v>196.19354838709677</c:v>
                </c:pt>
                <c:pt idx="989">
                  <c:v>196.2258064516129</c:v>
                </c:pt>
                <c:pt idx="990">
                  <c:v>196.70967741935485</c:v>
                </c:pt>
                <c:pt idx="991">
                  <c:v>196.90322580645162</c:v>
                </c:pt>
                <c:pt idx="992">
                  <c:v>196.83870967741936</c:v>
                </c:pt>
                <c:pt idx="993">
                  <c:v>196.90322580645162</c:v>
                </c:pt>
                <c:pt idx="994">
                  <c:v>197.67741935483872</c:v>
                </c:pt>
                <c:pt idx="995">
                  <c:v>198.29032258064515</c:v>
                </c:pt>
                <c:pt idx="996">
                  <c:v>198.25806451612902</c:v>
                </c:pt>
                <c:pt idx="997">
                  <c:v>198.03225806451613</c:v>
                </c:pt>
                <c:pt idx="998">
                  <c:v>197.41935483870967</c:v>
                </c:pt>
                <c:pt idx="999">
                  <c:v>196.96774193548387</c:v>
                </c:pt>
                <c:pt idx="1000">
                  <c:v>197.67741935483872</c:v>
                </c:pt>
                <c:pt idx="1001">
                  <c:v>197.61290322580646</c:v>
                </c:pt>
                <c:pt idx="1002">
                  <c:v>197.58064516129033</c:v>
                </c:pt>
                <c:pt idx="1003">
                  <c:v>196.93548387096774</c:v>
                </c:pt>
                <c:pt idx="1004">
                  <c:v>197.25806451612902</c:v>
                </c:pt>
                <c:pt idx="1005">
                  <c:v>197.83870967741936</c:v>
                </c:pt>
                <c:pt idx="1006">
                  <c:v>198.45161290322579</c:v>
                </c:pt>
                <c:pt idx="1007">
                  <c:v>197.96774193548387</c:v>
                </c:pt>
                <c:pt idx="1008">
                  <c:v>198.09677419354838</c:v>
                </c:pt>
                <c:pt idx="1009">
                  <c:v>198.32258064516128</c:v>
                </c:pt>
                <c:pt idx="1010">
                  <c:v>198.74193548387098</c:v>
                </c:pt>
                <c:pt idx="1011">
                  <c:v>198.09677419354838</c:v>
                </c:pt>
                <c:pt idx="1012">
                  <c:v>197.80645161290323</c:v>
                </c:pt>
                <c:pt idx="1013">
                  <c:v>197.58064516129033</c:v>
                </c:pt>
                <c:pt idx="1014">
                  <c:v>197.7741935483871</c:v>
                </c:pt>
                <c:pt idx="1015">
                  <c:v>198.16129032258064</c:v>
                </c:pt>
                <c:pt idx="1016">
                  <c:v>198.19354838709677</c:v>
                </c:pt>
                <c:pt idx="1017">
                  <c:v>199.38709677419354</c:v>
                </c:pt>
                <c:pt idx="1018">
                  <c:v>198.90322580645162</c:v>
                </c:pt>
                <c:pt idx="1019">
                  <c:v>199.32258064516128</c:v>
                </c:pt>
                <c:pt idx="1020">
                  <c:v>199.80645161290323</c:v>
                </c:pt>
                <c:pt idx="1021">
                  <c:v>200.19354838709677</c:v>
                </c:pt>
                <c:pt idx="1022">
                  <c:v>199.87096774193549</c:v>
                </c:pt>
                <c:pt idx="1023">
                  <c:v>200.35483870967741</c:v>
                </c:pt>
                <c:pt idx="1024">
                  <c:v>199.93548387096774</c:v>
                </c:pt>
                <c:pt idx="1025">
                  <c:v>199</c:v>
                </c:pt>
                <c:pt idx="1026">
                  <c:v>199.48387096774192</c:v>
                </c:pt>
                <c:pt idx="1027">
                  <c:v>199.41935483870967</c:v>
                </c:pt>
                <c:pt idx="1028">
                  <c:v>199.67741935483872</c:v>
                </c:pt>
                <c:pt idx="1029">
                  <c:v>200.03225806451613</c:v>
                </c:pt>
                <c:pt idx="1030">
                  <c:v>200</c:v>
                </c:pt>
                <c:pt idx="1031">
                  <c:v>199.45161290322579</c:v>
                </c:pt>
                <c:pt idx="1032">
                  <c:v>198.45161290322579</c:v>
                </c:pt>
                <c:pt idx="1033">
                  <c:v>198.83870967741936</c:v>
                </c:pt>
                <c:pt idx="1034">
                  <c:v>199.32258064516128</c:v>
                </c:pt>
                <c:pt idx="1035">
                  <c:v>198.2258064516129</c:v>
                </c:pt>
                <c:pt idx="1036">
                  <c:v>198.35483870967741</c:v>
                </c:pt>
                <c:pt idx="1037">
                  <c:v>198.16129032258064</c:v>
                </c:pt>
                <c:pt idx="1038">
                  <c:v>198.09677419354838</c:v>
                </c:pt>
                <c:pt idx="1039">
                  <c:v>198.64516129032259</c:v>
                </c:pt>
                <c:pt idx="1040">
                  <c:v>199.61290322580646</c:v>
                </c:pt>
                <c:pt idx="1041">
                  <c:v>200.83870967741936</c:v>
                </c:pt>
                <c:pt idx="1042">
                  <c:v>202.38709677419354</c:v>
                </c:pt>
                <c:pt idx="1043">
                  <c:v>204</c:v>
                </c:pt>
                <c:pt idx="1044">
                  <c:v>205.03225806451613</c:v>
                </c:pt>
                <c:pt idx="1045">
                  <c:v>205.93548387096774</c:v>
                </c:pt>
                <c:pt idx="1046">
                  <c:v>207.09677419354838</c:v>
                </c:pt>
                <c:pt idx="1047">
                  <c:v>208.90322580645162</c:v>
                </c:pt>
                <c:pt idx="1048">
                  <c:v>209.29032258064515</c:v>
                </c:pt>
                <c:pt idx="1049">
                  <c:v>209.96774193548387</c:v>
                </c:pt>
                <c:pt idx="1050">
                  <c:v>210.41935483870967</c:v>
                </c:pt>
                <c:pt idx="1051">
                  <c:v>211.06451612903226</c:v>
                </c:pt>
                <c:pt idx="1052">
                  <c:v>211.32258064516128</c:v>
                </c:pt>
                <c:pt idx="1053">
                  <c:v>212.58064516129033</c:v>
                </c:pt>
                <c:pt idx="1054">
                  <c:v>213.58064516129033</c:v>
                </c:pt>
                <c:pt idx="1055">
                  <c:v>214.7741935483871</c:v>
                </c:pt>
                <c:pt idx="1056">
                  <c:v>216.12903225806451</c:v>
                </c:pt>
                <c:pt idx="1057">
                  <c:v>216.48387096774192</c:v>
                </c:pt>
                <c:pt idx="1058">
                  <c:v>217.96774193548387</c:v>
                </c:pt>
                <c:pt idx="1059">
                  <c:v>218.58064516129033</c:v>
                </c:pt>
                <c:pt idx="1060">
                  <c:v>219.2258064516129</c:v>
                </c:pt>
                <c:pt idx="1061">
                  <c:v>220.7741935483871</c:v>
                </c:pt>
                <c:pt idx="1062">
                  <c:v>222.06451612903226</c:v>
                </c:pt>
                <c:pt idx="1063">
                  <c:v>223.51612903225808</c:v>
                </c:pt>
                <c:pt idx="1064">
                  <c:v>224.51612903225808</c:v>
                </c:pt>
                <c:pt idx="1065">
                  <c:v>225.48387096774192</c:v>
                </c:pt>
                <c:pt idx="1066">
                  <c:v>227.25806451612902</c:v>
                </c:pt>
                <c:pt idx="1067">
                  <c:v>228.19354838709677</c:v>
                </c:pt>
                <c:pt idx="1068">
                  <c:v>229.32258064516128</c:v>
                </c:pt>
                <c:pt idx="1069">
                  <c:v>230.54838709677421</c:v>
                </c:pt>
                <c:pt idx="1070">
                  <c:v>231.16129032258064</c:v>
                </c:pt>
                <c:pt idx="1071">
                  <c:v>231.29032258064515</c:v>
                </c:pt>
                <c:pt idx="1072">
                  <c:v>230.74193548387098</c:v>
                </c:pt>
                <c:pt idx="1073">
                  <c:v>230.67741935483872</c:v>
                </c:pt>
                <c:pt idx="1074">
                  <c:v>230.67741935483872</c:v>
                </c:pt>
                <c:pt idx="1075">
                  <c:v>230.70967741935485</c:v>
                </c:pt>
                <c:pt idx="1076">
                  <c:v>230.67741935483872</c:v>
                </c:pt>
                <c:pt idx="1077">
                  <c:v>230.74193548387098</c:v>
                </c:pt>
                <c:pt idx="1078">
                  <c:v>230.51612903225808</c:v>
                </c:pt>
                <c:pt idx="1079">
                  <c:v>230.58064516129033</c:v>
                </c:pt>
                <c:pt idx="1080">
                  <c:v>230.96774193548387</c:v>
                </c:pt>
                <c:pt idx="1081">
                  <c:v>231.2258064516129</c:v>
                </c:pt>
                <c:pt idx="1082">
                  <c:v>231.35483870967741</c:v>
                </c:pt>
                <c:pt idx="1083">
                  <c:v>231.67741935483872</c:v>
                </c:pt>
                <c:pt idx="1084">
                  <c:v>230.41935483870967</c:v>
                </c:pt>
                <c:pt idx="1085">
                  <c:v>228.93548387096774</c:v>
                </c:pt>
                <c:pt idx="1086">
                  <c:v>227.29032258064515</c:v>
                </c:pt>
                <c:pt idx="1087">
                  <c:v>225.74193548387098</c:v>
                </c:pt>
                <c:pt idx="1088">
                  <c:v>224.67741935483872</c:v>
                </c:pt>
                <c:pt idx="1089">
                  <c:v>223.67741935483872</c:v>
                </c:pt>
                <c:pt idx="1090">
                  <c:v>222.12903225806451</c:v>
                </c:pt>
                <c:pt idx="1091">
                  <c:v>220.64516129032259</c:v>
                </c:pt>
                <c:pt idx="1092">
                  <c:v>219.87096774193549</c:v>
                </c:pt>
                <c:pt idx="1093">
                  <c:v>218.64516129032259</c:v>
                </c:pt>
                <c:pt idx="1094">
                  <c:v>217.06451612903226</c:v>
                </c:pt>
                <c:pt idx="1095">
                  <c:v>215.48387096774192</c:v>
                </c:pt>
                <c:pt idx="1096">
                  <c:v>214.2258064516129</c:v>
                </c:pt>
                <c:pt idx="1097">
                  <c:v>212.7741935483871</c:v>
                </c:pt>
                <c:pt idx="1098">
                  <c:v>211.2258064516129</c:v>
                </c:pt>
                <c:pt idx="1099">
                  <c:v>209.80645161290323</c:v>
                </c:pt>
                <c:pt idx="1100">
                  <c:v>208.90322580645162</c:v>
                </c:pt>
                <c:pt idx="1101">
                  <c:v>207.03225806451613</c:v>
                </c:pt>
                <c:pt idx="1102">
                  <c:v>206.74193548387098</c:v>
                </c:pt>
                <c:pt idx="1103">
                  <c:v>206.16129032258064</c:v>
                </c:pt>
                <c:pt idx="1104">
                  <c:v>204.93548387096774</c:v>
                </c:pt>
                <c:pt idx="1105">
                  <c:v>203.90322580645162</c:v>
                </c:pt>
                <c:pt idx="1106">
                  <c:v>202.93548387096774</c:v>
                </c:pt>
                <c:pt idx="1107">
                  <c:v>201.48387096774192</c:v>
                </c:pt>
                <c:pt idx="1108">
                  <c:v>200.09677419354838</c:v>
                </c:pt>
                <c:pt idx="1109">
                  <c:v>199.41935483870967</c:v>
                </c:pt>
                <c:pt idx="1110">
                  <c:v>198.2258064516129</c:v>
                </c:pt>
                <c:pt idx="1111">
                  <c:v>197.19354838709677</c:v>
                </c:pt>
                <c:pt idx="1112">
                  <c:v>196.19354838709677</c:v>
                </c:pt>
                <c:pt idx="1113">
                  <c:v>195.48387096774192</c:v>
                </c:pt>
                <c:pt idx="1114">
                  <c:v>194.41935483870967</c:v>
                </c:pt>
                <c:pt idx="1115">
                  <c:v>194.64516129032259</c:v>
                </c:pt>
                <c:pt idx="1116">
                  <c:v>194.80645161290323</c:v>
                </c:pt>
                <c:pt idx="1117">
                  <c:v>195.87096774193549</c:v>
                </c:pt>
                <c:pt idx="1118">
                  <c:v>195.93548387096774</c:v>
                </c:pt>
                <c:pt idx="1119">
                  <c:v>196.32258064516128</c:v>
                </c:pt>
                <c:pt idx="1120">
                  <c:v>196.54838709677421</c:v>
                </c:pt>
                <c:pt idx="1121">
                  <c:v>196.70967741935485</c:v>
                </c:pt>
                <c:pt idx="1122">
                  <c:v>197.83870967741936</c:v>
                </c:pt>
                <c:pt idx="1123">
                  <c:v>197.2258064516129</c:v>
                </c:pt>
                <c:pt idx="1124">
                  <c:v>197.41935483870967</c:v>
                </c:pt>
                <c:pt idx="1125">
                  <c:v>198.19354838709677</c:v>
                </c:pt>
                <c:pt idx="1126">
                  <c:v>198.29032258064515</c:v>
                </c:pt>
                <c:pt idx="1127">
                  <c:v>198.93548387096774</c:v>
                </c:pt>
                <c:pt idx="1128">
                  <c:v>199.7741935483871</c:v>
                </c:pt>
                <c:pt idx="1129">
                  <c:v>199.7741935483871</c:v>
                </c:pt>
                <c:pt idx="1130">
                  <c:v>200.16129032258064</c:v>
                </c:pt>
                <c:pt idx="1131">
                  <c:v>199.74193548387098</c:v>
                </c:pt>
                <c:pt idx="1132">
                  <c:v>199.80645161290323</c:v>
                </c:pt>
                <c:pt idx="1133">
                  <c:v>199.2258064516129</c:v>
                </c:pt>
                <c:pt idx="1134">
                  <c:v>199</c:v>
                </c:pt>
                <c:pt idx="1135">
                  <c:v>198.74193548387098</c:v>
                </c:pt>
                <c:pt idx="1136">
                  <c:v>198.35483870967741</c:v>
                </c:pt>
                <c:pt idx="1137">
                  <c:v>197.96774193548387</c:v>
                </c:pt>
                <c:pt idx="1138">
                  <c:v>198.12903225806451</c:v>
                </c:pt>
                <c:pt idx="1139">
                  <c:v>197.70967741935485</c:v>
                </c:pt>
                <c:pt idx="1140">
                  <c:v>197.74193548387098</c:v>
                </c:pt>
                <c:pt idx="1141">
                  <c:v>197.58064516129033</c:v>
                </c:pt>
                <c:pt idx="1142">
                  <c:v>197.09677419354838</c:v>
                </c:pt>
                <c:pt idx="1143">
                  <c:v>196.96774193548387</c:v>
                </c:pt>
                <c:pt idx="1144">
                  <c:v>195.83870967741936</c:v>
                </c:pt>
                <c:pt idx="1145">
                  <c:v>196.29032258064515</c:v>
                </c:pt>
                <c:pt idx="1146">
                  <c:v>196.61290322580646</c:v>
                </c:pt>
                <c:pt idx="1147">
                  <c:v>196.87096774193549</c:v>
                </c:pt>
                <c:pt idx="1148">
                  <c:v>196.32258064516128</c:v>
                </c:pt>
                <c:pt idx="1149">
                  <c:v>196.29032258064515</c:v>
                </c:pt>
                <c:pt idx="1150">
                  <c:v>196.70967741935485</c:v>
                </c:pt>
                <c:pt idx="1151">
                  <c:v>195.7741935483871</c:v>
                </c:pt>
                <c:pt idx="1152">
                  <c:v>195.93548387096774</c:v>
                </c:pt>
                <c:pt idx="1153">
                  <c:v>194.93548387096774</c:v>
                </c:pt>
                <c:pt idx="1154">
                  <c:v>195.25806451612902</c:v>
                </c:pt>
                <c:pt idx="1155">
                  <c:v>195.16129032258064</c:v>
                </c:pt>
                <c:pt idx="1156">
                  <c:v>195.32258064516128</c:v>
                </c:pt>
                <c:pt idx="1157">
                  <c:v>196.35483870967741</c:v>
                </c:pt>
                <c:pt idx="1158">
                  <c:v>196</c:v>
                </c:pt>
                <c:pt idx="1159">
                  <c:v>194.83870967741936</c:v>
                </c:pt>
                <c:pt idx="1160">
                  <c:v>194.58064516129033</c:v>
                </c:pt>
                <c:pt idx="1161">
                  <c:v>194.70967741935485</c:v>
                </c:pt>
                <c:pt idx="1162">
                  <c:v>195.58064516129033</c:v>
                </c:pt>
                <c:pt idx="1163">
                  <c:v>196.74193548387098</c:v>
                </c:pt>
                <c:pt idx="1164">
                  <c:v>196.38709677419354</c:v>
                </c:pt>
                <c:pt idx="1165">
                  <c:v>195.93548387096774</c:v>
                </c:pt>
                <c:pt idx="1166">
                  <c:v>196.70967741935485</c:v>
                </c:pt>
                <c:pt idx="1167">
                  <c:v>196.54838709677421</c:v>
                </c:pt>
                <c:pt idx="1168">
                  <c:v>197.19354838709677</c:v>
                </c:pt>
                <c:pt idx="1169">
                  <c:v>197.80645161290323</c:v>
                </c:pt>
                <c:pt idx="1170">
                  <c:v>198.96774193548387</c:v>
                </c:pt>
                <c:pt idx="1171">
                  <c:v>198.29032258064515</c:v>
                </c:pt>
                <c:pt idx="1172">
                  <c:v>198.25806451612902</c:v>
                </c:pt>
                <c:pt idx="1173">
                  <c:v>198.2258064516129</c:v>
                </c:pt>
                <c:pt idx="1174">
                  <c:v>198.45161290322579</c:v>
                </c:pt>
                <c:pt idx="1175">
                  <c:v>198.45161290322579</c:v>
                </c:pt>
                <c:pt idx="1176">
                  <c:v>197.93548387096774</c:v>
                </c:pt>
                <c:pt idx="1177">
                  <c:v>197.90322580645162</c:v>
                </c:pt>
                <c:pt idx="1178">
                  <c:v>198.38709677419354</c:v>
                </c:pt>
                <c:pt idx="1179">
                  <c:v>197.96774193548387</c:v>
                </c:pt>
                <c:pt idx="1180">
                  <c:v>198.06451612903226</c:v>
                </c:pt>
                <c:pt idx="1181">
                  <c:v>196.80645161290323</c:v>
                </c:pt>
                <c:pt idx="1182">
                  <c:v>197.48387096774192</c:v>
                </c:pt>
                <c:pt idx="1183">
                  <c:v>197.74193548387098</c:v>
                </c:pt>
                <c:pt idx="1184">
                  <c:v>198.29032258064515</c:v>
                </c:pt>
                <c:pt idx="1185">
                  <c:v>197.87096774193549</c:v>
                </c:pt>
                <c:pt idx="1186">
                  <c:v>197.80645161290323</c:v>
                </c:pt>
                <c:pt idx="1187">
                  <c:v>197.29032258064515</c:v>
                </c:pt>
                <c:pt idx="1188">
                  <c:v>197.03225806451613</c:v>
                </c:pt>
                <c:pt idx="1189">
                  <c:v>197.12903225806451</c:v>
                </c:pt>
                <c:pt idx="1190">
                  <c:v>198.25806451612902</c:v>
                </c:pt>
                <c:pt idx="1191">
                  <c:v>198.74193548387098</c:v>
                </c:pt>
                <c:pt idx="1192">
                  <c:v>199.25806451612902</c:v>
                </c:pt>
                <c:pt idx="1193">
                  <c:v>199.51612903225808</c:v>
                </c:pt>
                <c:pt idx="1194">
                  <c:v>199.29032258064515</c:v>
                </c:pt>
                <c:pt idx="1195">
                  <c:v>200.32258064516128</c:v>
                </c:pt>
                <c:pt idx="1196">
                  <c:v>201.29032258064515</c:v>
                </c:pt>
                <c:pt idx="1197">
                  <c:v>201.12903225806451</c:v>
                </c:pt>
                <c:pt idx="1198">
                  <c:v>201.35483870967741</c:v>
                </c:pt>
                <c:pt idx="1199">
                  <c:v>200.51612903225808</c:v>
                </c:pt>
                <c:pt idx="1200">
                  <c:v>199.87096774193549</c:v>
                </c:pt>
                <c:pt idx="1201">
                  <c:v>199.25806451612902</c:v>
                </c:pt>
                <c:pt idx="1202">
                  <c:v>199.32258064516128</c:v>
                </c:pt>
                <c:pt idx="1203">
                  <c:v>199.2258064516129</c:v>
                </c:pt>
                <c:pt idx="1204">
                  <c:v>199.74193548387098</c:v>
                </c:pt>
                <c:pt idx="1205">
                  <c:v>199.41935483870967</c:v>
                </c:pt>
                <c:pt idx="1206">
                  <c:v>199.32258064516128</c:v>
                </c:pt>
                <c:pt idx="1207">
                  <c:v>199.83870967741936</c:v>
                </c:pt>
                <c:pt idx="1208">
                  <c:v>200.38709677419354</c:v>
                </c:pt>
                <c:pt idx="1209">
                  <c:v>200</c:v>
                </c:pt>
                <c:pt idx="1210">
                  <c:v>201.16129032258064</c:v>
                </c:pt>
                <c:pt idx="1211">
                  <c:v>201.03225806451613</c:v>
                </c:pt>
                <c:pt idx="1212">
                  <c:v>201.03225806451613</c:v>
                </c:pt>
                <c:pt idx="1213">
                  <c:v>201.06451612903226</c:v>
                </c:pt>
                <c:pt idx="1214">
                  <c:v>200.61290322580646</c:v>
                </c:pt>
                <c:pt idx="1215">
                  <c:v>201.06451612903226</c:v>
                </c:pt>
                <c:pt idx="1216">
                  <c:v>201.87096774193549</c:v>
                </c:pt>
                <c:pt idx="1217">
                  <c:v>202.80645161290323</c:v>
                </c:pt>
                <c:pt idx="1218">
                  <c:v>202.61290322580646</c:v>
                </c:pt>
                <c:pt idx="1219">
                  <c:v>202.45161290322579</c:v>
                </c:pt>
                <c:pt idx="1220">
                  <c:v>202.70967741935485</c:v>
                </c:pt>
                <c:pt idx="1221">
                  <c:v>202.58064516129033</c:v>
                </c:pt>
                <c:pt idx="1222">
                  <c:v>202.7741935483871</c:v>
                </c:pt>
                <c:pt idx="1223">
                  <c:v>201.87096774193549</c:v>
                </c:pt>
                <c:pt idx="1224">
                  <c:v>201.2258064516129</c:v>
                </c:pt>
                <c:pt idx="1225">
                  <c:v>201.35483870967741</c:v>
                </c:pt>
                <c:pt idx="1226">
                  <c:v>201.19354838709677</c:v>
                </c:pt>
                <c:pt idx="1227">
                  <c:v>200.2258064516129</c:v>
                </c:pt>
                <c:pt idx="1228">
                  <c:v>200.09677419354838</c:v>
                </c:pt>
                <c:pt idx="1229">
                  <c:v>200.67741935483872</c:v>
                </c:pt>
                <c:pt idx="1230">
                  <c:v>200.70967741935485</c:v>
                </c:pt>
                <c:pt idx="1231">
                  <c:v>200.54838709677421</c:v>
                </c:pt>
                <c:pt idx="1232">
                  <c:v>201.38709677419354</c:v>
                </c:pt>
                <c:pt idx="1233">
                  <c:v>202.29032258064515</c:v>
                </c:pt>
                <c:pt idx="1234">
                  <c:v>203.58064516129033</c:v>
                </c:pt>
                <c:pt idx="1235">
                  <c:v>204.64516129032259</c:v>
                </c:pt>
                <c:pt idx="1236">
                  <c:v>206</c:v>
                </c:pt>
                <c:pt idx="1237">
                  <c:v>207.7741935483871</c:v>
                </c:pt>
                <c:pt idx="1238">
                  <c:v>208.12903225806451</c:v>
                </c:pt>
                <c:pt idx="1239">
                  <c:v>208.19354838709677</c:v>
                </c:pt>
                <c:pt idx="1240">
                  <c:v>209.06451612903226</c:v>
                </c:pt>
                <c:pt idx="1241">
                  <c:v>209.48387096774192</c:v>
                </c:pt>
                <c:pt idx="1242">
                  <c:v>210.96774193548387</c:v>
                </c:pt>
                <c:pt idx="1243">
                  <c:v>212.41935483870967</c:v>
                </c:pt>
                <c:pt idx="1244">
                  <c:v>213.41935483870967</c:v>
                </c:pt>
                <c:pt idx="1245">
                  <c:v>214.93548387096774</c:v>
                </c:pt>
                <c:pt idx="1246">
                  <c:v>215.29032258064515</c:v>
                </c:pt>
                <c:pt idx="1247">
                  <c:v>215.96774193548387</c:v>
                </c:pt>
                <c:pt idx="1248">
                  <c:v>216.19354838709677</c:v>
                </c:pt>
                <c:pt idx="1249">
                  <c:v>217.74193548387098</c:v>
                </c:pt>
                <c:pt idx="1250">
                  <c:v>218.74193548387098</c:v>
                </c:pt>
                <c:pt idx="1251">
                  <c:v>219.12903225806451</c:v>
                </c:pt>
                <c:pt idx="1252">
                  <c:v>219.48387096774192</c:v>
                </c:pt>
                <c:pt idx="1253">
                  <c:v>220.54838709677421</c:v>
                </c:pt>
                <c:pt idx="1254">
                  <c:v>221.51612903225808</c:v>
                </c:pt>
                <c:pt idx="1255">
                  <c:v>222.58064516129033</c:v>
                </c:pt>
                <c:pt idx="1256">
                  <c:v>222.70967741935485</c:v>
                </c:pt>
                <c:pt idx="1257">
                  <c:v>223.32258064516128</c:v>
                </c:pt>
                <c:pt idx="1258">
                  <c:v>225.09677419354838</c:v>
                </c:pt>
                <c:pt idx="1259">
                  <c:v>226.35483870967741</c:v>
                </c:pt>
                <c:pt idx="1260">
                  <c:v>227</c:v>
                </c:pt>
                <c:pt idx="1261">
                  <c:v>228.54838709677421</c:v>
                </c:pt>
                <c:pt idx="1262">
                  <c:v>229.51612903225808</c:v>
                </c:pt>
                <c:pt idx="1263">
                  <c:v>229.61290322580646</c:v>
                </c:pt>
                <c:pt idx="1264">
                  <c:v>230.16129032258064</c:v>
                </c:pt>
                <c:pt idx="1265">
                  <c:v>230.41935483870967</c:v>
                </c:pt>
                <c:pt idx="1266">
                  <c:v>230.19354838709677</c:v>
                </c:pt>
                <c:pt idx="1267">
                  <c:v>229.90322580645162</c:v>
                </c:pt>
                <c:pt idx="1268">
                  <c:v>229.87096774193549</c:v>
                </c:pt>
                <c:pt idx="1269">
                  <c:v>230.09677419354838</c:v>
                </c:pt>
                <c:pt idx="1270">
                  <c:v>230.12903225806451</c:v>
                </c:pt>
                <c:pt idx="1271">
                  <c:v>230.41935483870967</c:v>
                </c:pt>
                <c:pt idx="1272">
                  <c:v>230.67741935483872</c:v>
                </c:pt>
                <c:pt idx="1273">
                  <c:v>230.83870967741936</c:v>
                </c:pt>
                <c:pt idx="1274">
                  <c:v>231.12903225806451</c:v>
                </c:pt>
                <c:pt idx="1275">
                  <c:v>230.61290322580646</c:v>
                </c:pt>
                <c:pt idx="1276">
                  <c:v>230.2258064516129</c:v>
                </c:pt>
                <c:pt idx="1277">
                  <c:v>228.93548387096774</c:v>
                </c:pt>
                <c:pt idx="1278">
                  <c:v>228.25806451612902</c:v>
                </c:pt>
                <c:pt idx="1279">
                  <c:v>227.90322580645162</c:v>
                </c:pt>
                <c:pt idx="1280">
                  <c:v>227.35483870967741</c:v>
                </c:pt>
                <c:pt idx="1281">
                  <c:v>225.70967741935485</c:v>
                </c:pt>
                <c:pt idx="1282">
                  <c:v>224.67741935483872</c:v>
                </c:pt>
                <c:pt idx="1283">
                  <c:v>224.38709677419354</c:v>
                </c:pt>
                <c:pt idx="1284">
                  <c:v>223.74193548387098</c:v>
                </c:pt>
                <c:pt idx="1285">
                  <c:v>222.70967741935485</c:v>
                </c:pt>
                <c:pt idx="1286">
                  <c:v>221.74193548387098</c:v>
                </c:pt>
                <c:pt idx="1287">
                  <c:v>220.64516129032259</c:v>
                </c:pt>
                <c:pt idx="1288">
                  <c:v>219.80645161290323</c:v>
                </c:pt>
                <c:pt idx="1289">
                  <c:v>218.80645161290323</c:v>
                </c:pt>
                <c:pt idx="1290">
                  <c:v>218.06451612903226</c:v>
                </c:pt>
                <c:pt idx="1291">
                  <c:v>217</c:v>
                </c:pt>
                <c:pt idx="1292">
                  <c:v>216.48387096774192</c:v>
                </c:pt>
                <c:pt idx="1293">
                  <c:v>215.80645161290323</c:v>
                </c:pt>
                <c:pt idx="1294">
                  <c:v>215.54838709677421</c:v>
                </c:pt>
                <c:pt idx="1295">
                  <c:v>214.64516129032259</c:v>
                </c:pt>
                <c:pt idx="1296">
                  <c:v>213.54838709677421</c:v>
                </c:pt>
                <c:pt idx="1297">
                  <c:v>213.16129032258064</c:v>
                </c:pt>
                <c:pt idx="1298">
                  <c:v>212.12903225806451</c:v>
                </c:pt>
                <c:pt idx="1299">
                  <c:v>211.19354838709677</c:v>
                </c:pt>
                <c:pt idx="1300">
                  <c:v>210.09677419354838</c:v>
                </c:pt>
                <c:pt idx="1301">
                  <c:v>209.51612903225808</c:v>
                </c:pt>
                <c:pt idx="1302">
                  <c:v>208.2258064516129</c:v>
                </c:pt>
                <c:pt idx="1303">
                  <c:v>206.48387096774192</c:v>
                </c:pt>
                <c:pt idx="1304">
                  <c:v>205.25806451612902</c:v>
                </c:pt>
                <c:pt idx="1305">
                  <c:v>204.32258064516128</c:v>
                </c:pt>
                <c:pt idx="1306">
                  <c:v>203.70967741935485</c:v>
                </c:pt>
                <c:pt idx="1307">
                  <c:v>202.48387096774192</c:v>
                </c:pt>
                <c:pt idx="1308">
                  <c:v>202.29032258064515</c:v>
                </c:pt>
                <c:pt idx="1309">
                  <c:v>201.87096774193549</c:v>
                </c:pt>
                <c:pt idx="1310">
                  <c:v>200.87096774193549</c:v>
                </c:pt>
                <c:pt idx="1311">
                  <c:v>200.83870967741936</c:v>
                </c:pt>
                <c:pt idx="1312">
                  <c:v>200.96774193548387</c:v>
                </c:pt>
                <c:pt idx="1313">
                  <c:v>201.96774193548387</c:v>
                </c:pt>
                <c:pt idx="1314">
                  <c:v>201.74193548387098</c:v>
                </c:pt>
                <c:pt idx="1315">
                  <c:v>201.41935483870967</c:v>
                </c:pt>
                <c:pt idx="1316">
                  <c:v>201.54838709677421</c:v>
                </c:pt>
                <c:pt idx="1317">
                  <c:v>201.06451612903226</c:v>
                </c:pt>
                <c:pt idx="1318">
                  <c:v>200.87096774193549</c:v>
                </c:pt>
                <c:pt idx="1319">
                  <c:v>200.93548387096774</c:v>
                </c:pt>
                <c:pt idx="1320">
                  <c:v>200.90322580645162</c:v>
                </c:pt>
                <c:pt idx="1321">
                  <c:v>200.2258064516129</c:v>
                </c:pt>
                <c:pt idx="1322">
                  <c:v>199.93548387096774</c:v>
                </c:pt>
                <c:pt idx="1323">
                  <c:v>200</c:v>
                </c:pt>
                <c:pt idx="1324">
                  <c:v>200.35483870967741</c:v>
                </c:pt>
                <c:pt idx="1325">
                  <c:v>199.67741935483872</c:v>
                </c:pt>
                <c:pt idx="1326">
                  <c:v>199.61290322580646</c:v>
                </c:pt>
                <c:pt idx="1327">
                  <c:v>198.93548387096774</c:v>
                </c:pt>
                <c:pt idx="1328">
                  <c:v>198.90322580645162</c:v>
                </c:pt>
                <c:pt idx="1329">
                  <c:v>198.87096774193549</c:v>
                </c:pt>
                <c:pt idx="1330">
                  <c:v>198.35483870967741</c:v>
                </c:pt>
                <c:pt idx="1331">
                  <c:v>197.80645161290323</c:v>
                </c:pt>
                <c:pt idx="1332">
                  <c:v>197.29032258064515</c:v>
                </c:pt>
                <c:pt idx="1333">
                  <c:v>197.90322580645162</c:v>
                </c:pt>
                <c:pt idx="1334">
                  <c:v>198.67741935483872</c:v>
                </c:pt>
                <c:pt idx="1335">
                  <c:v>198.45161290322579</c:v>
                </c:pt>
                <c:pt idx="1336">
                  <c:v>198.06451612903226</c:v>
                </c:pt>
                <c:pt idx="1337">
                  <c:v>198.38709677419354</c:v>
                </c:pt>
                <c:pt idx="1338">
                  <c:v>198.45161290322579</c:v>
                </c:pt>
                <c:pt idx="1339">
                  <c:v>199.32258064516128</c:v>
                </c:pt>
                <c:pt idx="1340">
                  <c:v>198.96774193548387</c:v>
                </c:pt>
                <c:pt idx="1341">
                  <c:v>199.32258064516128</c:v>
                </c:pt>
                <c:pt idx="1342">
                  <c:v>198.32258064516128</c:v>
                </c:pt>
                <c:pt idx="1343">
                  <c:v>198.58064516129033</c:v>
                </c:pt>
                <c:pt idx="1344">
                  <c:v>198.51612903225808</c:v>
                </c:pt>
                <c:pt idx="1345">
                  <c:v>198.06451612903226</c:v>
                </c:pt>
                <c:pt idx="1346">
                  <c:v>198.03225806451613</c:v>
                </c:pt>
                <c:pt idx="1347">
                  <c:v>197.67741935483872</c:v>
                </c:pt>
                <c:pt idx="1348">
                  <c:v>197.96774193548387</c:v>
                </c:pt>
                <c:pt idx="1349">
                  <c:v>198.25806451612902</c:v>
                </c:pt>
                <c:pt idx="1350">
                  <c:v>198</c:v>
                </c:pt>
                <c:pt idx="1351">
                  <c:v>198.38709677419354</c:v>
                </c:pt>
                <c:pt idx="1352">
                  <c:v>199.19354838709677</c:v>
                </c:pt>
                <c:pt idx="1353">
                  <c:v>199.80645161290323</c:v>
                </c:pt>
                <c:pt idx="1354">
                  <c:v>198.96774193548387</c:v>
                </c:pt>
                <c:pt idx="1355">
                  <c:v>198</c:v>
                </c:pt>
                <c:pt idx="1356">
                  <c:v>198.51612903225808</c:v>
                </c:pt>
                <c:pt idx="1357">
                  <c:v>198</c:v>
                </c:pt>
                <c:pt idx="1358">
                  <c:v>198.29032258064515</c:v>
                </c:pt>
                <c:pt idx="1359">
                  <c:v>198.25806451612902</c:v>
                </c:pt>
                <c:pt idx="1360">
                  <c:v>198.16129032258064</c:v>
                </c:pt>
                <c:pt idx="1361">
                  <c:v>198.48387096774192</c:v>
                </c:pt>
                <c:pt idx="1362">
                  <c:v>198.45161290322579</c:v>
                </c:pt>
                <c:pt idx="1363">
                  <c:v>198.51612903225808</c:v>
                </c:pt>
                <c:pt idx="1364">
                  <c:v>198.06451612903226</c:v>
                </c:pt>
                <c:pt idx="1365">
                  <c:v>197.54838709677421</c:v>
                </c:pt>
                <c:pt idx="1366">
                  <c:v>198.61290322580646</c:v>
                </c:pt>
                <c:pt idx="1367">
                  <c:v>199.16129032258064</c:v>
                </c:pt>
                <c:pt idx="1368">
                  <c:v>199.29032258064515</c:v>
                </c:pt>
                <c:pt idx="1369">
                  <c:v>199.32258064516128</c:v>
                </c:pt>
                <c:pt idx="1370">
                  <c:v>198.41935483870967</c:v>
                </c:pt>
                <c:pt idx="1371">
                  <c:v>199.32258064516128</c:v>
                </c:pt>
                <c:pt idx="1372">
                  <c:v>199.35483870967741</c:v>
                </c:pt>
                <c:pt idx="1373">
                  <c:v>199.38709677419354</c:v>
                </c:pt>
                <c:pt idx="1374">
                  <c:v>199.83870967741936</c:v>
                </c:pt>
                <c:pt idx="1375">
                  <c:v>199.90322580645162</c:v>
                </c:pt>
                <c:pt idx="1376">
                  <c:v>200.25806451612902</c:v>
                </c:pt>
                <c:pt idx="1377">
                  <c:v>199.48387096774192</c:v>
                </c:pt>
                <c:pt idx="1378">
                  <c:v>199.7741935483871</c:v>
                </c:pt>
                <c:pt idx="1379">
                  <c:v>199.38709677419354</c:v>
                </c:pt>
                <c:pt idx="1380">
                  <c:v>199.83870967741936</c:v>
                </c:pt>
                <c:pt idx="1381">
                  <c:v>199.25806451612902</c:v>
                </c:pt>
                <c:pt idx="1382">
                  <c:v>198.2258064516129</c:v>
                </c:pt>
                <c:pt idx="1383">
                  <c:v>197.2258064516129</c:v>
                </c:pt>
                <c:pt idx="1384">
                  <c:v>196.83870967741936</c:v>
                </c:pt>
                <c:pt idx="1385">
                  <c:v>196.80645161290323</c:v>
                </c:pt>
                <c:pt idx="1386">
                  <c:v>197.70967741935485</c:v>
                </c:pt>
                <c:pt idx="1387">
                  <c:v>196.70967741935485</c:v>
                </c:pt>
                <c:pt idx="1388">
                  <c:v>196.83870967741936</c:v>
                </c:pt>
                <c:pt idx="1389">
                  <c:v>197.51612903225808</c:v>
                </c:pt>
                <c:pt idx="1390">
                  <c:v>197.32258064516128</c:v>
                </c:pt>
                <c:pt idx="1391">
                  <c:v>198</c:v>
                </c:pt>
                <c:pt idx="1392">
                  <c:v>197.93548387096774</c:v>
                </c:pt>
                <c:pt idx="1393">
                  <c:v>198.64516129032259</c:v>
                </c:pt>
                <c:pt idx="1394">
                  <c:v>198.58064516129033</c:v>
                </c:pt>
                <c:pt idx="1395">
                  <c:v>198.09677419354838</c:v>
                </c:pt>
                <c:pt idx="1396">
                  <c:v>198.67741935483872</c:v>
                </c:pt>
                <c:pt idx="1397">
                  <c:v>198.54838709677421</c:v>
                </c:pt>
                <c:pt idx="1398">
                  <c:v>197.96774193548387</c:v>
                </c:pt>
                <c:pt idx="1399">
                  <c:v>197.83870967741936</c:v>
                </c:pt>
                <c:pt idx="1400">
                  <c:v>198.06451612903226</c:v>
                </c:pt>
                <c:pt idx="1401">
                  <c:v>198.80645161290323</c:v>
                </c:pt>
                <c:pt idx="1402">
                  <c:v>198.16129032258064</c:v>
                </c:pt>
                <c:pt idx="1403">
                  <c:v>197.80645161290323</c:v>
                </c:pt>
                <c:pt idx="1404">
                  <c:v>197.80645161290323</c:v>
                </c:pt>
                <c:pt idx="1405">
                  <c:v>197.64516129032259</c:v>
                </c:pt>
                <c:pt idx="1406">
                  <c:v>196.67741935483872</c:v>
                </c:pt>
                <c:pt idx="1407">
                  <c:v>196.48387096774192</c:v>
                </c:pt>
                <c:pt idx="1408">
                  <c:v>196.48387096774192</c:v>
                </c:pt>
                <c:pt idx="1409">
                  <c:v>196.32258064516128</c:v>
                </c:pt>
                <c:pt idx="1410">
                  <c:v>197.38709677419354</c:v>
                </c:pt>
                <c:pt idx="1411">
                  <c:v>197.38709677419354</c:v>
                </c:pt>
                <c:pt idx="1412">
                  <c:v>198.29032258064515</c:v>
                </c:pt>
                <c:pt idx="1413">
                  <c:v>198.90322580645162</c:v>
                </c:pt>
                <c:pt idx="1414">
                  <c:v>198.93548387096774</c:v>
                </c:pt>
                <c:pt idx="1415">
                  <c:v>199.45161290322579</c:v>
                </c:pt>
                <c:pt idx="1416">
                  <c:v>200.2258064516129</c:v>
                </c:pt>
                <c:pt idx="1417">
                  <c:v>200.35483870967741</c:v>
                </c:pt>
                <c:pt idx="1418">
                  <c:v>201.29032258064515</c:v>
                </c:pt>
                <c:pt idx="1419">
                  <c:v>201.38709677419354</c:v>
                </c:pt>
                <c:pt idx="1420">
                  <c:v>201.35483870967741</c:v>
                </c:pt>
                <c:pt idx="1421">
                  <c:v>200.64516129032259</c:v>
                </c:pt>
                <c:pt idx="1422">
                  <c:v>200.25806451612902</c:v>
                </c:pt>
                <c:pt idx="1423">
                  <c:v>199.83870967741936</c:v>
                </c:pt>
                <c:pt idx="1424">
                  <c:v>200.12903225806451</c:v>
                </c:pt>
                <c:pt idx="1425">
                  <c:v>199.93548387096774</c:v>
                </c:pt>
                <c:pt idx="1426">
                  <c:v>200.58064516129033</c:v>
                </c:pt>
                <c:pt idx="1427">
                  <c:v>199.93548387096774</c:v>
                </c:pt>
                <c:pt idx="1428">
                  <c:v>199.19354838709677</c:v>
                </c:pt>
                <c:pt idx="1429">
                  <c:v>200</c:v>
                </c:pt>
                <c:pt idx="1430">
                  <c:v>199.41935483870967</c:v>
                </c:pt>
                <c:pt idx="1431">
                  <c:v>199.83870967741936</c:v>
                </c:pt>
                <c:pt idx="1432">
                  <c:v>199.09677419354838</c:v>
                </c:pt>
                <c:pt idx="1433">
                  <c:v>198.7741935483871</c:v>
                </c:pt>
                <c:pt idx="1434">
                  <c:v>199.70967741935485</c:v>
                </c:pt>
                <c:pt idx="1435">
                  <c:v>199.54838709677421</c:v>
                </c:pt>
                <c:pt idx="1436">
                  <c:v>198.87096774193549</c:v>
                </c:pt>
                <c:pt idx="1437">
                  <c:v>198.90322580645162</c:v>
                </c:pt>
                <c:pt idx="1438">
                  <c:v>199.12903225806451</c:v>
                </c:pt>
                <c:pt idx="1439">
                  <c:v>200.09677419354838</c:v>
                </c:pt>
                <c:pt idx="1440">
                  <c:v>200</c:v>
                </c:pt>
                <c:pt idx="1441">
                  <c:v>199.93548387096774</c:v>
                </c:pt>
                <c:pt idx="1442">
                  <c:v>200.06451612903226</c:v>
                </c:pt>
                <c:pt idx="1443">
                  <c:v>199.74193548387098</c:v>
                </c:pt>
                <c:pt idx="1444">
                  <c:v>199</c:v>
                </c:pt>
                <c:pt idx="1445">
                  <c:v>199.32258064516128</c:v>
                </c:pt>
                <c:pt idx="1446">
                  <c:v>198.54838709677421</c:v>
                </c:pt>
                <c:pt idx="1447">
                  <c:v>197.96774193548387</c:v>
                </c:pt>
                <c:pt idx="1448">
                  <c:v>198.19354838709677</c:v>
                </c:pt>
                <c:pt idx="1449">
                  <c:v>197.70967741935485</c:v>
                </c:pt>
                <c:pt idx="1450">
                  <c:v>197.35483870967741</c:v>
                </c:pt>
                <c:pt idx="1451">
                  <c:v>196.96774193548387</c:v>
                </c:pt>
                <c:pt idx="1452">
                  <c:v>197.87096774193549</c:v>
                </c:pt>
                <c:pt idx="1453">
                  <c:v>198.41935483870967</c:v>
                </c:pt>
                <c:pt idx="1454">
                  <c:v>199.19354838709677</c:v>
                </c:pt>
                <c:pt idx="1455">
                  <c:v>198.64516129032259</c:v>
                </c:pt>
                <c:pt idx="1456">
                  <c:v>199.03225806451613</c:v>
                </c:pt>
                <c:pt idx="1457">
                  <c:v>199</c:v>
                </c:pt>
                <c:pt idx="1458">
                  <c:v>199.58064516129033</c:v>
                </c:pt>
                <c:pt idx="1459">
                  <c:v>199.74193548387098</c:v>
                </c:pt>
                <c:pt idx="1460">
                  <c:v>199.03225806451613</c:v>
                </c:pt>
                <c:pt idx="1461">
                  <c:v>199.09677419354838</c:v>
                </c:pt>
                <c:pt idx="1462">
                  <c:v>199.32258064516128</c:v>
                </c:pt>
                <c:pt idx="1463">
                  <c:v>200.25806451612902</c:v>
                </c:pt>
                <c:pt idx="1464">
                  <c:v>200.67741935483872</c:v>
                </c:pt>
                <c:pt idx="1465">
                  <c:v>199.90322580645162</c:v>
                </c:pt>
                <c:pt idx="1466">
                  <c:v>200.7741935483871</c:v>
                </c:pt>
                <c:pt idx="1467">
                  <c:v>201.41935483870967</c:v>
                </c:pt>
                <c:pt idx="1468">
                  <c:v>201.96774193548387</c:v>
                </c:pt>
                <c:pt idx="1469">
                  <c:v>201.93548387096774</c:v>
                </c:pt>
                <c:pt idx="1470">
                  <c:v>202.12903225806451</c:v>
                </c:pt>
                <c:pt idx="1471">
                  <c:v>202.12903225806451</c:v>
                </c:pt>
                <c:pt idx="1472">
                  <c:v>201.74193548387098</c:v>
                </c:pt>
                <c:pt idx="1473">
                  <c:v>201.2258064516129</c:v>
                </c:pt>
                <c:pt idx="1474">
                  <c:v>201.09677419354838</c:v>
                </c:pt>
                <c:pt idx="1475">
                  <c:v>202.25806451612902</c:v>
                </c:pt>
                <c:pt idx="1476">
                  <c:v>202.93548387096774</c:v>
                </c:pt>
                <c:pt idx="1477">
                  <c:v>203.38709677419354</c:v>
                </c:pt>
                <c:pt idx="1478">
                  <c:v>203.48387096774192</c:v>
                </c:pt>
                <c:pt idx="1479">
                  <c:v>202.41935483870967</c:v>
                </c:pt>
                <c:pt idx="1480">
                  <c:v>202.90322580645162</c:v>
                </c:pt>
                <c:pt idx="1481">
                  <c:v>202.83870967741936</c:v>
                </c:pt>
                <c:pt idx="1482">
                  <c:v>203</c:v>
                </c:pt>
                <c:pt idx="1483">
                  <c:v>202.2258064516129</c:v>
                </c:pt>
                <c:pt idx="1484">
                  <c:v>201.70967741935485</c:v>
                </c:pt>
                <c:pt idx="1485">
                  <c:v>201.96774193548387</c:v>
                </c:pt>
                <c:pt idx="1486">
                  <c:v>202.45161290322579</c:v>
                </c:pt>
                <c:pt idx="1487">
                  <c:v>202.96774193548387</c:v>
                </c:pt>
                <c:pt idx="1488">
                  <c:v>202.16129032258064</c:v>
                </c:pt>
                <c:pt idx="1489">
                  <c:v>201.70967741935485</c:v>
                </c:pt>
                <c:pt idx="1490">
                  <c:v>201.90322580645162</c:v>
                </c:pt>
                <c:pt idx="1491">
                  <c:v>201.54838709677421</c:v>
                </c:pt>
                <c:pt idx="1492">
                  <c:v>201.09677419354838</c:v>
                </c:pt>
                <c:pt idx="1493">
                  <c:v>201.2258064516129</c:v>
                </c:pt>
                <c:pt idx="1494">
                  <c:v>200.93548387096774</c:v>
                </c:pt>
                <c:pt idx="1495">
                  <c:v>200.93548387096774</c:v>
                </c:pt>
                <c:pt idx="1496">
                  <c:v>201.48387096774192</c:v>
                </c:pt>
                <c:pt idx="1497">
                  <c:v>201.58064516129033</c:v>
                </c:pt>
                <c:pt idx="1498">
                  <c:v>201.25806451612902</c:v>
                </c:pt>
                <c:pt idx="1499">
                  <c:v>200.54838709677421</c:v>
                </c:pt>
                <c:pt idx="1500">
                  <c:v>200.12903225806451</c:v>
                </c:pt>
                <c:pt idx="1501">
                  <c:v>199.64516129032259</c:v>
                </c:pt>
                <c:pt idx="1502">
                  <c:v>199.74193548387098</c:v>
                </c:pt>
                <c:pt idx="1503">
                  <c:v>199.58064516129033</c:v>
                </c:pt>
                <c:pt idx="1504">
                  <c:v>199.35483870967741</c:v>
                </c:pt>
                <c:pt idx="1505">
                  <c:v>199.09677419354838</c:v>
                </c:pt>
                <c:pt idx="1506">
                  <c:v>198.38709677419354</c:v>
                </c:pt>
                <c:pt idx="1507">
                  <c:v>197.7741935483871</c:v>
                </c:pt>
                <c:pt idx="1508">
                  <c:v>197.19354838709677</c:v>
                </c:pt>
                <c:pt idx="1509">
                  <c:v>197</c:v>
                </c:pt>
                <c:pt idx="1510">
                  <c:v>196.83870967741936</c:v>
                </c:pt>
                <c:pt idx="1511">
                  <c:v>196.64516129032259</c:v>
                </c:pt>
                <c:pt idx="1512">
                  <c:v>197.38709677419354</c:v>
                </c:pt>
                <c:pt idx="1513">
                  <c:v>197.96774193548387</c:v>
                </c:pt>
                <c:pt idx="1514">
                  <c:v>198.2258064516129</c:v>
                </c:pt>
                <c:pt idx="1515">
                  <c:v>198.38709677419354</c:v>
                </c:pt>
                <c:pt idx="1516">
                  <c:v>197.93548387096774</c:v>
                </c:pt>
                <c:pt idx="1517">
                  <c:v>197.41935483870967</c:v>
                </c:pt>
                <c:pt idx="1518">
                  <c:v>197.32258064516128</c:v>
                </c:pt>
                <c:pt idx="1519">
                  <c:v>198.25806451612902</c:v>
                </c:pt>
                <c:pt idx="1520">
                  <c:v>198.12903225806451</c:v>
                </c:pt>
                <c:pt idx="1521">
                  <c:v>197.64516129032259</c:v>
                </c:pt>
                <c:pt idx="1522">
                  <c:v>198.29032258064515</c:v>
                </c:pt>
                <c:pt idx="1523">
                  <c:v>198.7741935483871</c:v>
                </c:pt>
                <c:pt idx="1524">
                  <c:v>198.38709677419354</c:v>
                </c:pt>
                <c:pt idx="1525">
                  <c:v>198.70967741935485</c:v>
                </c:pt>
                <c:pt idx="1526">
                  <c:v>198.41935483870967</c:v>
                </c:pt>
                <c:pt idx="1527">
                  <c:v>198.45161290322579</c:v>
                </c:pt>
                <c:pt idx="1528">
                  <c:v>197.51612903225808</c:v>
                </c:pt>
                <c:pt idx="1529">
                  <c:v>197.90322580645162</c:v>
                </c:pt>
                <c:pt idx="1530">
                  <c:v>197.93548387096774</c:v>
                </c:pt>
                <c:pt idx="1531">
                  <c:v>197.83870967741936</c:v>
                </c:pt>
                <c:pt idx="1532">
                  <c:v>197.19354838709677</c:v>
                </c:pt>
                <c:pt idx="1533">
                  <c:v>197.67741935483872</c:v>
                </c:pt>
                <c:pt idx="1534">
                  <c:v>197.96774193548387</c:v>
                </c:pt>
                <c:pt idx="1535">
                  <c:v>197.96774193548387</c:v>
                </c:pt>
                <c:pt idx="1536">
                  <c:v>198.03225806451613</c:v>
                </c:pt>
                <c:pt idx="1537">
                  <c:v>198.12903225806451</c:v>
                </c:pt>
                <c:pt idx="1538">
                  <c:v>198.38709677419354</c:v>
                </c:pt>
                <c:pt idx="1539">
                  <c:v>198.96774193548387</c:v>
                </c:pt>
                <c:pt idx="1540">
                  <c:v>199.67741935483872</c:v>
                </c:pt>
                <c:pt idx="1541">
                  <c:v>200.7741935483871</c:v>
                </c:pt>
                <c:pt idx="1542">
                  <c:v>200.74193548387098</c:v>
                </c:pt>
                <c:pt idx="1543">
                  <c:v>200.74193548387098</c:v>
                </c:pt>
                <c:pt idx="1544">
                  <c:v>200.12903225806451</c:v>
                </c:pt>
                <c:pt idx="1545">
                  <c:v>200.7741935483871</c:v>
                </c:pt>
                <c:pt idx="1546">
                  <c:v>200.80645161290323</c:v>
                </c:pt>
                <c:pt idx="1547">
                  <c:v>200.70967741935485</c:v>
                </c:pt>
                <c:pt idx="1548">
                  <c:v>200.58064516129033</c:v>
                </c:pt>
                <c:pt idx="1549">
                  <c:v>200.74193548387098</c:v>
                </c:pt>
                <c:pt idx="1550">
                  <c:v>200.80645161290323</c:v>
                </c:pt>
                <c:pt idx="1551">
                  <c:v>201.25806451612902</c:v>
                </c:pt>
                <c:pt idx="1552">
                  <c:v>201.19354838709677</c:v>
                </c:pt>
                <c:pt idx="1553">
                  <c:v>201.25806451612902</c:v>
                </c:pt>
                <c:pt idx="1554">
                  <c:v>201.54838709677421</c:v>
                </c:pt>
                <c:pt idx="1555">
                  <c:v>201.54838709677421</c:v>
                </c:pt>
                <c:pt idx="1556">
                  <c:v>200.80645161290323</c:v>
                </c:pt>
                <c:pt idx="1557">
                  <c:v>201.19354838709677</c:v>
                </c:pt>
                <c:pt idx="1558">
                  <c:v>201.51612903225808</c:v>
                </c:pt>
                <c:pt idx="1559">
                  <c:v>202.54838709677421</c:v>
                </c:pt>
                <c:pt idx="1560">
                  <c:v>202.70967741935485</c:v>
                </c:pt>
                <c:pt idx="1561">
                  <c:v>203.35483870967741</c:v>
                </c:pt>
                <c:pt idx="1562">
                  <c:v>203.61290322580646</c:v>
                </c:pt>
                <c:pt idx="1563">
                  <c:v>204.41935483870967</c:v>
                </c:pt>
                <c:pt idx="1564">
                  <c:v>204.7741935483871</c:v>
                </c:pt>
                <c:pt idx="1565">
                  <c:v>203.93548387096774</c:v>
                </c:pt>
                <c:pt idx="1566">
                  <c:v>204.41935483870967</c:v>
                </c:pt>
                <c:pt idx="1567">
                  <c:v>204.64516129032259</c:v>
                </c:pt>
                <c:pt idx="1568">
                  <c:v>205.19354838709677</c:v>
                </c:pt>
                <c:pt idx="1569">
                  <c:v>205.45161290322579</c:v>
                </c:pt>
                <c:pt idx="1570">
                  <c:v>205.67741935483872</c:v>
                </c:pt>
                <c:pt idx="1571">
                  <c:v>205.74193548387098</c:v>
                </c:pt>
                <c:pt idx="1572">
                  <c:v>205.58064516129033</c:v>
                </c:pt>
                <c:pt idx="1573">
                  <c:v>204.83870967741936</c:v>
                </c:pt>
                <c:pt idx="1574">
                  <c:v>204.93548387096774</c:v>
                </c:pt>
                <c:pt idx="1575">
                  <c:v>204.51612903225808</c:v>
                </c:pt>
                <c:pt idx="1576">
                  <c:v>204.32258064516128</c:v>
                </c:pt>
                <c:pt idx="1577">
                  <c:v>203.83870967741936</c:v>
                </c:pt>
                <c:pt idx="1578">
                  <c:v>203.38709677419354</c:v>
                </c:pt>
                <c:pt idx="1579">
                  <c:v>203.45161290322579</c:v>
                </c:pt>
                <c:pt idx="1580">
                  <c:v>203.61290322580646</c:v>
                </c:pt>
                <c:pt idx="1581">
                  <c:v>203.45161290322579</c:v>
                </c:pt>
                <c:pt idx="1582">
                  <c:v>203.90322580645162</c:v>
                </c:pt>
                <c:pt idx="1583">
                  <c:v>204.19354838709677</c:v>
                </c:pt>
                <c:pt idx="1584">
                  <c:v>204.48387096774192</c:v>
                </c:pt>
                <c:pt idx="1585">
                  <c:v>204.38709677419354</c:v>
                </c:pt>
                <c:pt idx="1586">
                  <c:v>204.06451612903226</c:v>
                </c:pt>
                <c:pt idx="1587">
                  <c:v>204</c:v>
                </c:pt>
                <c:pt idx="1588">
                  <c:v>203.67741935483872</c:v>
                </c:pt>
                <c:pt idx="1589">
                  <c:v>202.54838709677421</c:v>
                </c:pt>
                <c:pt idx="1590">
                  <c:v>202.25806451612902</c:v>
                </c:pt>
                <c:pt idx="1591">
                  <c:v>201.64516129032259</c:v>
                </c:pt>
                <c:pt idx="1592">
                  <c:v>201.93548387096774</c:v>
                </c:pt>
                <c:pt idx="1593">
                  <c:v>201.61290322580646</c:v>
                </c:pt>
                <c:pt idx="1594">
                  <c:v>201.19354838709677</c:v>
                </c:pt>
                <c:pt idx="1595">
                  <c:v>201.25806451612902</c:v>
                </c:pt>
                <c:pt idx="1596">
                  <c:v>202.19354838709677</c:v>
                </c:pt>
                <c:pt idx="1597">
                  <c:v>201.7741935483871</c:v>
                </c:pt>
                <c:pt idx="1598">
                  <c:v>201.25806451612902</c:v>
                </c:pt>
                <c:pt idx="1599">
                  <c:v>201.03225806451613</c:v>
                </c:pt>
                <c:pt idx="1600">
                  <c:v>200.67741935483872</c:v>
                </c:pt>
                <c:pt idx="1601">
                  <c:v>200.32258064516128</c:v>
                </c:pt>
                <c:pt idx="1602">
                  <c:v>199.38709677419354</c:v>
                </c:pt>
                <c:pt idx="1603">
                  <c:v>198.45161290322579</c:v>
                </c:pt>
                <c:pt idx="1604">
                  <c:v>199.67741935483872</c:v>
                </c:pt>
                <c:pt idx="1605">
                  <c:v>198.83870967741936</c:v>
                </c:pt>
                <c:pt idx="1606">
                  <c:v>198.96774193548387</c:v>
                </c:pt>
                <c:pt idx="1607">
                  <c:v>198</c:v>
                </c:pt>
                <c:pt idx="1608">
                  <c:v>198.45161290322579</c:v>
                </c:pt>
                <c:pt idx="1609">
                  <c:v>199.12903225806451</c:v>
                </c:pt>
                <c:pt idx="1610">
                  <c:v>198.87096774193549</c:v>
                </c:pt>
                <c:pt idx="1611">
                  <c:v>198.48387096774192</c:v>
                </c:pt>
                <c:pt idx="1612">
                  <c:v>198.51612903225808</c:v>
                </c:pt>
                <c:pt idx="1613">
                  <c:v>197.29032258064515</c:v>
                </c:pt>
                <c:pt idx="1614">
                  <c:v>197.74193548387098</c:v>
                </c:pt>
                <c:pt idx="1615">
                  <c:v>196.64516129032259</c:v>
                </c:pt>
                <c:pt idx="1616">
                  <c:v>196.48387096774192</c:v>
                </c:pt>
                <c:pt idx="1617">
                  <c:v>196.32258064516128</c:v>
                </c:pt>
                <c:pt idx="1618">
                  <c:v>196.70967741935485</c:v>
                </c:pt>
                <c:pt idx="1619">
                  <c:v>196.54838709677421</c:v>
                </c:pt>
                <c:pt idx="1620">
                  <c:v>197.29032258064515</c:v>
                </c:pt>
                <c:pt idx="1621">
                  <c:v>197</c:v>
                </c:pt>
                <c:pt idx="1622">
                  <c:v>197.90322580645162</c:v>
                </c:pt>
                <c:pt idx="1623">
                  <c:v>197.87096774193549</c:v>
                </c:pt>
                <c:pt idx="1624">
                  <c:v>198.2258064516129</c:v>
                </c:pt>
                <c:pt idx="1625">
                  <c:v>197.74193548387098</c:v>
                </c:pt>
                <c:pt idx="1626">
                  <c:v>196.96774193548387</c:v>
                </c:pt>
                <c:pt idx="1627">
                  <c:v>196.83870967741936</c:v>
                </c:pt>
                <c:pt idx="1628">
                  <c:v>196.7741935483871</c:v>
                </c:pt>
                <c:pt idx="1629">
                  <c:v>197.38709677419354</c:v>
                </c:pt>
                <c:pt idx="1630">
                  <c:v>197.03225806451613</c:v>
                </c:pt>
                <c:pt idx="1631">
                  <c:v>197.48387096774192</c:v>
                </c:pt>
                <c:pt idx="1632">
                  <c:v>197.19354838709677</c:v>
                </c:pt>
                <c:pt idx="1633">
                  <c:v>197.06451612903226</c:v>
                </c:pt>
                <c:pt idx="1634">
                  <c:v>197.67741935483872</c:v>
                </c:pt>
                <c:pt idx="1635">
                  <c:v>197.64516129032259</c:v>
                </c:pt>
                <c:pt idx="1636">
                  <c:v>198.19354838709677</c:v>
                </c:pt>
                <c:pt idx="1637">
                  <c:v>199.06451612903226</c:v>
                </c:pt>
                <c:pt idx="1638">
                  <c:v>199.25806451612902</c:v>
                </c:pt>
                <c:pt idx="1639">
                  <c:v>199.48387096774192</c:v>
                </c:pt>
                <c:pt idx="1640">
                  <c:v>198.90322580645162</c:v>
                </c:pt>
                <c:pt idx="1641">
                  <c:v>199.12903225806451</c:v>
                </c:pt>
                <c:pt idx="1642">
                  <c:v>198.35483870967741</c:v>
                </c:pt>
                <c:pt idx="1643">
                  <c:v>197.67741935483872</c:v>
                </c:pt>
                <c:pt idx="1644">
                  <c:v>198.87096774193549</c:v>
                </c:pt>
                <c:pt idx="1645">
                  <c:v>199.19354838709677</c:v>
                </c:pt>
                <c:pt idx="1646">
                  <c:v>199.25806451612902</c:v>
                </c:pt>
                <c:pt idx="1647">
                  <c:v>199.67741935483872</c:v>
                </c:pt>
                <c:pt idx="1648">
                  <c:v>199.93548387096774</c:v>
                </c:pt>
                <c:pt idx="1649">
                  <c:v>199.7741935483871</c:v>
                </c:pt>
                <c:pt idx="1650">
                  <c:v>199.58064516129033</c:v>
                </c:pt>
                <c:pt idx="1651">
                  <c:v>199.03225806451613</c:v>
                </c:pt>
                <c:pt idx="1652">
                  <c:v>199.74193548387098</c:v>
                </c:pt>
                <c:pt idx="1653">
                  <c:v>199.12903225806451</c:v>
                </c:pt>
                <c:pt idx="1654">
                  <c:v>199.29032258064515</c:v>
                </c:pt>
                <c:pt idx="1655">
                  <c:v>198.87096774193549</c:v>
                </c:pt>
                <c:pt idx="1656">
                  <c:v>199.16129032258064</c:v>
                </c:pt>
                <c:pt idx="1657">
                  <c:v>199.16129032258064</c:v>
                </c:pt>
                <c:pt idx="1658">
                  <c:v>199.25806451612902</c:v>
                </c:pt>
                <c:pt idx="1659">
                  <c:v>199.7741935483871</c:v>
                </c:pt>
                <c:pt idx="1660">
                  <c:v>199.12903225806451</c:v>
                </c:pt>
                <c:pt idx="1661">
                  <c:v>199.7741935483871</c:v>
                </c:pt>
                <c:pt idx="1662">
                  <c:v>198.70967741935485</c:v>
                </c:pt>
                <c:pt idx="1663">
                  <c:v>198.83870967741936</c:v>
                </c:pt>
                <c:pt idx="1664">
                  <c:v>200</c:v>
                </c:pt>
                <c:pt idx="1665">
                  <c:v>199.96774193548387</c:v>
                </c:pt>
                <c:pt idx="1666">
                  <c:v>199.35483870967741</c:v>
                </c:pt>
                <c:pt idx="1667">
                  <c:v>199.90322580645162</c:v>
                </c:pt>
                <c:pt idx="1668">
                  <c:v>198.67741935483872</c:v>
                </c:pt>
                <c:pt idx="1669">
                  <c:v>199.2258064516129</c:v>
                </c:pt>
                <c:pt idx="1670">
                  <c:v>198.16129032258064</c:v>
                </c:pt>
                <c:pt idx="1671">
                  <c:v>198.7741935483871</c:v>
                </c:pt>
                <c:pt idx="1672">
                  <c:v>198.70967741935485</c:v>
                </c:pt>
                <c:pt idx="1673">
                  <c:v>199.25806451612902</c:v>
                </c:pt>
                <c:pt idx="1674">
                  <c:v>199</c:v>
                </c:pt>
                <c:pt idx="1675">
                  <c:v>198.35483870967741</c:v>
                </c:pt>
                <c:pt idx="1676">
                  <c:v>198.09677419354838</c:v>
                </c:pt>
                <c:pt idx="1677">
                  <c:v>198.48387096774192</c:v>
                </c:pt>
                <c:pt idx="1678">
                  <c:v>197.83870967741936</c:v>
                </c:pt>
                <c:pt idx="1679">
                  <c:v>197.87096774193549</c:v>
                </c:pt>
                <c:pt idx="1680">
                  <c:v>197.54838709677421</c:v>
                </c:pt>
                <c:pt idx="1681">
                  <c:v>198.54838709677421</c:v>
                </c:pt>
                <c:pt idx="1682">
                  <c:v>199.09677419354838</c:v>
                </c:pt>
                <c:pt idx="1683">
                  <c:v>198.38709677419354</c:v>
                </c:pt>
                <c:pt idx="1684">
                  <c:v>197.87096774193549</c:v>
                </c:pt>
                <c:pt idx="1685">
                  <c:v>197.80645161290323</c:v>
                </c:pt>
                <c:pt idx="1686">
                  <c:v>198.48387096774192</c:v>
                </c:pt>
                <c:pt idx="1687">
                  <c:v>198.90322580645162</c:v>
                </c:pt>
                <c:pt idx="1688">
                  <c:v>198.67741935483872</c:v>
                </c:pt>
                <c:pt idx="1689">
                  <c:v>197.80645161290323</c:v>
                </c:pt>
                <c:pt idx="1690">
                  <c:v>198.29032258064515</c:v>
                </c:pt>
                <c:pt idx="1691">
                  <c:v>199.32258064516128</c:v>
                </c:pt>
                <c:pt idx="1692">
                  <c:v>198.67741935483872</c:v>
                </c:pt>
                <c:pt idx="1693">
                  <c:v>199.7741935483871</c:v>
                </c:pt>
                <c:pt idx="1694">
                  <c:v>199.41935483870967</c:v>
                </c:pt>
                <c:pt idx="1695">
                  <c:v>198.83870967741936</c:v>
                </c:pt>
                <c:pt idx="1696">
                  <c:v>199.16129032258064</c:v>
                </c:pt>
                <c:pt idx="1697">
                  <c:v>198.51612903225808</c:v>
                </c:pt>
                <c:pt idx="1698">
                  <c:v>198.48387096774192</c:v>
                </c:pt>
                <c:pt idx="1699">
                  <c:v>200.03225806451613</c:v>
                </c:pt>
                <c:pt idx="1700">
                  <c:v>200.83870967741936</c:v>
                </c:pt>
                <c:pt idx="1701">
                  <c:v>202.16129032258064</c:v>
                </c:pt>
                <c:pt idx="1702">
                  <c:v>203.03225806451613</c:v>
                </c:pt>
                <c:pt idx="1703">
                  <c:v>204.03225806451613</c:v>
                </c:pt>
                <c:pt idx="1704">
                  <c:v>205.2258064516129</c:v>
                </c:pt>
                <c:pt idx="1705">
                  <c:v>207.12903225806451</c:v>
                </c:pt>
                <c:pt idx="1706">
                  <c:v>207.93548387096774</c:v>
                </c:pt>
                <c:pt idx="1707">
                  <c:v>208.7741935483871</c:v>
                </c:pt>
                <c:pt idx="1708">
                  <c:v>209.70967741935485</c:v>
                </c:pt>
                <c:pt idx="1709">
                  <c:v>211.03225806451613</c:v>
                </c:pt>
                <c:pt idx="1710">
                  <c:v>212.16129032258064</c:v>
                </c:pt>
                <c:pt idx="1711">
                  <c:v>213.64516129032259</c:v>
                </c:pt>
                <c:pt idx="1712">
                  <c:v>213.96774193548387</c:v>
                </c:pt>
                <c:pt idx="1713">
                  <c:v>214.96774193548387</c:v>
                </c:pt>
                <c:pt idx="1714">
                  <c:v>215.74193548387098</c:v>
                </c:pt>
                <c:pt idx="1715">
                  <c:v>217.45161290322579</c:v>
                </c:pt>
                <c:pt idx="1716">
                  <c:v>217.7741935483871</c:v>
                </c:pt>
                <c:pt idx="1717">
                  <c:v>218.32258064516128</c:v>
                </c:pt>
                <c:pt idx="1718">
                  <c:v>219.51612903225808</c:v>
                </c:pt>
                <c:pt idx="1719">
                  <c:v>221.16129032258064</c:v>
                </c:pt>
                <c:pt idx="1720">
                  <c:v>222.51612903225808</c:v>
                </c:pt>
                <c:pt idx="1721">
                  <c:v>222.74193548387098</c:v>
                </c:pt>
                <c:pt idx="1722">
                  <c:v>223.54838709677421</c:v>
                </c:pt>
                <c:pt idx="1723">
                  <c:v>224.51612903225808</c:v>
                </c:pt>
                <c:pt idx="1724">
                  <c:v>224.61290322580646</c:v>
                </c:pt>
                <c:pt idx="1725">
                  <c:v>225.7741935483871</c:v>
                </c:pt>
                <c:pt idx="1726">
                  <c:v>226.80645161290323</c:v>
                </c:pt>
                <c:pt idx="1727">
                  <c:v>227.16129032258064</c:v>
                </c:pt>
                <c:pt idx="1728">
                  <c:v>228.67741935483872</c:v>
                </c:pt>
                <c:pt idx="1729">
                  <c:v>228.83870967741936</c:v>
                </c:pt>
                <c:pt idx="1730">
                  <c:v>228.61290322580646</c:v>
                </c:pt>
                <c:pt idx="1731">
                  <c:v>228.54838709677421</c:v>
                </c:pt>
                <c:pt idx="1732">
                  <c:v>228.96774193548387</c:v>
                </c:pt>
                <c:pt idx="1733">
                  <c:v>228.83870967741936</c:v>
                </c:pt>
                <c:pt idx="1734">
                  <c:v>229.19354838709677</c:v>
                </c:pt>
                <c:pt idx="1735">
                  <c:v>228.93548387096774</c:v>
                </c:pt>
                <c:pt idx="1736">
                  <c:v>228.48387096774192</c:v>
                </c:pt>
                <c:pt idx="1737">
                  <c:v>228.58064516129033</c:v>
                </c:pt>
                <c:pt idx="1738">
                  <c:v>228.09677419354838</c:v>
                </c:pt>
                <c:pt idx="1739">
                  <c:v>228.2258064516129</c:v>
                </c:pt>
                <c:pt idx="1740">
                  <c:v>228.03225806451613</c:v>
                </c:pt>
                <c:pt idx="1741">
                  <c:v>227.90322580645162</c:v>
                </c:pt>
                <c:pt idx="1742">
                  <c:v>227.90322580645162</c:v>
                </c:pt>
                <c:pt idx="1743">
                  <c:v>226.58064516129033</c:v>
                </c:pt>
                <c:pt idx="1744">
                  <c:v>224.93548387096774</c:v>
                </c:pt>
                <c:pt idx="1745">
                  <c:v>224.64516129032259</c:v>
                </c:pt>
                <c:pt idx="1746">
                  <c:v>222.87096774193549</c:v>
                </c:pt>
                <c:pt idx="1747">
                  <c:v>222.32258064516128</c:v>
                </c:pt>
                <c:pt idx="1748">
                  <c:v>221</c:v>
                </c:pt>
                <c:pt idx="1749">
                  <c:v>220.35483870967741</c:v>
                </c:pt>
                <c:pt idx="1750">
                  <c:v>219.06451612903226</c:v>
                </c:pt>
                <c:pt idx="1751">
                  <c:v>218.29032258064515</c:v>
                </c:pt>
                <c:pt idx="1752">
                  <c:v>217.48387096774192</c:v>
                </c:pt>
                <c:pt idx="1753">
                  <c:v>215.67741935483872</c:v>
                </c:pt>
                <c:pt idx="1754">
                  <c:v>214.64516129032259</c:v>
                </c:pt>
                <c:pt idx="1755">
                  <c:v>213.83870967741936</c:v>
                </c:pt>
                <c:pt idx="1756">
                  <c:v>212.58064516129033</c:v>
                </c:pt>
                <c:pt idx="1757">
                  <c:v>212.03225806451613</c:v>
                </c:pt>
                <c:pt idx="1758">
                  <c:v>211.03225806451613</c:v>
                </c:pt>
                <c:pt idx="1759">
                  <c:v>210.35483870967741</c:v>
                </c:pt>
                <c:pt idx="1760">
                  <c:v>209.7741935483871</c:v>
                </c:pt>
                <c:pt idx="1761">
                  <c:v>208.54838709677421</c:v>
                </c:pt>
                <c:pt idx="1762">
                  <c:v>208</c:v>
                </c:pt>
                <c:pt idx="1763">
                  <c:v>207.16129032258064</c:v>
                </c:pt>
                <c:pt idx="1764">
                  <c:v>206.09677419354838</c:v>
                </c:pt>
                <c:pt idx="1765">
                  <c:v>205.58064516129033</c:v>
                </c:pt>
                <c:pt idx="1766">
                  <c:v>204.80645161290323</c:v>
                </c:pt>
                <c:pt idx="1767">
                  <c:v>204.38709677419354</c:v>
                </c:pt>
                <c:pt idx="1768">
                  <c:v>202.96774193548387</c:v>
                </c:pt>
                <c:pt idx="1769">
                  <c:v>202.38709677419354</c:v>
                </c:pt>
                <c:pt idx="1770">
                  <c:v>201.19354838709677</c:v>
                </c:pt>
                <c:pt idx="1771">
                  <c:v>199.7741935483871</c:v>
                </c:pt>
                <c:pt idx="1772">
                  <c:v>198.45161290322579</c:v>
                </c:pt>
                <c:pt idx="1773">
                  <c:v>197.61290322580646</c:v>
                </c:pt>
                <c:pt idx="1774">
                  <c:v>198.32258064516128</c:v>
                </c:pt>
                <c:pt idx="1775">
                  <c:v>198.61290322580646</c:v>
                </c:pt>
                <c:pt idx="1776">
                  <c:v>198.87096774193549</c:v>
                </c:pt>
                <c:pt idx="1777">
                  <c:v>199.96774193548387</c:v>
                </c:pt>
                <c:pt idx="1778">
                  <c:v>200.03225806451613</c:v>
                </c:pt>
                <c:pt idx="1779">
                  <c:v>199.96774193548387</c:v>
                </c:pt>
                <c:pt idx="1780">
                  <c:v>199.61290322580646</c:v>
                </c:pt>
                <c:pt idx="1781">
                  <c:v>199.58064516129033</c:v>
                </c:pt>
                <c:pt idx="1782">
                  <c:v>199.83870967741936</c:v>
                </c:pt>
                <c:pt idx="1783">
                  <c:v>200.32258064516128</c:v>
                </c:pt>
                <c:pt idx="1784">
                  <c:v>200.2258064516129</c:v>
                </c:pt>
                <c:pt idx="1785">
                  <c:v>200.64516129032259</c:v>
                </c:pt>
                <c:pt idx="1786">
                  <c:v>201.35483870967741</c:v>
                </c:pt>
                <c:pt idx="1787">
                  <c:v>201.80645161290323</c:v>
                </c:pt>
                <c:pt idx="1788">
                  <c:v>200.80645161290323</c:v>
                </c:pt>
                <c:pt idx="1789">
                  <c:v>201.58064516129033</c:v>
                </c:pt>
                <c:pt idx="1790">
                  <c:v>200.74193548387098</c:v>
                </c:pt>
                <c:pt idx="1791">
                  <c:v>200.03225806451613</c:v>
                </c:pt>
                <c:pt idx="1792">
                  <c:v>200.83870967741936</c:v>
                </c:pt>
                <c:pt idx="1793">
                  <c:v>200.29032258064515</c:v>
                </c:pt>
                <c:pt idx="1794">
                  <c:v>200</c:v>
                </c:pt>
                <c:pt idx="1795">
                  <c:v>199.58064516129033</c:v>
                </c:pt>
                <c:pt idx="1796">
                  <c:v>199.67741935483872</c:v>
                </c:pt>
                <c:pt idx="1797">
                  <c:v>199.74193548387098</c:v>
                </c:pt>
                <c:pt idx="1798">
                  <c:v>199.67741935483872</c:v>
                </c:pt>
                <c:pt idx="1799">
                  <c:v>199.7741935483871</c:v>
                </c:pt>
                <c:pt idx="1800">
                  <c:v>199.83870967741936</c:v>
                </c:pt>
                <c:pt idx="1801">
                  <c:v>200.32258064516128</c:v>
                </c:pt>
                <c:pt idx="1802">
                  <c:v>200.54838709677421</c:v>
                </c:pt>
                <c:pt idx="1803">
                  <c:v>200.41935483870967</c:v>
                </c:pt>
                <c:pt idx="1804">
                  <c:v>200.09677419354838</c:v>
                </c:pt>
                <c:pt idx="1805">
                  <c:v>199.93548387096774</c:v>
                </c:pt>
                <c:pt idx="1806">
                  <c:v>200.09677419354838</c:v>
                </c:pt>
                <c:pt idx="1807">
                  <c:v>199.25806451612902</c:v>
                </c:pt>
                <c:pt idx="1808">
                  <c:v>198.25806451612902</c:v>
                </c:pt>
                <c:pt idx="1809">
                  <c:v>197.80645161290323</c:v>
                </c:pt>
                <c:pt idx="1810">
                  <c:v>197.83870967741936</c:v>
                </c:pt>
                <c:pt idx="1811">
                  <c:v>196.93548387096774</c:v>
                </c:pt>
                <c:pt idx="1812">
                  <c:v>197.09677419354838</c:v>
                </c:pt>
                <c:pt idx="1813">
                  <c:v>197.2258064516129</c:v>
                </c:pt>
                <c:pt idx="1814">
                  <c:v>197.35483870967741</c:v>
                </c:pt>
                <c:pt idx="1815">
                  <c:v>198.51612903225808</c:v>
                </c:pt>
                <c:pt idx="1816">
                  <c:v>198.32258064516128</c:v>
                </c:pt>
                <c:pt idx="1817">
                  <c:v>198</c:v>
                </c:pt>
                <c:pt idx="1818">
                  <c:v>197.58064516129033</c:v>
                </c:pt>
                <c:pt idx="1819">
                  <c:v>198.32258064516128</c:v>
                </c:pt>
                <c:pt idx="1820">
                  <c:v>197.38709677419354</c:v>
                </c:pt>
                <c:pt idx="1821">
                  <c:v>198.35483870967741</c:v>
                </c:pt>
                <c:pt idx="1822">
                  <c:v>199.51612903225808</c:v>
                </c:pt>
                <c:pt idx="1823">
                  <c:v>198.87096774193549</c:v>
                </c:pt>
                <c:pt idx="1824">
                  <c:v>199.51612903225808</c:v>
                </c:pt>
                <c:pt idx="1825">
                  <c:v>199</c:v>
                </c:pt>
                <c:pt idx="1826">
                  <c:v>199.74193548387098</c:v>
                </c:pt>
                <c:pt idx="1827">
                  <c:v>199.2258064516129</c:v>
                </c:pt>
                <c:pt idx="1828">
                  <c:v>198.48387096774192</c:v>
                </c:pt>
                <c:pt idx="1829">
                  <c:v>197.74193548387098</c:v>
                </c:pt>
                <c:pt idx="1830">
                  <c:v>198.51612903225808</c:v>
                </c:pt>
                <c:pt idx="1831">
                  <c:v>198</c:v>
                </c:pt>
                <c:pt idx="1832">
                  <c:v>197.48387096774192</c:v>
                </c:pt>
                <c:pt idx="1833">
                  <c:v>197.32258064516128</c:v>
                </c:pt>
                <c:pt idx="1834">
                  <c:v>197.38709677419354</c:v>
                </c:pt>
                <c:pt idx="1835">
                  <c:v>197.80645161290323</c:v>
                </c:pt>
                <c:pt idx="1836">
                  <c:v>197.51612903225808</c:v>
                </c:pt>
                <c:pt idx="1837">
                  <c:v>197.80645161290323</c:v>
                </c:pt>
                <c:pt idx="1838">
                  <c:v>198.48387096774192</c:v>
                </c:pt>
                <c:pt idx="1839">
                  <c:v>199.38709677419354</c:v>
                </c:pt>
                <c:pt idx="1840">
                  <c:v>199</c:v>
                </c:pt>
                <c:pt idx="1841">
                  <c:v>199.80645161290323</c:v>
                </c:pt>
                <c:pt idx="1842">
                  <c:v>200.74193548387098</c:v>
                </c:pt>
                <c:pt idx="1843">
                  <c:v>200.83870967741936</c:v>
                </c:pt>
                <c:pt idx="1844">
                  <c:v>200.67741935483872</c:v>
                </c:pt>
                <c:pt idx="1845">
                  <c:v>199.51612903225808</c:v>
                </c:pt>
                <c:pt idx="1846">
                  <c:v>199.32258064516128</c:v>
                </c:pt>
                <c:pt idx="1847">
                  <c:v>199.74193548387098</c:v>
                </c:pt>
                <c:pt idx="1848">
                  <c:v>199.29032258064515</c:v>
                </c:pt>
                <c:pt idx="1849">
                  <c:v>200.38709677419354</c:v>
                </c:pt>
                <c:pt idx="1850">
                  <c:v>200.74193548387098</c:v>
                </c:pt>
                <c:pt idx="1851">
                  <c:v>201.87096774193549</c:v>
                </c:pt>
                <c:pt idx="1852">
                  <c:v>201.74193548387098</c:v>
                </c:pt>
                <c:pt idx="1853">
                  <c:v>200.87096774193549</c:v>
                </c:pt>
                <c:pt idx="1854">
                  <c:v>201.7741935483871</c:v>
                </c:pt>
                <c:pt idx="1855">
                  <c:v>201.54838709677421</c:v>
                </c:pt>
                <c:pt idx="1856">
                  <c:v>201.61290322580646</c:v>
                </c:pt>
                <c:pt idx="1857">
                  <c:v>201.90322580645162</c:v>
                </c:pt>
                <c:pt idx="1858">
                  <c:v>201.32258064516128</c:v>
                </c:pt>
                <c:pt idx="1859">
                  <c:v>202.48387096774192</c:v>
                </c:pt>
                <c:pt idx="1860">
                  <c:v>202.80645161290323</c:v>
                </c:pt>
                <c:pt idx="1861">
                  <c:v>201.83870967741936</c:v>
                </c:pt>
                <c:pt idx="1862">
                  <c:v>202.06451612903226</c:v>
                </c:pt>
                <c:pt idx="1863">
                  <c:v>202.61290322580646</c:v>
                </c:pt>
                <c:pt idx="1864">
                  <c:v>202.48387096774192</c:v>
                </c:pt>
                <c:pt idx="1865">
                  <c:v>203.19354838709677</c:v>
                </c:pt>
                <c:pt idx="1866">
                  <c:v>203.25806451612902</c:v>
                </c:pt>
                <c:pt idx="1867">
                  <c:v>203.35483870967741</c:v>
                </c:pt>
                <c:pt idx="1868">
                  <c:v>202.90322580645162</c:v>
                </c:pt>
                <c:pt idx="1869">
                  <c:v>202.87096774193549</c:v>
                </c:pt>
                <c:pt idx="1870">
                  <c:v>202.87096774193549</c:v>
                </c:pt>
                <c:pt idx="1871">
                  <c:v>203.54838709677421</c:v>
                </c:pt>
                <c:pt idx="1872">
                  <c:v>202.83870967741936</c:v>
                </c:pt>
                <c:pt idx="1873">
                  <c:v>202.35483870967741</c:v>
                </c:pt>
                <c:pt idx="1874">
                  <c:v>201.90322580645162</c:v>
                </c:pt>
                <c:pt idx="1875">
                  <c:v>201.35483870967741</c:v>
                </c:pt>
                <c:pt idx="1876">
                  <c:v>201.74193548387098</c:v>
                </c:pt>
                <c:pt idx="1877">
                  <c:v>201.29032258064515</c:v>
                </c:pt>
                <c:pt idx="1878">
                  <c:v>200.58064516129033</c:v>
                </c:pt>
                <c:pt idx="1879">
                  <c:v>200.93548387096774</c:v>
                </c:pt>
                <c:pt idx="1880">
                  <c:v>199.7741935483871</c:v>
                </c:pt>
                <c:pt idx="1881">
                  <c:v>199.48387096774192</c:v>
                </c:pt>
                <c:pt idx="1882">
                  <c:v>199.2258064516129</c:v>
                </c:pt>
                <c:pt idx="1883">
                  <c:v>199.54838709677421</c:v>
                </c:pt>
                <c:pt idx="1884">
                  <c:v>199.19354838709677</c:v>
                </c:pt>
                <c:pt idx="1885">
                  <c:v>199.2258064516129</c:v>
                </c:pt>
                <c:pt idx="1886">
                  <c:v>199.09677419354838</c:v>
                </c:pt>
                <c:pt idx="1887">
                  <c:v>200.58064516129033</c:v>
                </c:pt>
                <c:pt idx="1888">
                  <c:v>200.93548387096774</c:v>
                </c:pt>
                <c:pt idx="1889">
                  <c:v>202.29032258064515</c:v>
                </c:pt>
                <c:pt idx="1890">
                  <c:v>202.90322580645162</c:v>
                </c:pt>
                <c:pt idx="1891">
                  <c:v>203.67741935483872</c:v>
                </c:pt>
                <c:pt idx="1892">
                  <c:v>205.61290322580646</c:v>
                </c:pt>
                <c:pt idx="1893">
                  <c:v>206.58064516129033</c:v>
                </c:pt>
                <c:pt idx="1894">
                  <c:v>207.25806451612902</c:v>
                </c:pt>
                <c:pt idx="1895">
                  <c:v>208.7741935483871</c:v>
                </c:pt>
                <c:pt idx="1896">
                  <c:v>209.51612903225808</c:v>
                </c:pt>
                <c:pt idx="1897">
                  <c:v>210.19354838709677</c:v>
                </c:pt>
                <c:pt idx="1898">
                  <c:v>211.51612903225808</c:v>
                </c:pt>
                <c:pt idx="1899">
                  <c:v>212.48387096774192</c:v>
                </c:pt>
                <c:pt idx="1900">
                  <c:v>213.12903225806451</c:v>
                </c:pt>
                <c:pt idx="1901">
                  <c:v>213.7741935483871</c:v>
                </c:pt>
                <c:pt idx="1902">
                  <c:v>214.70967741935485</c:v>
                </c:pt>
                <c:pt idx="1903">
                  <c:v>216.41935483870967</c:v>
                </c:pt>
                <c:pt idx="1904">
                  <c:v>217.90322580645162</c:v>
                </c:pt>
                <c:pt idx="1905">
                  <c:v>219.29032258064515</c:v>
                </c:pt>
                <c:pt idx="1906">
                  <c:v>220.54838709677421</c:v>
                </c:pt>
                <c:pt idx="1907">
                  <c:v>221.45161290322579</c:v>
                </c:pt>
                <c:pt idx="1908">
                  <c:v>222.45161290322579</c:v>
                </c:pt>
                <c:pt idx="1909">
                  <c:v>223.41935483870967</c:v>
                </c:pt>
                <c:pt idx="1910">
                  <c:v>224.29032258064515</c:v>
                </c:pt>
                <c:pt idx="1911">
                  <c:v>225.87096774193549</c:v>
                </c:pt>
                <c:pt idx="1912">
                  <c:v>226.29032258064515</c:v>
                </c:pt>
                <c:pt idx="1913">
                  <c:v>227.03225806451613</c:v>
                </c:pt>
                <c:pt idx="1914">
                  <c:v>227.70967741935485</c:v>
                </c:pt>
                <c:pt idx="1915">
                  <c:v>229.58064516129033</c:v>
                </c:pt>
                <c:pt idx="1916">
                  <c:v>230.09677419354838</c:v>
                </c:pt>
                <c:pt idx="1917">
                  <c:v>230.67741935483872</c:v>
                </c:pt>
                <c:pt idx="1918">
                  <c:v>230.83870967741936</c:v>
                </c:pt>
                <c:pt idx="1919">
                  <c:v>231.2258064516129</c:v>
                </c:pt>
                <c:pt idx="1920">
                  <c:v>231.38709677419354</c:v>
                </c:pt>
                <c:pt idx="1921">
                  <c:v>231.03225806451613</c:v>
                </c:pt>
                <c:pt idx="1922">
                  <c:v>231.29032258064515</c:v>
                </c:pt>
                <c:pt idx="1923">
                  <c:v>231</c:v>
                </c:pt>
                <c:pt idx="1924">
                  <c:v>231.35483870967741</c:v>
                </c:pt>
                <c:pt idx="1925">
                  <c:v>231.74193548387098</c:v>
                </c:pt>
                <c:pt idx="1926">
                  <c:v>231.87096774193549</c:v>
                </c:pt>
                <c:pt idx="1927">
                  <c:v>231.83870967741936</c:v>
                </c:pt>
                <c:pt idx="1928">
                  <c:v>231.58064516129033</c:v>
                </c:pt>
                <c:pt idx="1929">
                  <c:v>231.64516129032259</c:v>
                </c:pt>
                <c:pt idx="1930">
                  <c:v>232.09677419354838</c:v>
                </c:pt>
                <c:pt idx="1931">
                  <c:v>231.64516129032259</c:v>
                </c:pt>
                <c:pt idx="1932">
                  <c:v>230.19354838709677</c:v>
                </c:pt>
                <c:pt idx="1933">
                  <c:v>229.67741935483872</c:v>
                </c:pt>
                <c:pt idx="1934">
                  <c:v>228.03225806451613</c:v>
                </c:pt>
                <c:pt idx="1935">
                  <c:v>226.32258064516128</c:v>
                </c:pt>
                <c:pt idx="1936">
                  <c:v>225.74193548387098</c:v>
                </c:pt>
                <c:pt idx="1937">
                  <c:v>224.35483870967741</c:v>
                </c:pt>
                <c:pt idx="1938">
                  <c:v>223.45161290322579</c:v>
                </c:pt>
                <c:pt idx="1939">
                  <c:v>222.29032258064515</c:v>
                </c:pt>
                <c:pt idx="1940">
                  <c:v>221.41935483870967</c:v>
                </c:pt>
                <c:pt idx="1941">
                  <c:v>219.87096774193549</c:v>
                </c:pt>
                <c:pt idx="1942">
                  <c:v>218.90322580645162</c:v>
                </c:pt>
                <c:pt idx="1943">
                  <c:v>218.12903225806451</c:v>
                </c:pt>
                <c:pt idx="1944">
                  <c:v>216.93548387096774</c:v>
                </c:pt>
                <c:pt idx="1945">
                  <c:v>215.61290322580646</c:v>
                </c:pt>
                <c:pt idx="1946">
                  <c:v>214.54838709677421</c:v>
                </c:pt>
                <c:pt idx="1947">
                  <c:v>213</c:v>
                </c:pt>
                <c:pt idx="1948">
                  <c:v>211.93548387096774</c:v>
                </c:pt>
                <c:pt idx="1949">
                  <c:v>210.93548387096774</c:v>
                </c:pt>
                <c:pt idx="1950">
                  <c:v>209.80645161290323</c:v>
                </c:pt>
                <c:pt idx="1951">
                  <c:v>208.90322580645162</c:v>
                </c:pt>
                <c:pt idx="1952">
                  <c:v>208.64516129032259</c:v>
                </c:pt>
                <c:pt idx="1953">
                  <c:v>207.16129032258064</c:v>
                </c:pt>
                <c:pt idx="1954">
                  <c:v>205.80645161290323</c:v>
                </c:pt>
                <c:pt idx="1955">
                  <c:v>205.19354838709677</c:v>
                </c:pt>
                <c:pt idx="1956">
                  <c:v>203.32258064516128</c:v>
                </c:pt>
                <c:pt idx="1957">
                  <c:v>202.03225806451613</c:v>
                </c:pt>
                <c:pt idx="1958">
                  <c:v>200.7741935483871</c:v>
                </c:pt>
                <c:pt idx="1959">
                  <c:v>199.54838709677421</c:v>
                </c:pt>
                <c:pt idx="1960">
                  <c:v>197.74193548387098</c:v>
                </c:pt>
                <c:pt idx="1961">
                  <c:v>196.29032258064515</c:v>
                </c:pt>
                <c:pt idx="1962">
                  <c:v>196.09677419354838</c:v>
                </c:pt>
                <c:pt idx="1963">
                  <c:v>196</c:v>
                </c:pt>
                <c:pt idx="1964">
                  <c:v>196</c:v>
                </c:pt>
                <c:pt idx="1965">
                  <c:v>196.96774193548387</c:v>
                </c:pt>
                <c:pt idx="1966">
                  <c:v>197.2258064516129</c:v>
                </c:pt>
                <c:pt idx="1967">
                  <c:v>197.32258064516128</c:v>
                </c:pt>
                <c:pt idx="1968">
                  <c:v>197.64516129032259</c:v>
                </c:pt>
                <c:pt idx="1969">
                  <c:v>198</c:v>
                </c:pt>
                <c:pt idx="1970">
                  <c:v>198.74193548387098</c:v>
                </c:pt>
                <c:pt idx="1971">
                  <c:v>198.90322580645162</c:v>
                </c:pt>
                <c:pt idx="1972">
                  <c:v>200</c:v>
                </c:pt>
                <c:pt idx="1973">
                  <c:v>200.41935483870967</c:v>
                </c:pt>
                <c:pt idx="1974">
                  <c:v>201.09677419354838</c:v>
                </c:pt>
                <c:pt idx="1975">
                  <c:v>201.32258064516128</c:v>
                </c:pt>
                <c:pt idx="1976">
                  <c:v>201.61290322580646</c:v>
                </c:pt>
                <c:pt idx="1977">
                  <c:v>200.83870967741936</c:v>
                </c:pt>
                <c:pt idx="1978">
                  <c:v>201.03225806451613</c:v>
                </c:pt>
                <c:pt idx="1979">
                  <c:v>201.09677419354838</c:v>
                </c:pt>
                <c:pt idx="1980">
                  <c:v>200.29032258064515</c:v>
                </c:pt>
                <c:pt idx="1981">
                  <c:v>200.38709677419354</c:v>
                </c:pt>
                <c:pt idx="1982">
                  <c:v>199.7741935483871</c:v>
                </c:pt>
                <c:pt idx="1983">
                  <c:v>199.19354838709677</c:v>
                </c:pt>
                <c:pt idx="1984">
                  <c:v>200.2258064516129</c:v>
                </c:pt>
                <c:pt idx="1985">
                  <c:v>200.06451612903226</c:v>
                </c:pt>
                <c:pt idx="1986">
                  <c:v>199.74193548387098</c:v>
                </c:pt>
                <c:pt idx="1987">
                  <c:v>200.70967741935485</c:v>
                </c:pt>
                <c:pt idx="1988">
                  <c:v>200.70967741935485</c:v>
                </c:pt>
                <c:pt idx="1989">
                  <c:v>201.29032258064515</c:v>
                </c:pt>
                <c:pt idx="1990">
                  <c:v>201.80645161290323</c:v>
                </c:pt>
                <c:pt idx="1991">
                  <c:v>202.74193548387098</c:v>
                </c:pt>
                <c:pt idx="1992">
                  <c:v>203.2258064516129</c:v>
                </c:pt>
                <c:pt idx="1993">
                  <c:v>202.2258064516129</c:v>
                </c:pt>
                <c:pt idx="1994">
                  <c:v>202.35483870967741</c:v>
                </c:pt>
                <c:pt idx="1995">
                  <c:v>201.87096774193549</c:v>
                </c:pt>
                <c:pt idx="1996">
                  <c:v>201.93548387096774</c:v>
                </c:pt>
                <c:pt idx="1997">
                  <c:v>202.58064516129033</c:v>
                </c:pt>
                <c:pt idx="1998">
                  <c:v>202.7741935483871</c:v>
                </c:pt>
                <c:pt idx="1999">
                  <c:v>202.45161290322579</c:v>
                </c:pt>
                <c:pt idx="2000">
                  <c:v>202.45161290322579</c:v>
                </c:pt>
                <c:pt idx="2001">
                  <c:v>202.19354838709677</c:v>
                </c:pt>
                <c:pt idx="2002">
                  <c:v>202.83870967741936</c:v>
                </c:pt>
                <c:pt idx="2003">
                  <c:v>202.25806451612902</c:v>
                </c:pt>
                <c:pt idx="2004">
                  <c:v>202.32258064516128</c:v>
                </c:pt>
                <c:pt idx="2005">
                  <c:v>201.90322580645162</c:v>
                </c:pt>
                <c:pt idx="2006">
                  <c:v>201.7741935483871</c:v>
                </c:pt>
                <c:pt idx="2007">
                  <c:v>201.67741935483872</c:v>
                </c:pt>
                <c:pt idx="2008">
                  <c:v>202.03225806451613</c:v>
                </c:pt>
                <c:pt idx="2009">
                  <c:v>201.93548387096774</c:v>
                </c:pt>
                <c:pt idx="2010">
                  <c:v>201.93548387096774</c:v>
                </c:pt>
                <c:pt idx="2011">
                  <c:v>202.70967741935485</c:v>
                </c:pt>
                <c:pt idx="2012">
                  <c:v>202.80645161290323</c:v>
                </c:pt>
                <c:pt idx="2013">
                  <c:v>203</c:v>
                </c:pt>
                <c:pt idx="2014">
                  <c:v>203.2258064516129</c:v>
                </c:pt>
                <c:pt idx="2015">
                  <c:v>202.32258064516128</c:v>
                </c:pt>
                <c:pt idx="2016">
                  <c:v>203.16129032258064</c:v>
                </c:pt>
                <c:pt idx="2017">
                  <c:v>202.80645161290323</c:v>
                </c:pt>
                <c:pt idx="2018">
                  <c:v>202.35483870967741</c:v>
                </c:pt>
                <c:pt idx="2019">
                  <c:v>202.06451612903226</c:v>
                </c:pt>
                <c:pt idx="2020">
                  <c:v>201.61290322580646</c:v>
                </c:pt>
                <c:pt idx="2021">
                  <c:v>201.29032258064515</c:v>
                </c:pt>
                <c:pt idx="2022">
                  <c:v>201.54838709677421</c:v>
                </c:pt>
                <c:pt idx="2023">
                  <c:v>201.83870967741936</c:v>
                </c:pt>
                <c:pt idx="2024">
                  <c:v>203.03225806451613</c:v>
                </c:pt>
                <c:pt idx="2025">
                  <c:v>204.03225806451613</c:v>
                </c:pt>
                <c:pt idx="2026">
                  <c:v>203.2258064516129</c:v>
                </c:pt>
                <c:pt idx="2027">
                  <c:v>202.7741935483871</c:v>
                </c:pt>
                <c:pt idx="2028">
                  <c:v>202.09677419354838</c:v>
                </c:pt>
                <c:pt idx="2029">
                  <c:v>201.19354838709677</c:v>
                </c:pt>
                <c:pt idx="2030">
                  <c:v>201.45161290322579</c:v>
                </c:pt>
                <c:pt idx="2031">
                  <c:v>201.61290322580646</c:v>
                </c:pt>
                <c:pt idx="2032">
                  <c:v>201.74193548387098</c:v>
                </c:pt>
                <c:pt idx="2033">
                  <c:v>201.70967741935485</c:v>
                </c:pt>
                <c:pt idx="2034">
                  <c:v>201.58064516129033</c:v>
                </c:pt>
                <c:pt idx="2035">
                  <c:v>200.93548387096774</c:v>
                </c:pt>
                <c:pt idx="2036">
                  <c:v>200.09677419354838</c:v>
                </c:pt>
                <c:pt idx="2037">
                  <c:v>200.70967741935485</c:v>
                </c:pt>
                <c:pt idx="2038">
                  <c:v>201.06451612903226</c:v>
                </c:pt>
                <c:pt idx="2039">
                  <c:v>201</c:v>
                </c:pt>
                <c:pt idx="2040">
                  <c:v>201.61290322580646</c:v>
                </c:pt>
                <c:pt idx="2041">
                  <c:v>201.67741935483872</c:v>
                </c:pt>
                <c:pt idx="2042">
                  <c:v>201.74193548387098</c:v>
                </c:pt>
                <c:pt idx="2043">
                  <c:v>201.25806451612902</c:v>
                </c:pt>
                <c:pt idx="2044">
                  <c:v>201.38709677419354</c:v>
                </c:pt>
                <c:pt idx="2045">
                  <c:v>201.83870967741936</c:v>
                </c:pt>
                <c:pt idx="2046">
                  <c:v>202.16129032258064</c:v>
                </c:pt>
                <c:pt idx="2047">
                  <c:v>201.61290322580646</c:v>
                </c:pt>
                <c:pt idx="2048">
                  <c:v>201.90322580645162</c:v>
                </c:pt>
                <c:pt idx="2049">
                  <c:v>202.35483870967741</c:v>
                </c:pt>
                <c:pt idx="2050">
                  <c:v>202.45161290322579</c:v>
                </c:pt>
                <c:pt idx="2051">
                  <c:v>202.51612903225808</c:v>
                </c:pt>
                <c:pt idx="2052">
                  <c:v>202.58064516129033</c:v>
                </c:pt>
                <c:pt idx="2053">
                  <c:v>201.51612903225808</c:v>
                </c:pt>
                <c:pt idx="2054">
                  <c:v>200.48387096774192</c:v>
                </c:pt>
                <c:pt idx="2055">
                  <c:v>200.03225806451613</c:v>
                </c:pt>
                <c:pt idx="2056">
                  <c:v>199.03225806451613</c:v>
                </c:pt>
                <c:pt idx="2057">
                  <c:v>199.09677419354838</c:v>
                </c:pt>
                <c:pt idx="2058">
                  <c:v>198.90322580645162</c:v>
                </c:pt>
                <c:pt idx="2059">
                  <c:v>199.64516129032259</c:v>
                </c:pt>
                <c:pt idx="2060">
                  <c:v>199.90322580645162</c:v>
                </c:pt>
                <c:pt idx="2061">
                  <c:v>199.7741935483871</c:v>
                </c:pt>
                <c:pt idx="2062">
                  <c:v>198.87096774193549</c:v>
                </c:pt>
                <c:pt idx="2063">
                  <c:v>198.32258064516128</c:v>
                </c:pt>
                <c:pt idx="2064">
                  <c:v>197.90322580645162</c:v>
                </c:pt>
                <c:pt idx="2065">
                  <c:v>197.64516129032259</c:v>
                </c:pt>
                <c:pt idx="2066">
                  <c:v>198</c:v>
                </c:pt>
                <c:pt idx="2067">
                  <c:v>198.32258064516128</c:v>
                </c:pt>
                <c:pt idx="2068">
                  <c:v>197.54838709677421</c:v>
                </c:pt>
                <c:pt idx="2069">
                  <c:v>197.03225806451613</c:v>
                </c:pt>
                <c:pt idx="2070">
                  <c:v>196.96774193548387</c:v>
                </c:pt>
                <c:pt idx="2071">
                  <c:v>196.12903225806451</c:v>
                </c:pt>
                <c:pt idx="2072">
                  <c:v>196.06451612903226</c:v>
                </c:pt>
                <c:pt idx="2073">
                  <c:v>195.64516129032259</c:v>
                </c:pt>
                <c:pt idx="2074">
                  <c:v>196.38709677419354</c:v>
                </c:pt>
                <c:pt idx="2075">
                  <c:v>196.70967741935485</c:v>
                </c:pt>
                <c:pt idx="2076">
                  <c:v>195.7741935483871</c:v>
                </c:pt>
                <c:pt idx="2077">
                  <c:v>195.25806451612902</c:v>
                </c:pt>
                <c:pt idx="2078">
                  <c:v>195.58064516129033</c:v>
                </c:pt>
                <c:pt idx="2079">
                  <c:v>195.90322580645162</c:v>
                </c:pt>
                <c:pt idx="2080">
                  <c:v>194.87096774193549</c:v>
                </c:pt>
                <c:pt idx="2081">
                  <c:v>195.29032258064515</c:v>
                </c:pt>
                <c:pt idx="2082">
                  <c:v>195.2258064516129</c:v>
                </c:pt>
                <c:pt idx="2083">
                  <c:v>195.70967741935485</c:v>
                </c:pt>
                <c:pt idx="2084">
                  <c:v>196.74193548387098</c:v>
                </c:pt>
                <c:pt idx="2085">
                  <c:v>196.74193548387098</c:v>
                </c:pt>
                <c:pt idx="2086">
                  <c:v>196.96774193548387</c:v>
                </c:pt>
                <c:pt idx="2087">
                  <c:v>197.80645161290323</c:v>
                </c:pt>
                <c:pt idx="2088">
                  <c:v>198.16129032258064</c:v>
                </c:pt>
                <c:pt idx="2089">
                  <c:v>198.16129032258064</c:v>
                </c:pt>
                <c:pt idx="2090">
                  <c:v>198.09677419354838</c:v>
                </c:pt>
                <c:pt idx="2091">
                  <c:v>198.48387096774192</c:v>
                </c:pt>
                <c:pt idx="2092">
                  <c:v>198.64516129032259</c:v>
                </c:pt>
                <c:pt idx="2093">
                  <c:v>199.90322580645162</c:v>
                </c:pt>
                <c:pt idx="2094">
                  <c:v>200.12903225806451</c:v>
                </c:pt>
                <c:pt idx="2095">
                  <c:v>199.48387096774192</c:v>
                </c:pt>
                <c:pt idx="2096">
                  <c:v>199.74193548387098</c:v>
                </c:pt>
                <c:pt idx="2097">
                  <c:v>198.90322580645162</c:v>
                </c:pt>
                <c:pt idx="2098">
                  <c:v>199.74193548387098</c:v>
                </c:pt>
                <c:pt idx="2099">
                  <c:v>199.64516129032259</c:v>
                </c:pt>
                <c:pt idx="2100">
                  <c:v>199.41935483870967</c:v>
                </c:pt>
                <c:pt idx="2101">
                  <c:v>199.51612903225808</c:v>
                </c:pt>
                <c:pt idx="2102">
                  <c:v>199.45161290322579</c:v>
                </c:pt>
                <c:pt idx="2103">
                  <c:v>199.64516129032259</c:v>
                </c:pt>
                <c:pt idx="2104">
                  <c:v>199.96774193548387</c:v>
                </c:pt>
                <c:pt idx="2105">
                  <c:v>199.80645161290323</c:v>
                </c:pt>
                <c:pt idx="2106">
                  <c:v>200.06451612903226</c:v>
                </c:pt>
                <c:pt idx="2107">
                  <c:v>199.96774193548387</c:v>
                </c:pt>
                <c:pt idx="2108">
                  <c:v>200.51612903225808</c:v>
                </c:pt>
                <c:pt idx="2109">
                  <c:v>200.7741935483871</c:v>
                </c:pt>
                <c:pt idx="2110">
                  <c:v>200.7741935483871</c:v>
                </c:pt>
                <c:pt idx="2111">
                  <c:v>201.51612903225808</c:v>
                </c:pt>
                <c:pt idx="2112">
                  <c:v>201.58064516129033</c:v>
                </c:pt>
                <c:pt idx="2113">
                  <c:v>201.61290322580646</c:v>
                </c:pt>
                <c:pt idx="2114">
                  <c:v>201.51612903225808</c:v>
                </c:pt>
                <c:pt idx="2115">
                  <c:v>201.41935483870967</c:v>
                </c:pt>
                <c:pt idx="2116">
                  <c:v>202.06451612903226</c:v>
                </c:pt>
                <c:pt idx="2117">
                  <c:v>201.80645161290323</c:v>
                </c:pt>
                <c:pt idx="2118">
                  <c:v>201.70967741935485</c:v>
                </c:pt>
                <c:pt idx="2119">
                  <c:v>201.93548387096774</c:v>
                </c:pt>
                <c:pt idx="2120">
                  <c:v>201.41935483870967</c:v>
                </c:pt>
                <c:pt idx="2121">
                  <c:v>200.83870967741936</c:v>
                </c:pt>
                <c:pt idx="2122">
                  <c:v>199.96774193548387</c:v>
                </c:pt>
                <c:pt idx="2123">
                  <c:v>200.64516129032259</c:v>
                </c:pt>
                <c:pt idx="2124">
                  <c:v>200.61290322580646</c:v>
                </c:pt>
                <c:pt idx="2125">
                  <c:v>200.93548387096774</c:v>
                </c:pt>
                <c:pt idx="2126">
                  <c:v>201</c:v>
                </c:pt>
                <c:pt idx="2127">
                  <c:v>201.06451612903226</c:v>
                </c:pt>
                <c:pt idx="2128">
                  <c:v>201.29032258064515</c:v>
                </c:pt>
                <c:pt idx="2129">
                  <c:v>201.38709677419354</c:v>
                </c:pt>
                <c:pt idx="2130">
                  <c:v>202.06451612903226</c:v>
                </c:pt>
                <c:pt idx="2131">
                  <c:v>202.61290322580646</c:v>
                </c:pt>
                <c:pt idx="2132">
                  <c:v>202.51612903225808</c:v>
                </c:pt>
                <c:pt idx="2133">
                  <c:v>203.70967741935485</c:v>
                </c:pt>
                <c:pt idx="2134">
                  <c:v>203.90322580645162</c:v>
                </c:pt>
                <c:pt idx="2135">
                  <c:v>203.2258064516129</c:v>
                </c:pt>
                <c:pt idx="2136">
                  <c:v>202.2258064516129</c:v>
                </c:pt>
                <c:pt idx="2137">
                  <c:v>202.25806451612902</c:v>
                </c:pt>
                <c:pt idx="2138">
                  <c:v>203.12903225806451</c:v>
                </c:pt>
                <c:pt idx="2139">
                  <c:v>202.54838709677421</c:v>
                </c:pt>
                <c:pt idx="2140">
                  <c:v>202.41935483870967</c:v>
                </c:pt>
                <c:pt idx="2141">
                  <c:v>201.38709677419354</c:v>
                </c:pt>
                <c:pt idx="2142">
                  <c:v>200.64516129032259</c:v>
                </c:pt>
                <c:pt idx="2143">
                  <c:v>201.19354838709677</c:v>
                </c:pt>
                <c:pt idx="2144">
                  <c:v>200.7741935483871</c:v>
                </c:pt>
                <c:pt idx="2145">
                  <c:v>200.12903225806451</c:v>
                </c:pt>
                <c:pt idx="2146">
                  <c:v>199.51612903225808</c:v>
                </c:pt>
                <c:pt idx="2147">
                  <c:v>199.35483870967741</c:v>
                </c:pt>
                <c:pt idx="2148">
                  <c:v>199.7741935483871</c:v>
                </c:pt>
                <c:pt idx="2149">
                  <c:v>199.54838709677421</c:v>
                </c:pt>
                <c:pt idx="2150">
                  <c:v>199.25806451612902</c:v>
                </c:pt>
                <c:pt idx="2151">
                  <c:v>199.48387096774192</c:v>
                </c:pt>
                <c:pt idx="2152">
                  <c:v>199.41935483870967</c:v>
                </c:pt>
                <c:pt idx="2153">
                  <c:v>200.41935483870967</c:v>
                </c:pt>
                <c:pt idx="2154">
                  <c:v>200.48387096774192</c:v>
                </c:pt>
                <c:pt idx="2155">
                  <c:v>200.29032258064515</c:v>
                </c:pt>
                <c:pt idx="2156">
                  <c:v>200.35483870967741</c:v>
                </c:pt>
                <c:pt idx="2157">
                  <c:v>200.32258064516128</c:v>
                </c:pt>
                <c:pt idx="2158">
                  <c:v>199.80645161290323</c:v>
                </c:pt>
                <c:pt idx="2159">
                  <c:v>200</c:v>
                </c:pt>
                <c:pt idx="2160">
                  <c:v>199.45161290322579</c:v>
                </c:pt>
                <c:pt idx="2161">
                  <c:v>199.45161290322579</c:v>
                </c:pt>
                <c:pt idx="2162">
                  <c:v>199.35483870967741</c:v>
                </c:pt>
                <c:pt idx="2163">
                  <c:v>199.67741935483872</c:v>
                </c:pt>
                <c:pt idx="2164">
                  <c:v>198.67741935483872</c:v>
                </c:pt>
                <c:pt idx="2165">
                  <c:v>199</c:v>
                </c:pt>
                <c:pt idx="2166">
                  <c:v>199.48387096774192</c:v>
                </c:pt>
                <c:pt idx="2167">
                  <c:v>199.67741935483872</c:v>
                </c:pt>
                <c:pt idx="2168">
                  <c:v>198.93548387096774</c:v>
                </c:pt>
                <c:pt idx="2169">
                  <c:v>198.16129032258064</c:v>
                </c:pt>
                <c:pt idx="2170">
                  <c:v>199</c:v>
                </c:pt>
                <c:pt idx="2171">
                  <c:v>198.93548387096774</c:v>
                </c:pt>
                <c:pt idx="2172">
                  <c:v>198.93548387096774</c:v>
                </c:pt>
                <c:pt idx="2173">
                  <c:v>199.09677419354838</c:v>
                </c:pt>
                <c:pt idx="2174">
                  <c:v>198.64516129032259</c:v>
                </c:pt>
                <c:pt idx="2175">
                  <c:v>198.93548387096774</c:v>
                </c:pt>
                <c:pt idx="2176">
                  <c:v>198.80645161290323</c:v>
                </c:pt>
                <c:pt idx="2177">
                  <c:v>199.51612903225808</c:v>
                </c:pt>
                <c:pt idx="2178">
                  <c:v>199.38709677419354</c:v>
                </c:pt>
                <c:pt idx="2179">
                  <c:v>198.45161290322579</c:v>
                </c:pt>
                <c:pt idx="2180">
                  <c:v>197.74193548387098</c:v>
                </c:pt>
                <c:pt idx="2181">
                  <c:v>197.64516129032259</c:v>
                </c:pt>
                <c:pt idx="2182">
                  <c:v>197.67741935483872</c:v>
                </c:pt>
                <c:pt idx="2183">
                  <c:v>197.48387096774192</c:v>
                </c:pt>
                <c:pt idx="2184">
                  <c:v>197.41935483870967</c:v>
                </c:pt>
                <c:pt idx="2185">
                  <c:v>197.09677419354838</c:v>
                </c:pt>
                <c:pt idx="2186">
                  <c:v>196.70967741935485</c:v>
                </c:pt>
                <c:pt idx="2187">
                  <c:v>195.93548387096774</c:v>
                </c:pt>
                <c:pt idx="2188">
                  <c:v>196</c:v>
                </c:pt>
                <c:pt idx="2189">
                  <c:v>196.80645161290323</c:v>
                </c:pt>
                <c:pt idx="2190">
                  <c:v>197.41935483870967</c:v>
                </c:pt>
                <c:pt idx="2191">
                  <c:v>197.19354838709677</c:v>
                </c:pt>
                <c:pt idx="2192">
                  <c:v>196.61290322580646</c:v>
                </c:pt>
                <c:pt idx="2193">
                  <c:v>197.12903225806451</c:v>
                </c:pt>
                <c:pt idx="2194">
                  <c:v>196.54838709677421</c:v>
                </c:pt>
                <c:pt idx="2195">
                  <c:v>196.61290322580646</c:v>
                </c:pt>
                <c:pt idx="2196">
                  <c:v>196.06451612903226</c:v>
                </c:pt>
                <c:pt idx="2197">
                  <c:v>196.41935483870967</c:v>
                </c:pt>
                <c:pt idx="2198">
                  <c:v>196.64516129032259</c:v>
                </c:pt>
                <c:pt idx="2199">
                  <c:v>196.38709677419354</c:v>
                </c:pt>
                <c:pt idx="2200">
                  <c:v>196.90322580645162</c:v>
                </c:pt>
                <c:pt idx="2201">
                  <c:v>196.64516129032259</c:v>
                </c:pt>
                <c:pt idx="2202">
                  <c:v>197</c:v>
                </c:pt>
                <c:pt idx="2203">
                  <c:v>196.93548387096774</c:v>
                </c:pt>
                <c:pt idx="2204">
                  <c:v>197.67741935483872</c:v>
                </c:pt>
                <c:pt idx="2205">
                  <c:v>197.35483870967741</c:v>
                </c:pt>
                <c:pt idx="2206">
                  <c:v>198.25806451612902</c:v>
                </c:pt>
                <c:pt idx="2207">
                  <c:v>199.45161290322579</c:v>
                </c:pt>
                <c:pt idx="2208">
                  <c:v>198.7741935483871</c:v>
                </c:pt>
                <c:pt idx="2209">
                  <c:v>198.45161290322579</c:v>
                </c:pt>
                <c:pt idx="2210">
                  <c:v>199.32258064516128</c:v>
                </c:pt>
                <c:pt idx="2211">
                  <c:v>200.25806451612902</c:v>
                </c:pt>
                <c:pt idx="2212">
                  <c:v>200.41935483870967</c:v>
                </c:pt>
                <c:pt idx="2213">
                  <c:v>200.41935483870967</c:v>
                </c:pt>
                <c:pt idx="2214">
                  <c:v>201.03225806451613</c:v>
                </c:pt>
                <c:pt idx="2215">
                  <c:v>200.87096774193549</c:v>
                </c:pt>
                <c:pt idx="2216">
                  <c:v>200.93548387096774</c:v>
                </c:pt>
                <c:pt idx="2217">
                  <c:v>201.45161290322579</c:v>
                </c:pt>
                <c:pt idx="2218">
                  <c:v>202.38709677419354</c:v>
                </c:pt>
                <c:pt idx="2219">
                  <c:v>203.32258064516128</c:v>
                </c:pt>
                <c:pt idx="2220">
                  <c:v>203.16129032258064</c:v>
                </c:pt>
                <c:pt idx="2221">
                  <c:v>203.06451612903226</c:v>
                </c:pt>
                <c:pt idx="2222">
                  <c:v>203.32258064516128</c:v>
                </c:pt>
                <c:pt idx="2223">
                  <c:v>204.58064516129033</c:v>
                </c:pt>
                <c:pt idx="2224">
                  <c:v>204.61290322580646</c:v>
                </c:pt>
                <c:pt idx="2225">
                  <c:v>206.51612903225808</c:v>
                </c:pt>
                <c:pt idx="2226">
                  <c:v>208.48387096774192</c:v>
                </c:pt>
                <c:pt idx="2227">
                  <c:v>209.74193548387098</c:v>
                </c:pt>
                <c:pt idx="2228">
                  <c:v>210.45161290322579</c:v>
                </c:pt>
                <c:pt idx="2229">
                  <c:v>212.2258064516129</c:v>
                </c:pt>
                <c:pt idx="2230">
                  <c:v>214.2258064516129</c:v>
                </c:pt>
                <c:pt idx="2231">
                  <c:v>214.70967741935485</c:v>
                </c:pt>
                <c:pt idx="2232">
                  <c:v>216.06451612903226</c:v>
                </c:pt>
                <c:pt idx="2233">
                  <c:v>216.70967741935485</c:v>
                </c:pt>
                <c:pt idx="2234">
                  <c:v>218.16129032258064</c:v>
                </c:pt>
                <c:pt idx="2235">
                  <c:v>219.32258064516128</c:v>
                </c:pt>
                <c:pt idx="2236">
                  <c:v>220.2258064516129</c:v>
                </c:pt>
                <c:pt idx="2237">
                  <c:v>221.09677419354838</c:v>
                </c:pt>
                <c:pt idx="2238">
                  <c:v>222</c:v>
                </c:pt>
                <c:pt idx="2239">
                  <c:v>223.54838709677421</c:v>
                </c:pt>
                <c:pt idx="2240">
                  <c:v>225.09677419354838</c:v>
                </c:pt>
                <c:pt idx="2241">
                  <c:v>225.48387096774192</c:v>
                </c:pt>
                <c:pt idx="2242">
                  <c:v>226.45161290322579</c:v>
                </c:pt>
                <c:pt idx="2243">
                  <c:v>227.38709677419354</c:v>
                </c:pt>
                <c:pt idx="2244">
                  <c:v>229.03225806451613</c:v>
                </c:pt>
                <c:pt idx="2245">
                  <c:v>229.70967741935485</c:v>
                </c:pt>
                <c:pt idx="2246">
                  <c:v>230.58064516129033</c:v>
                </c:pt>
                <c:pt idx="2247">
                  <c:v>231.74193548387098</c:v>
                </c:pt>
                <c:pt idx="2248">
                  <c:v>232.45161290322579</c:v>
                </c:pt>
                <c:pt idx="2249">
                  <c:v>232.87096774193549</c:v>
                </c:pt>
                <c:pt idx="2250">
                  <c:v>232.96774193548387</c:v>
                </c:pt>
                <c:pt idx="2251">
                  <c:v>233.87096774193549</c:v>
                </c:pt>
                <c:pt idx="2252">
                  <c:v>234.25806451612902</c:v>
                </c:pt>
                <c:pt idx="2253">
                  <c:v>235.19354838709677</c:v>
                </c:pt>
                <c:pt idx="2254">
                  <c:v>235.54838709677421</c:v>
                </c:pt>
                <c:pt idx="2255">
                  <c:v>235.93548387096774</c:v>
                </c:pt>
                <c:pt idx="2256">
                  <c:v>236.19354838709677</c:v>
                </c:pt>
                <c:pt idx="2257">
                  <c:v>236.19354838709677</c:v>
                </c:pt>
                <c:pt idx="2258">
                  <c:v>236.25806451612902</c:v>
                </c:pt>
                <c:pt idx="2259">
                  <c:v>236.48387096774192</c:v>
                </c:pt>
                <c:pt idx="2260">
                  <c:v>236.06451612903226</c:v>
                </c:pt>
                <c:pt idx="2261">
                  <c:v>235.67741935483872</c:v>
                </c:pt>
                <c:pt idx="2262">
                  <c:v>236.09677419354838</c:v>
                </c:pt>
                <c:pt idx="2263">
                  <c:v>236.06451612903226</c:v>
                </c:pt>
                <c:pt idx="2264">
                  <c:v>236.06451612903226</c:v>
                </c:pt>
                <c:pt idx="2265">
                  <c:v>236.29032258064515</c:v>
                </c:pt>
                <c:pt idx="2266">
                  <c:v>236.29032258064515</c:v>
                </c:pt>
                <c:pt idx="2267">
                  <c:v>236.80645161290323</c:v>
                </c:pt>
                <c:pt idx="2268">
                  <c:v>237.12903225806451</c:v>
                </c:pt>
                <c:pt idx="2269">
                  <c:v>237.41935483870967</c:v>
                </c:pt>
                <c:pt idx="2270">
                  <c:v>237.7741935483871</c:v>
                </c:pt>
                <c:pt idx="2271">
                  <c:v>238.19354838709677</c:v>
                </c:pt>
                <c:pt idx="2272">
                  <c:v>238.48387096774192</c:v>
                </c:pt>
                <c:pt idx="2273">
                  <c:v>239.09677419354838</c:v>
                </c:pt>
                <c:pt idx="2274">
                  <c:v>240.45161290322579</c:v>
                </c:pt>
                <c:pt idx="2275">
                  <c:v>232.67741935483872</c:v>
                </c:pt>
                <c:pt idx="2276">
                  <c:v>225.29032258064515</c:v>
                </c:pt>
                <c:pt idx="2277">
                  <c:v>217.67741935483872</c:v>
                </c:pt>
                <c:pt idx="2278">
                  <c:v>209.70967741935485</c:v>
                </c:pt>
                <c:pt idx="2279">
                  <c:v>202.03225806451613</c:v>
                </c:pt>
                <c:pt idx="2280">
                  <c:v>194.61290322580646</c:v>
                </c:pt>
                <c:pt idx="2281">
                  <c:v>187.48387096774192</c:v>
                </c:pt>
                <c:pt idx="2282">
                  <c:v>180</c:v>
                </c:pt>
                <c:pt idx="2283">
                  <c:v>172.83870967741936</c:v>
                </c:pt>
                <c:pt idx="2284">
                  <c:v>165.35483870967741</c:v>
                </c:pt>
                <c:pt idx="2285">
                  <c:v>157.45161290322579</c:v>
                </c:pt>
                <c:pt idx="2286">
                  <c:v>149.93548387096774</c:v>
                </c:pt>
                <c:pt idx="2287">
                  <c:v>141.90322580645162</c:v>
                </c:pt>
                <c:pt idx="2288">
                  <c:v>133.87096774193549</c:v>
                </c:pt>
                <c:pt idx="2289">
                  <c:v>126.19354838709677</c:v>
                </c:pt>
                <c:pt idx="2290">
                  <c:v>118.45161290322581</c:v>
                </c:pt>
                <c:pt idx="2291">
                  <c:v>116.83870967741936</c:v>
                </c:pt>
                <c:pt idx="2292">
                  <c:v>115.12903225806451</c:v>
                </c:pt>
                <c:pt idx="2293">
                  <c:v>114.12903225806451</c:v>
                </c:pt>
                <c:pt idx="2294">
                  <c:v>112.96774193548387</c:v>
                </c:pt>
                <c:pt idx="2295">
                  <c:v>112.45161290322581</c:v>
                </c:pt>
                <c:pt idx="2296">
                  <c:v>110.70967741935483</c:v>
                </c:pt>
                <c:pt idx="2297">
                  <c:v>109</c:v>
                </c:pt>
                <c:pt idx="2298">
                  <c:v>107.61290322580645</c:v>
                </c:pt>
                <c:pt idx="2299">
                  <c:v>105.51612903225806</c:v>
                </c:pt>
                <c:pt idx="2300">
                  <c:v>104.3225806451613</c:v>
                </c:pt>
                <c:pt idx="2301">
                  <c:v>102.96774193548387</c:v>
                </c:pt>
                <c:pt idx="2302">
                  <c:v>102.03225806451613</c:v>
                </c:pt>
                <c:pt idx="2303">
                  <c:v>100.90322580645162</c:v>
                </c:pt>
                <c:pt idx="2304">
                  <c:v>98.322580645161295</c:v>
                </c:pt>
                <c:pt idx="2305">
                  <c:v>96.451612903225808</c:v>
                </c:pt>
                <c:pt idx="2306">
                  <c:v>103.45161290322581</c:v>
                </c:pt>
                <c:pt idx="2307">
                  <c:v>109.61290322580645</c:v>
                </c:pt>
                <c:pt idx="2308">
                  <c:v>116.54838709677419</c:v>
                </c:pt>
                <c:pt idx="2309">
                  <c:v>123.41935483870968</c:v>
                </c:pt>
                <c:pt idx="2310">
                  <c:v>129.87096774193549</c:v>
                </c:pt>
                <c:pt idx="2311">
                  <c:v>136.2258064516129</c:v>
                </c:pt>
                <c:pt idx="2312">
                  <c:v>142.67741935483872</c:v>
                </c:pt>
                <c:pt idx="2313">
                  <c:v>148.61290322580646</c:v>
                </c:pt>
                <c:pt idx="2314">
                  <c:v>154.54838709677421</c:v>
                </c:pt>
                <c:pt idx="2315">
                  <c:v>160.80645161290323</c:v>
                </c:pt>
                <c:pt idx="2316">
                  <c:v>166.96774193548387</c:v>
                </c:pt>
                <c:pt idx="2317">
                  <c:v>174.06451612903226</c:v>
                </c:pt>
                <c:pt idx="2318">
                  <c:v>180.74193548387098</c:v>
                </c:pt>
                <c:pt idx="2319">
                  <c:v>187.64516129032259</c:v>
                </c:pt>
                <c:pt idx="2320">
                  <c:v>194.38709677419354</c:v>
                </c:pt>
                <c:pt idx="2321">
                  <c:v>200.48387096774192</c:v>
                </c:pt>
                <c:pt idx="2322">
                  <c:v>201.32258064516128</c:v>
                </c:pt>
                <c:pt idx="2323">
                  <c:v>202.25806451612902</c:v>
                </c:pt>
                <c:pt idx="2324">
                  <c:v>202.35483870967741</c:v>
                </c:pt>
                <c:pt idx="2325">
                  <c:v>201.7741935483871</c:v>
                </c:pt>
                <c:pt idx="2326">
                  <c:v>200.61290322580646</c:v>
                </c:pt>
                <c:pt idx="2327">
                  <c:v>200.74193548387098</c:v>
                </c:pt>
                <c:pt idx="2328">
                  <c:v>201.35483870967741</c:v>
                </c:pt>
                <c:pt idx="2329">
                  <c:v>201.32258064516128</c:v>
                </c:pt>
                <c:pt idx="2330">
                  <c:v>202</c:v>
                </c:pt>
                <c:pt idx="2331">
                  <c:v>201.12903225806451</c:v>
                </c:pt>
                <c:pt idx="2332">
                  <c:v>200.25806451612902</c:v>
                </c:pt>
                <c:pt idx="2333">
                  <c:v>199.87096774193549</c:v>
                </c:pt>
                <c:pt idx="2334">
                  <c:v>199.38709677419354</c:v>
                </c:pt>
                <c:pt idx="2335">
                  <c:v>199.54838709677421</c:v>
                </c:pt>
                <c:pt idx="2336">
                  <c:v>199.12903225806451</c:v>
                </c:pt>
                <c:pt idx="2337">
                  <c:v>198.09677419354838</c:v>
                </c:pt>
                <c:pt idx="2338">
                  <c:v>198.83870967741936</c:v>
                </c:pt>
                <c:pt idx="2339">
                  <c:v>198.87096774193549</c:v>
                </c:pt>
                <c:pt idx="2340">
                  <c:v>197.93548387096774</c:v>
                </c:pt>
                <c:pt idx="2341">
                  <c:v>197.29032258064515</c:v>
                </c:pt>
                <c:pt idx="2342">
                  <c:v>197.93548387096774</c:v>
                </c:pt>
                <c:pt idx="2343">
                  <c:v>197.64516129032259</c:v>
                </c:pt>
                <c:pt idx="2344">
                  <c:v>198.32258064516128</c:v>
                </c:pt>
                <c:pt idx="2345">
                  <c:v>199.29032258064515</c:v>
                </c:pt>
                <c:pt idx="2346">
                  <c:v>200.06451612903226</c:v>
                </c:pt>
                <c:pt idx="2347">
                  <c:v>199.90322580645162</c:v>
                </c:pt>
                <c:pt idx="2348">
                  <c:v>199.67741935483872</c:v>
                </c:pt>
                <c:pt idx="2349">
                  <c:v>199.16129032258064</c:v>
                </c:pt>
                <c:pt idx="2350">
                  <c:v>199.09677419354838</c:v>
                </c:pt>
                <c:pt idx="2351">
                  <c:v>198.87096774193549</c:v>
                </c:pt>
                <c:pt idx="2352">
                  <c:v>199.61290322580646</c:v>
                </c:pt>
                <c:pt idx="2353">
                  <c:v>198.54838709677421</c:v>
                </c:pt>
                <c:pt idx="2354">
                  <c:v>198.70967741935485</c:v>
                </c:pt>
                <c:pt idx="2355">
                  <c:v>198.06451612903226</c:v>
                </c:pt>
                <c:pt idx="2356">
                  <c:v>199.06451612903226</c:v>
                </c:pt>
                <c:pt idx="2357">
                  <c:v>200.03225806451613</c:v>
                </c:pt>
                <c:pt idx="2358">
                  <c:v>200.03225806451613</c:v>
                </c:pt>
                <c:pt idx="2359">
                  <c:v>200.03225806451613</c:v>
                </c:pt>
                <c:pt idx="2360">
                  <c:v>199.58064516129033</c:v>
                </c:pt>
                <c:pt idx="2361">
                  <c:v>199.64516129032259</c:v>
                </c:pt>
                <c:pt idx="2362">
                  <c:v>199.90322580645162</c:v>
                </c:pt>
                <c:pt idx="2363">
                  <c:v>199.83870967741936</c:v>
                </c:pt>
                <c:pt idx="2364">
                  <c:v>199.67741935483872</c:v>
                </c:pt>
                <c:pt idx="2365">
                  <c:v>200.64516129032259</c:v>
                </c:pt>
                <c:pt idx="2366">
                  <c:v>200.70967741935485</c:v>
                </c:pt>
                <c:pt idx="2367">
                  <c:v>200.70967741935485</c:v>
                </c:pt>
                <c:pt idx="2368">
                  <c:v>201.67741935483872</c:v>
                </c:pt>
                <c:pt idx="2369">
                  <c:v>201.35483870967741</c:v>
                </c:pt>
                <c:pt idx="2370">
                  <c:v>201.45161290322579</c:v>
                </c:pt>
                <c:pt idx="2371">
                  <c:v>201.67741935483872</c:v>
                </c:pt>
                <c:pt idx="2372">
                  <c:v>202.67741935483872</c:v>
                </c:pt>
                <c:pt idx="2373">
                  <c:v>201.64516129032259</c:v>
                </c:pt>
                <c:pt idx="2374">
                  <c:v>201.87096774193549</c:v>
                </c:pt>
                <c:pt idx="2375">
                  <c:v>201.96774193548387</c:v>
                </c:pt>
                <c:pt idx="2376">
                  <c:v>201.19354838709677</c:v>
                </c:pt>
                <c:pt idx="2377">
                  <c:v>201.03225806451613</c:v>
                </c:pt>
                <c:pt idx="2378">
                  <c:v>201.35483870967741</c:v>
                </c:pt>
                <c:pt idx="2379">
                  <c:v>200.41935483870967</c:v>
                </c:pt>
                <c:pt idx="2380">
                  <c:v>200.61290322580646</c:v>
                </c:pt>
                <c:pt idx="2381">
                  <c:v>200.61290322580646</c:v>
                </c:pt>
                <c:pt idx="2382">
                  <c:v>200.45161290322579</c:v>
                </c:pt>
                <c:pt idx="2383">
                  <c:v>200.06451612903226</c:v>
                </c:pt>
                <c:pt idx="2384">
                  <c:v>200.12903225806451</c:v>
                </c:pt>
                <c:pt idx="2385">
                  <c:v>199.70967741935485</c:v>
                </c:pt>
                <c:pt idx="2386">
                  <c:v>200.41935483870967</c:v>
                </c:pt>
                <c:pt idx="2387">
                  <c:v>200.2258064516129</c:v>
                </c:pt>
                <c:pt idx="2388">
                  <c:v>199.87096774193549</c:v>
                </c:pt>
                <c:pt idx="2389">
                  <c:v>199.83870967741936</c:v>
                </c:pt>
                <c:pt idx="2390">
                  <c:v>200</c:v>
                </c:pt>
                <c:pt idx="2391">
                  <c:v>200.03225806451613</c:v>
                </c:pt>
                <c:pt idx="2392">
                  <c:v>199.90322580645162</c:v>
                </c:pt>
                <c:pt idx="2393">
                  <c:v>199.87096774193549</c:v>
                </c:pt>
                <c:pt idx="2394">
                  <c:v>200.16129032258064</c:v>
                </c:pt>
                <c:pt idx="2395">
                  <c:v>200.58064516129033</c:v>
                </c:pt>
                <c:pt idx="2396">
                  <c:v>200.38709677419354</c:v>
                </c:pt>
                <c:pt idx="2397">
                  <c:v>200.96774193548387</c:v>
                </c:pt>
                <c:pt idx="2398">
                  <c:v>201.45161290322579</c:v>
                </c:pt>
                <c:pt idx="2399">
                  <c:v>201.35483870967741</c:v>
                </c:pt>
                <c:pt idx="2400">
                  <c:v>200.64516129032259</c:v>
                </c:pt>
                <c:pt idx="2401">
                  <c:v>199.90322580645162</c:v>
                </c:pt>
                <c:pt idx="2402">
                  <c:v>200.25806451612902</c:v>
                </c:pt>
                <c:pt idx="2403">
                  <c:v>200.12903225806451</c:v>
                </c:pt>
                <c:pt idx="2404">
                  <c:v>201.06451612903226</c:v>
                </c:pt>
                <c:pt idx="2405">
                  <c:v>201.19354838709677</c:v>
                </c:pt>
                <c:pt idx="2406">
                  <c:v>200.32258064516128</c:v>
                </c:pt>
                <c:pt idx="2407">
                  <c:v>201.29032258064515</c:v>
                </c:pt>
                <c:pt idx="2408">
                  <c:v>201.09677419354838</c:v>
                </c:pt>
                <c:pt idx="2409">
                  <c:v>201.19354838709677</c:v>
                </c:pt>
                <c:pt idx="2410">
                  <c:v>201.45161290322579</c:v>
                </c:pt>
                <c:pt idx="2411">
                  <c:v>201.45161290322579</c:v>
                </c:pt>
                <c:pt idx="2412">
                  <c:v>200.45161290322579</c:v>
                </c:pt>
                <c:pt idx="2413">
                  <c:v>200.03225806451613</c:v>
                </c:pt>
                <c:pt idx="2414">
                  <c:v>200.45161290322579</c:v>
                </c:pt>
                <c:pt idx="2415">
                  <c:v>201.51612903225808</c:v>
                </c:pt>
                <c:pt idx="2416">
                  <c:v>200.96774193548387</c:v>
                </c:pt>
                <c:pt idx="2417">
                  <c:v>200.93548387096774</c:v>
                </c:pt>
                <c:pt idx="2418">
                  <c:v>200.06451612903226</c:v>
                </c:pt>
                <c:pt idx="2419">
                  <c:v>200.38709677419354</c:v>
                </c:pt>
                <c:pt idx="2420">
                  <c:v>200.32258064516128</c:v>
                </c:pt>
                <c:pt idx="2421">
                  <c:v>199.2258064516129</c:v>
                </c:pt>
                <c:pt idx="2422">
                  <c:v>199.54838709677421</c:v>
                </c:pt>
                <c:pt idx="2423">
                  <c:v>199.2</c:v>
                </c:pt>
                <c:pt idx="2424">
                  <c:v>199.20689655172413</c:v>
                </c:pt>
                <c:pt idx="2425">
                  <c:v>199.46428571428572</c:v>
                </c:pt>
                <c:pt idx="2426">
                  <c:v>198.92592592592592</c:v>
                </c:pt>
                <c:pt idx="2427">
                  <c:v>198.46153846153845</c:v>
                </c:pt>
                <c:pt idx="2428">
                  <c:v>198.16</c:v>
                </c:pt>
                <c:pt idx="2429">
                  <c:v>197.75</c:v>
                </c:pt>
                <c:pt idx="2430">
                  <c:v>197.13043478260869</c:v>
                </c:pt>
                <c:pt idx="2431">
                  <c:v>197.81818181818181</c:v>
                </c:pt>
                <c:pt idx="2432">
                  <c:v>197.9047619047619</c:v>
                </c:pt>
                <c:pt idx="2433">
                  <c:v>197.7</c:v>
                </c:pt>
                <c:pt idx="2434">
                  <c:v>197.21052631578948</c:v>
                </c:pt>
                <c:pt idx="2435">
                  <c:v>196.27777777777777</c:v>
                </c:pt>
                <c:pt idx="2436">
                  <c:v>195.94117647058823</c:v>
                </c:pt>
                <c:pt idx="2437">
                  <c:v>196.875</c:v>
                </c:pt>
                <c:pt idx="2438">
                  <c:v>195.33333333333334</c:v>
                </c:pt>
                <c:pt idx="2439">
                  <c:v>194.5</c:v>
                </c:pt>
                <c:pt idx="2440">
                  <c:v>194.15384615384616</c:v>
                </c:pt>
                <c:pt idx="2441">
                  <c:v>194.33333333333334</c:v>
                </c:pt>
                <c:pt idx="2442">
                  <c:v>194.09090909090909</c:v>
                </c:pt>
                <c:pt idx="2443">
                  <c:v>195.4</c:v>
                </c:pt>
                <c:pt idx="2444">
                  <c:v>196.66666666666666</c:v>
                </c:pt>
                <c:pt idx="2445">
                  <c:v>194.625</c:v>
                </c:pt>
                <c:pt idx="2446">
                  <c:v>191.71428571428572</c:v>
                </c:pt>
                <c:pt idx="2447">
                  <c:v>193</c:v>
                </c:pt>
                <c:pt idx="2448">
                  <c:v>190</c:v>
                </c:pt>
                <c:pt idx="2449">
                  <c:v>191.75</c:v>
                </c:pt>
                <c:pt idx="2450">
                  <c:v>184.66666666666666</c:v>
                </c:pt>
                <c:pt idx="2451">
                  <c:v>186</c:v>
                </c:pt>
              </c:numCache>
            </c:numRef>
          </c:val>
          <c:smooth val="0"/>
          <c:extLst>
            <c:ext xmlns:c16="http://schemas.microsoft.com/office/drawing/2014/chart" uri="{C3380CC4-5D6E-409C-BE32-E72D297353CC}">
              <c16:uniqueId val="{00000005-A317-4990-AD5E-DF35E9825BF6}"/>
            </c:ext>
          </c:extLst>
        </c:ser>
        <c:ser>
          <c:idx val="5"/>
          <c:order val="5"/>
          <c:tx>
            <c:strRef>
              <c:f>'DRT Rolling Mean'!$H$1</c:f>
              <c:strCache>
                <c:ptCount val="1"/>
                <c:pt idx="0">
                  <c:v>Horse Power</c:v>
                </c:pt>
              </c:strCache>
            </c:strRef>
          </c:tx>
          <c:spPr>
            <a:ln w="28575" cap="rnd">
              <a:solidFill>
                <a:schemeClr val="accent6"/>
              </a:solidFill>
              <a:round/>
            </a:ln>
            <a:effectLst/>
          </c:spPr>
          <c:marker>
            <c:symbol val="none"/>
          </c:marker>
          <c:cat>
            <c:numRef>
              <c:f>'DRT Rolling Mean'!$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H$2:$H$2453</c:f>
              <c:numCache>
                <c:formatCode>#,##0.00</c:formatCode>
                <c:ptCount val="2452"/>
                <c:pt idx="0">
                  <c:v>3.4351829103505889</c:v>
                </c:pt>
                <c:pt idx="1">
                  <c:v>3.4190415939857011</c:v>
                </c:pt>
                <c:pt idx="2">
                  <c:v>3.4130408078028642</c:v>
                </c:pt>
                <c:pt idx="3">
                  <c:v>3.41927499201533</c:v>
                </c:pt>
                <c:pt idx="4">
                  <c:v>3.4174385180453526</c:v>
                </c:pt>
                <c:pt idx="5">
                  <c:v>3.416885733238336</c:v>
                </c:pt>
                <c:pt idx="6">
                  <c:v>3.4058546053116476</c:v>
                </c:pt>
                <c:pt idx="7">
                  <c:v>3.3924280765545531</c:v>
                </c:pt>
                <c:pt idx="8">
                  <c:v>3.3654951723460185</c:v>
                </c:pt>
                <c:pt idx="9">
                  <c:v>3.3555634719799516</c:v>
                </c:pt>
                <c:pt idx="10">
                  <c:v>3.3789278431565233</c:v>
                </c:pt>
                <c:pt idx="11">
                  <c:v>3.3709063214013715</c:v>
                </c:pt>
                <c:pt idx="12">
                  <c:v>3.3824042453873182</c:v>
                </c:pt>
                <c:pt idx="13">
                  <c:v>3.3943259710586449</c:v>
                </c:pt>
                <c:pt idx="14">
                  <c:v>3.4076050905338677</c:v>
                </c:pt>
                <c:pt idx="15">
                  <c:v>3.4194408274574357</c:v>
                </c:pt>
                <c:pt idx="16">
                  <c:v>3.4308404785888023</c:v>
                </c:pt>
                <c:pt idx="17">
                  <c:v>3.4388005798098424</c:v>
                </c:pt>
                <c:pt idx="18">
                  <c:v>3.4391322506940525</c:v>
                </c:pt>
                <c:pt idx="19">
                  <c:v>3.436902685305752</c:v>
                </c:pt>
                <c:pt idx="20">
                  <c:v>3.4300542957521563</c:v>
                </c:pt>
                <c:pt idx="21">
                  <c:v>3.4189740313981778</c:v>
                </c:pt>
                <c:pt idx="22">
                  <c:v>3.4033916418937182</c:v>
                </c:pt>
                <c:pt idx="23">
                  <c:v>3.392802741812643</c:v>
                </c:pt>
                <c:pt idx="24">
                  <c:v>3.388245338181461</c:v>
                </c:pt>
                <c:pt idx="25">
                  <c:v>3.3624425718006039</c:v>
                </c:pt>
                <c:pt idx="26">
                  <c:v>3.374112473282068</c:v>
                </c:pt>
                <c:pt idx="27">
                  <c:v>3.3568533031963246</c:v>
                </c:pt>
                <c:pt idx="28">
                  <c:v>3.3510183524555925</c:v>
                </c:pt>
                <c:pt idx="29">
                  <c:v>3.3268125199616732</c:v>
                </c:pt>
                <c:pt idx="30">
                  <c:v>3.3229675945262009</c:v>
                </c:pt>
                <c:pt idx="31">
                  <c:v>3.2991302852369597</c:v>
                </c:pt>
                <c:pt idx="32">
                  <c:v>3.2979018745547006</c:v>
                </c:pt>
                <c:pt idx="33">
                  <c:v>3.2992347001449525</c:v>
                </c:pt>
                <c:pt idx="34">
                  <c:v>3.3043018942092726</c:v>
                </c:pt>
                <c:pt idx="35">
                  <c:v>3.3139387760115966</c:v>
                </c:pt>
                <c:pt idx="36">
                  <c:v>3.3072316536864608</c:v>
                </c:pt>
                <c:pt idx="37">
                  <c:v>3.2960101221040219</c:v>
                </c:pt>
                <c:pt idx="38">
                  <c:v>3.3094305088077052</c:v>
                </c:pt>
                <c:pt idx="39">
                  <c:v>3.3128024961305065</c:v>
                </c:pt>
                <c:pt idx="40">
                  <c:v>3.3294536029285307</c:v>
                </c:pt>
                <c:pt idx="41">
                  <c:v>3.312206716949611</c:v>
                </c:pt>
                <c:pt idx="42">
                  <c:v>3.3092646733655999</c:v>
                </c:pt>
                <c:pt idx="43">
                  <c:v>3.3014888337468986</c:v>
                </c:pt>
                <c:pt idx="44">
                  <c:v>3.2959179913028529</c:v>
                </c:pt>
                <c:pt idx="45">
                  <c:v>3.2861029899516008</c:v>
                </c:pt>
                <c:pt idx="46">
                  <c:v>3.2705820209812546</c:v>
                </c:pt>
                <c:pt idx="47">
                  <c:v>3.2557919563668527</c:v>
                </c:pt>
                <c:pt idx="48">
                  <c:v>3.260392354371914</c:v>
                </c:pt>
                <c:pt idx="49">
                  <c:v>3.2598395695648978</c:v>
                </c:pt>
                <c:pt idx="50">
                  <c:v>3.2891310222833705</c:v>
                </c:pt>
                <c:pt idx="51">
                  <c:v>3.3198167211262075</c:v>
                </c:pt>
                <c:pt idx="52">
                  <c:v>3.3075080460899695</c:v>
                </c:pt>
                <c:pt idx="53">
                  <c:v>3.3008132078716566</c:v>
                </c:pt>
                <c:pt idx="54">
                  <c:v>3.3193376409601267</c:v>
                </c:pt>
                <c:pt idx="55">
                  <c:v>3.3250006142053419</c:v>
                </c:pt>
                <c:pt idx="56">
                  <c:v>3.3311918040439288</c:v>
                </c:pt>
                <c:pt idx="57">
                  <c:v>3.3338574552244316</c:v>
                </c:pt>
                <c:pt idx="58">
                  <c:v>3.3397292582856304</c:v>
                </c:pt>
                <c:pt idx="59">
                  <c:v>3.3468663243495569</c:v>
                </c:pt>
                <c:pt idx="60">
                  <c:v>3.3517308306513036</c:v>
                </c:pt>
                <c:pt idx="61">
                  <c:v>3.3614414170945635</c:v>
                </c:pt>
                <c:pt idx="62">
                  <c:v>3.3865317052797095</c:v>
                </c:pt>
                <c:pt idx="63">
                  <c:v>3.4011497923985949</c:v>
                </c:pt>
                <c:pt idx="64">
                  <c:v>3.3951367221089357</c:v>
                </c:pt>
                <c:pt idx="65">
                  <c:v>3.3870599218730808</c:v>
                </c:pt>
                <c:pt idx="66">
                  <c:v>3.3840380315947232</c:v>
                </c:pt>
                <c:pt idx="67">
                  <c:v>3.4021693732648708</c:v>
                </c:pt>
                <c:pt idx="68">
                  <c:v>3.4194899638847267</c:v>
                </c:pt>
                <c:pt idx="69">
                  <c:v>3.4114131636488714</c:v>
                </c:pt>
                <c:pt idx="70">
                  <c:v>3.4438984841412186</c:v>
                </c:pt>
                <c:pt idx="71">
                  <c:v>3.4529887231899372</c:v>
                </c:pt>
                <c:pt idx="72">
                  <c:v>3.4625273321376806</c:v>
                </c:pt>
                <c:pt idx="73">
                  <c:v>3.4835638650713707</c:v>
                </c:pt>
                <c:pt idx="74">
                  <c:v>3.4872122447976803</c:v>
                </c:pt>
                <c:pt idx="75">
                  <c:v>3.4767891801587094</c:v>
                </c:pt>
                <c:pt idx="76">
                  <c:v>3.4796145247279062</c:v>
                </c:pt>
                <c:pt idx="77">
                  <c:v>3.4852345035992425</c:v>
                </c:pt>
                <c:pt idx="78">
                  <c:v>3.4907009311352959</c:v>
                </c:pt>
                <c:pt idx="79">
                  <c:v>3.4821696189470055</c:v>
                </c:pt>
                <c:pt idx="80">
                  <c:v>3.4990295555610138</c:v>
                </c:pt>
                <c:pt idx="81">
                  <c:v>3.4854679016288714</c:v>
                </c:pt>
                <c:pt idx="82">
                  <c:v>3.4824091590300457</c:v>
                </c:pt>
                <c:pt idx="83">
                  <c:v>3.5082856300518386</c:v>
                </c:pt>
                <c:pt idx="84">
                  <c:v>3.5181620519372028</c:v>
                </c:pt>
                <c:pt idx="85">
                  <c:v>3.5056384050315703</c:v>
                </c:pt>
                <c:pt idx="86">
                  <c:v>3.5105766159742533</c:v>
                </c:pt>
                <c:pt idx="87">
                  <c:v>3.5127877552023201</c:v>
                </c:pt>
                <c:pt idx="88">
                  <c:v>3.5283578605999564</c:v>
                </c:pt>
                <c:pt idx="89">
                  <c:v>3.5363056777141741</c:v>
                </c:pt>
                <c:pt idx="90">
                  <c:v>3.5456723091664011</c:v>
                </c:pt>
                <c:pt idx="91">
                  <c:v>3.5409306439328807</c:v>
                </c:pt>
                <c:pt idx="92">
                  <c:v>3.5125359310124566</c:v>
                </c:pt>
                <c:pt idx="93">
                  <c:v>3.5028683389430761</c:v>
                </c:pt>
                <c:pt idx="94">
                  <c:v>3.4810149129056831</c:v>
                </c:pt>
                <c:pt idx="95">
                  <c:v>3.4719001056433192</c:v>
                </c:pt>
                <c:pt idx="96">
                  <c:v>3.4751983883251851</c:v>
                </c:pt>
                <c:pt idx="97">
                  <c:v>3.4877036090705844</c:v>
                </c:pt>
                <c:pt idx="98">
                  <c:v>3.4804682701520773</c:v>
                </c:pt>
                <c:pt idx="99">
                  <c:v>3.477833329238631</c:v>
                </c:pt>
                <c:pt idx="100">
                  <c:v>3.4797127975824873</c:v>
                </c:pt>
                <c:pt idx="101">
                  <c:v>3.4491192295408193</c:v>
                </c:pt>
                <c:pt idx="102">
                  <c:v>3.4523253814215167</c:v>
                </c:pt>
                <c:pt idx="103">
                  <c:v>3.4378301353708571</c:v>
                </c:pt>
                <c:pt idx="104">
                  <c:v>3.4279721396457266</c:v>
                </c:pt>
                <c:pt idx="105">
                  <c:v>3.4350477851755397</c:v>
                </c:pt>
                <c:pt idx="106">
                  <c:v>3.4456796796304938</c:v>
                </c:pt>
                <c:pt idx="107">
                  <c:v>3.4480750804608995</c:v>
                </c:pt>
                <c:pt idx="108">
                  <c:v>3.4468773800456964</c:v>
                </c:pt>
                <c:pt idx="109">
                  <c:v>3.4627238778468419</c:v>
                </c:pt>
                <c:pt idx="110">
                  <c:v>3.459063214013709</c:v>
                </c:pt>
                <c:pt idx="111">
                  <c:v>3.4451883153575902</c:v>
                </c:pt>
                <c:pt idx="112">
                  <c:v>3.4378239933174459</c:v>
                </c:pt>
                <c:pt idx="113">
                  <c:v>3.4431798638920963</c:v>
                </c:pt>
                <c:pt idx="114">
                  <c:v>3.4166707613689407</c:v>
                </c:pt>
                <c:pt idx="115">
                  <c:v>3.4248826867798443</c:v>
                </c:pt>
                <c:pt idx="116">
                  <c:v>3.4054123774660345</c:v>
                </c:pt>
                <c:pt idx="117">
                  <c:v>3.4063705377981965</c:v>
                </c:pt>
                <c:pt idx="118">
                  <c:v>3.3999582340368031</c:v>
                </c:pt>
                <c:pt idx="119">
                  <c:v>3.3760963565339166</c:v>
                </c:pt>
                <c:pt idx="120">
                  <c:v>3.3642114831830576</c:v>
                </c:pt>
                <c:pt idx="121">
                  <c:v>3.3557661597425255</c:v>
                </c:pt>
                <c:pt idx="122">
                  <c:v>3.3563189445495416</c:v>
                </c:pt>
                <c:pt idx="123">
                  <c:v>3.3584748052969067</c:v>
                </c:pt>
                <c:pt idx="124">
                  <c:v>3.3565462005257598</c:v>
                </c:pt>
                <c:pt idx="125">
                  <c:v>3.375604992261013</c:v>
                </c:pt>
                <c:pt idx="126">
                  <c:v>3.3905854605311649</c:v>
                </c:pt>
                <c:pt idx="127">
                  <c:v>3.4144043436601721</c:v>
                </c:pt>
                <c:pt idx="128">
                  <c:v>3.4025010441490799</c:v>
                </c:pt>
                <c:pt idx="129">
                  <c:v>3.4060511510208089</c:v>
                </c:pt>
                <c:pt idx="130">
                  <c:v>3.4156081861287864</c:v>
                </c:pt>
                <c:pt idx="131">
                  <c:v>3.4220020637299462</c:v>
                </c:pt>
                <c:pt idx="132">
                  <c:v>3.4411161339459002</c:v>
                </c:pt>
                <c:pt idx="133">
                  <c:v>3.4342984546593613</c:v>
                </c:pt>
                <c:pt idx="134">
                  <c:v>3.4487691324963761</c:v>
                </c:pt>
                <c:pt idx="135">
                  <c:v>3.4469879370070999</c:v>
                </c:pt>
                <c:pt idx="136">
                  <c:v>3.435846252119009</c:v>
                </c:pt>
                <c:pt idx="137">
                  <c:v>3.4156757487163114</c:v>
                </c:pt>
                <c:pt idx="138">
                  <c:v>3.428930299977889</c:v>
                </c:pt>
                <c:pt idx="139">
                  <c:v>3.4335368400363615</c:v>
                </c:pt>
                <c:pt idx="140">
                  <c:v>3.4149387023069555</c:v>
                </c:pt>
                <c:pt idx="141">
                  <c:v>3.430785200108101</c:v>
                </c:pt>
                <c:pt idx="142">
                  <c:v>3.4166584772621182</c:v>
                </c:pt>
                <c:pt idx="143">
                  <c:v>3.4064442424391319</c:v>
                </c:pt>
                <c:pt idx="144">
                  <c:v>3.4027958627128219</c:v>
                </c:pt>
                <c:pt idx="145">
                  <c:v>3.4087905068422475</c:v>
                </c:pt>
                <c:pt idx="146">
                  <c:v>3.405848463258236</c:v>
                </c:pt>
                <c:pt idx="147">
                  <c:v>3.4192258555880399</c:v>
                </c:pt>
                <c:pt idx="148">
                  <c:v>3.4129793872687508</c:v>
                </c:pt>
                <c:pt idx="149">
                  <c:v>3.4092204505810373</c:v>
                </c:pt>
                <c:pt idx="150">
                  <c:v>3.4228312409404706</c:v>
                </c:pt>
                <c:pt idx="151">
                  <c:v>3.4246370046433916</c:v>
                </c:pt>
                <c:pt idx="152">
                  <c:v>3.4447583716187995</c:v>
                </c:pt>
                <c:pt idx="153">
                  <c:v>3.4611699383337835</c:v>
                </c:pt>
                <c:pt idx="154">
                  <c:v>3.4734233348893202</c:v>
                </c:pt>
                <c:pt idx="155">
                  <c:v>3.4742279438862003</c:v>
                </c:pt>
                <c:pt idx="156">
                  <c:v>3.4767891801587116</c:v>
                </c:pt>
                <c:pt idx="157">
                  <c:v>3.4731653686460464</c:v>
                </c:pt>
                <c:pt idx="158">
                  <c:v>3.4549111859076733</c:v>
                </c:pt>
                <c:pt idx="159">
                  <c:v>3.4698609439107688</c:v>
                </c:pt>
                <c:pt idx="160">
                  <c:v>3.4687553742967356</c:v>
                </c:pt>
                <c:pt idx="161">
                  <c:v>3.4490762351669413</c:v>
                </c:pt>
                <c:pt idx="162">
                  <c:v>3.4444512689482347</c:v>
                </c:pt>
                <c:pt idx="163">
                  <c:v>3.4434194039751373</c:v>
                </c:pt>
                <c:pt idx="164">
                  <c:v>3.4345011424219347</c:v>
                </c:pt>
                <c:pt idx="165">
                  <c:v>3.4253371987322803</c:v>
                </c:pt>
                <c:pt idx="166">
                  <c:v>3.4228619512075276</c:v>
                </c:pt>
                <c:pt idx="167">
                  <c:v>3.4434316880819598</c:v>
                </c:pt>
                <c:pt idx="168">
                  <c:v>3.4535415079969538</c:v>
                </c:pt>
                <c:pt idx="169">
                  <c:v>3.4311537233127778</c:v>
                </c:pt>
                <c:pt idx="170">
                  <c:v>3.4309387514433825</c:v>
                </c:pt>
                <c:pt idx="171">
                  <c:v>3.459364174630863</c:v>
                </c:pt>
                <c:pt idx="172">
                  <c:v>3.4266208878952411</c:v>
                </c:pt>
                <c:pt idx="173">
                  <c:v>3.44509004250301</c:v>
                </c:pt>
                <c:pt idx="174">
                  <c:v>3.4745596147704103</c:v>
                </c:pt>
                <c:pt idx="175">
                  <c:v>3.4658993194604828</c:v>
                </c:pt>
                <c:pt idx="176">
                  <c:v>3.4599046753310576</c:v>
                </c:pt>
                <c:pt idx="177">
                  <c:v>3.454382969314302</c:v>
                </c:pt>
                <c:pt idx="178">
                  <c:v>3.4683622828784122</c:v>
                </c:pt>
                <c:pt idx="179">
                  <c:v>3.4656597793774417</c:v>
                </c:pt>
                <c:pt idx="180">
                  <c:v>3.4710647863793831</c:v>
                </c:pt>
                <c:pt idx="181">
                  <c:v>3.463940004422279</c:v>
                </c:pt>
                <c:pt idx="182">
                  <c:v>3.4469326585263991</c:v>
                </c:pt>
                <c:pt idx="183">
                  <c:v>3.4195022479915487</c:v>
                </c:pt>
                <c:pt idx="184">
                  <c:v>3.3914822003292149</c:v>
                </c:pt>
                <c:pt idx="185">
                  <c:v>3.3883313269292192</c:v>
                </c:pt>
                <c:pt idx="186">
                  <c:v>3.3872748937424757</c:v>
                </c:pt>
                <c:pt idx="187">
                  <c:v>3.3716986462914287</c:v>
                </c:pt>
                <c:pt idx="188">
                  <c:v>3.3684126477163843</c:v>
                </c:pt>
                <c:pt idx="189">
                  <c:v>3.3651696435152201</c:v>
                </c:pt>
                <c:pt idx="190">
                  <c:v>3.3744195759526328</c:v>
                </c:pt>
                <c:pt idx="191">
                  <c:v>3.3647151315627846</c:v>
                </c:pt>
                <c:pt idx="192">
                  <c:v>3.3598014888337482</c:v>
                </c:pt>
                <c:pt idx="193">
                  <c:v>3.3439427069257808</c:v>
                </c:pt>
                <c:pt idx="194">
                  <c:v>3.342063238581924</c:v>
                </c:pt>
                <c:pt idx="195">
                  <c:v>3.3376409601257904</c:v>
                </c:pt>
                <c:pt idx="196">
                  <c:v>3.3456870500945883</c:v>
                </c:pt>
                <c:pt idx="197">
                  <c:v>3.3311488096700503</c:v>
                </c:pt>
                <c:pt idx="198">
                  <c:v>3.3321376802692684</c:v>
                </c:pt>
                <c:pt idx="199">
                  <c:v>3.3237844876299047</c:v>
                </c:pt>
                <c:pt idx="200">
                  <c:v>3.3410682259292934</c:v>
                </c:pt>
                <c:pt idx="201">
                  <c:v>3.3488870599218732</c:v>
                </c:pt>
                <c:pt idx="202">
                  <c:v>3.3467803356017987</c:v>
                </c:pt>
                <c:pt idx="203">
                  <c:v>3.3683205169152153</c:v>
                </c:pt>
                <c:pt idx="204">
                  <c:v>3.3596295113382304</c:v>
                </c:pt>
                <c:pt idx="205">
                  <c:v>3.3396555536446946</c:v>
                </c:pt>
                <c:pt idx="206">
                  <c:v>3.3399135198879693</c:v>
                </c:pt>
                <c:pt idx="207">
                  <c:v>3.3535857307815151</c:v>
                </c:pt>
                <c:pt idx="208">
                  <c:v>3.3595988010711739</c:v>
                </c:pt>
                <c:pt idx="209">
                  <c:v>3.3458713116969263</c:v>
                </c:pt>
                <c:pt idx="210">
                  <c:v>3.3384824214431368</c:v>
                </c:pt>
                <c:pt idx="211">
                  <c:v>3.3378436478883624</c:v>
                </c:pt>
                <c:pt idx="212">
                  <c:v>3.3544517603125081</c:v>
                </c:pt>
                <c:pt idx="213">
                  <c:v>3.3950384492543555</c:v>
                </c:pt>
                <c:pt idx="214">
                  <c:v>3.4334139989681356</c:v>
                </c:pt>
                <c:pt idx="215">
                  <c:v>3.4834594501633798</c:v>
                </c:pt>
                <c:pt idx="216">
                  <c:v>3.5233520870697497</c:v>
                </c:pt>
                <c:pt idx="217">
                  <c:v>3.5625138196201762</c:v>
                </c:pt>
                <c:pt idx="218">
                  <c:v>3.6083089698548023</c:v>
                </c:pt>
                <c:pt idx="219">
                  <c:v>3.6432265434980224</c:v>
                </c:pt>
                <c:pt idx="220">
                  <c:v>3.6723153084539217</c:v>
                </c:pt>
                <c:pt idx="221">
                  <c:v>3.6861226445225159</c:v>
                </c:pt>
                <c:pt idx="222">
                  <c:v>3.7171952927302652</c:v>
                </c:pt>
                <c:pt idx="223">
                  <c:v>3.761663759428052</c:v>
                </c:pt>
                <c:pt idx="224">
                  <c:v>3.8068569884283709</c:v>
                </c:pt>
                <c:pt idx="225">
                  <c:v>3.8374566985234502</c:v>
                </c:pt>
                <c:pt idx="226">
                  <c:v>3.8766921357148116</c:v>
                </c:pt>
                <c:pt idx="227">
                  <c:v>3.9000565068913846</c:v>
                </c:pt>
                <c:pt idx="228">
                  <c:v>3.9575829791415869</c:v>
                </c:pt>
                <c:pt idx="229">
                  <c:v>3.9680060437805564</c:v>
                </c:pt>
                <c:pt idx="230">
                  <c:v>4.0144522516767802</c:v>
                </c:pt>
                <c:pt idx="231">
                  <c:v>4.0432277719087049</c:v>
                </c:pt>
                <c:pt idx="232">
                  <c:v>4.0529076480849078</c:v>
                </c:pt>
                <c:pt idx="233">
                  <c:v>4.0656401248065253</c:v>
                </c:pt>
                <c:pt idx="234">
                  <c:v>4.0871925902267652</c:v>
                </c:pt>
                <c:pt idx="235">
                  <c:v>4.1219013340540016</c:v>
                </c:pt>
                <c:pt idx="236">
                  <c:v>4.1549701496204223</c:v>
                </c:pt>
                <c:pt idx="237">
                  <c:v>4.1916013561653935</c:v>
                </c:pt>
                <c:pt idx="238">
                  <c:v>4.2202540353290923</c:v>
                </c:pt>
                <c:pt idx="239">
                  <c:v>4.2365366189224387</c:v>
                </c:pt>
                <c:pt idx="240">
                  <c:v>4.2670503402697584</c:v>
                </c:pt>
                <c:pt idx="241">
                  <c:v>4.3120900179347963</c:v>
                </c:pt>
                <c:pt idx="242">
                  <c:v>4.357639486032971</c:v>
                </c:pt>
                <c:pt idx="243">
                  <c:v>4.378952411370169</c:v>
                </c:pt>
                <c:pt idx="244">
                  <c:v>4.3912488022995841</c:v>
                </c:pt>
                <c:pt idx="245">
                  <c:v>4.3832027123307853</c:v>
                </c:pt>
                <c:pt idx="246">
                  <c:v>4.3722944254723233</c:v>
                </c:pt>
                <c:pt idx="247">
                  <c:v>4.3606490922045058</c:v>
                </c:pt>
                <c:pt idx="248">
                  <c:v>4.359174999385794</c:v>
                </c:pt>
                <c:pt idx="249">
                  <c:v>4.3429599783799713</c:v>
                </c:pt>
                <c:pt idx="250">
                  <c:v>4.3369407660368999</c:v>
                </c:pt>
                <c:pt idx="251">
                  <c:v>4.3343918138712123</c:v>
                </c:pt>
                <c:pt idx="252">
                  <c:v>4.3264071444365273</c:v>
                </c:pt>
                <c:pt idx="253">
                  <c:v>4.3328440164115651</c:v>
                </c:pt>
                <c:pt idx="254">
                  <c:v>4.3257438026681072</c:v>
                </c:pt>
                <c:pt idx="255">
                  <c:v>4.3265115593445191</c:v>
                </c:pt>
                <c:pt idx="256">
                  <c:v>4.322218264010024</c:v>
                </c:pt>
                <c:pt idx="257">
                  <c:v>4.2889467606810312</c:v>
                </c:pt>
                <c:pt idx="258">
                  <c:v>4.2635002333980294</c:v>
                </c:pt>
                <c:pt idx="259">
                  <c:v>4.2230548116846425</c:v>
                </c:pt>
                <c:pt idx="260">
                  <c:v>4.2039345994152759</c:v>
                </c:pt>
                <c:pt idx="261">
                  <c:v>4.1674630862589979</c:v>
                </c:pt>
                <c:pt idx="262">
                  <c:v>4.1310529936368328</c:v>
                </c:pt>
                <c:pt idx="263">
                  <c:v>4.1098997616883279</c:v>
                </c:pt>
                <c:pt idx="264">
                  <c:v>4.0801722231776525</c:v>
                </c:pt>
                <c:pt idx="265">
                  <c:v>4.069356067120359</c:v>
                </c:pt>
                <c:pt idx="266">
                  <c:v>4.0498059111122036</c:v>
                </c:pt>
                <c:pt idx="267">
                  <c:v>4.0229282853843698</c:v>
                </c:pt>
                <c:pt idx="268">
                  <c:v>3.9798049283836572</c:v>
                </c:pt>
                <c:pt idx="269">
                  <c:v>3.9519998525907183</c:v>
                </c:pt>
                <c:pt idx="270">
                  <c:v>3.9239613787681504</c:v>
                </c:pt>
                <c:pt idx="271">
                  <c:v>3.9080411763260692</c:v>
                </c:pt>
                <c:pt idx="272">
                  <c:v>3.8691926884996195</c:v>
                </c:pt>
                <c:pt idx="273">
                  <c:v>3.8279672260029978</c:v>
                </c:pt>
                <c:pt idx="274">
                  <c:v>3.7910903373215739</c:v>
                </c:pt>
                <c:pt idx="275">
                  <c:v>3.7593604893988162</c:v>
                </c:pt>
                <c:pt idx="276">
                  <c:v>3.7390855710881268</c:v>
                </c:pt>
                <c:pt idx="277">
                  <c:v>3.7254747807286939</c:v>
                </c:pt>
                <c:pt idx="278">
                  <c:v>3.7010539763653791</c:v>
                </c:pt>
                <c:pt idx="279">
                  <c:v>3.6704665503771232</c:v>
                </c:pt>
                <c:pt idx="280">
                  <c:v>3.6566960666289963</c:v>
                </c:pt>
                <c:pt idx="281">
                  <c:v>3.6181239712060544</c:v>
                </c:pt>
                <c:pt idx="282">
                  <c:v>3.5861054467729656</c:v>
                </c:pt>
                <c:pt idx="283">
                  <c:v>3.5747672161757125</c:v>
                </c:pt>
                <c:pt idx="284">
                  <c:v>3.5495233766552841</c:v>
                </c:pt>
                <c:pt idx="285">
                  <c:v>3.5391310222833696</c:v>
                </c:pt>
                <c:pt idx="286">
                  <c:v>3.4963516202736895</c:v>
                </c:pt>
                <c:pt idx="287">
                  <c:v>3.4868191533793578</c:v>
                </c:pt>
                <c:pt idx="288">
                  <c:v>3.4912475738889022</c:v>
                </c:pt>
                <c:pt idx="289">
                  <c:v>3.4954548804756405</c:v>
                </c:pt>
                <c:pt idx="290">
                  <c:v>3.5008537454241702</c:v>
                </c:pt>
                <c:pt idx="291">
                  <c:v>3.4830172223177653</c:v>
                </c:pt>
                <c:pt idx="292">
                  <c:v>3.49242070609046</c:v>
                </c:pt>
                <c:pt idx="293">
                  <c:v>3.4959216765348988</c:v>
                </c:pt>
                <c:pt idx="294">
                  <c:v>3.5086971476303961</c:v>
                </c:pt>
                <c:pt idx="295">
                  <c:v>3.5000859887477578</c:v>
                </c:pt>
                <c:pt idx="296">
                  <c:v>3.4754563545684594</c:v>
                </c:pt>
                <c:pt idx="297">
                  <c:v>3.4602240621084439</c:v>
                </c:pt>
                <c:pt idx="298">
                  <c:v>3.4580497752008452</c:v>
                </c:pt>
                <c:pt idx="299">
                  <c:v>3.4804375598850208</c:v>
                </c:pt>
                <c:pt idx="300">
                  <c:v>3.4939807876569291</c:v>
                </c:pt>
                <c:pt idx="301">
                  <c:v>3.4845834459376461</c:v>
                </c:pt>
                <c:pt idx="302">
                  <c:v>3.4595607203400243</c:v>
                </c:pt>
                <c:pt idx="303">
                  <c:v>3.4612375009213081</c:v>
                </c:pt>
                <c:pt idx="304">
                  <c:v>3.4629941281969394</c:v>
                </c:pt>
                <c:pt idx="305">
                  <c:v>3.4499361226445227</c:v>
                </c:pt>
                <c:pt idx="306">
                  <c:v>3.4351092057096531</c:v>
                </c:pt>
                <c:pt idx="307">
                  <c:v>3.4291698400609301</c:v>
                </c:pt>
                <c:pt idx="308">
                  <c:v>3.4371422253887927</c:v>
                </c:pt>
                <c:pt idx="309">
                  <c:v>3.4355084391813877</c:v>
                </c:pt>
                <c:pt idx="310">
                  <c:v>3.4336412549443533</c:v>
                </c:pt>
                <c:pt idx="311">
                  <c:v>3.4218546544480763</c:v>
                </c:pt>
                <c:pt idx="312">
                  <c:v>3.4260558189814017</c:v>
                </c:pt>
                <c:pt idx="313">
                  <c:v>3.4141525194703086</c:v>
                </c:pt>
                <c:pt idx="314">
                  <c:v>3.3977593789155582</c:v>
                </c:pt>
                <c:pt idx="315">
                  <c:v>3.413882269120212</c:v>
                </c:pt>
                <c:pt idx="316">
                  <c:v>3.3919919907623517</c:v>
                </c:pt>
                <c:pt idx="317">
                  <c:v>3.4161671129892146</c:v>
                </c:pt>
                <c:pt idx="318">
                  <c:v>3.3965555364469444</c:v>
                </c:pt>
                <c:pt idx="319">
                  <c:v>3.3949893128270645</c:v>
                </c:pt>
                <c:pt idx="320">
                  <c:v>3.3950998697884676</c:v>
                </c:pt>
                <c:pt idx="321">
                  <c:v>3.3775335970321598</c:v>
                </c:pt>
                <c:pt idx="322">
                  <c:v>3.3863535857307818</c:v>
                </c:pt>
                <c:pt idx="323">
                  <c:v>3.397894504090607</c:v>
                </c:pt>
                <c:pt idx="324">
                  <c:v>3.4000687909982066</c:v>
                </c:pt>
                <c:pt idx="325">
                  <c:v>3.374757388890254</c:v>
                </c:pt>
                <c:pt idx="326">
                  <c:v>3.3882576222882834</c:v>
                </c:pt>
                <c:pt idx="327">
                  <c:v>3.3932081173377888</c:v>
                </c:pt>
                <c:pt idx="328">
                  <c:v>3.4019912537159431</c:v>
                </c:pt>
                <c:pt idx="329">
                  <c:v>3.4236051396702956</c:v>
                </c:pt>
                <c:pt idx="330">
                  <c:v>3.412610864064074</c:v>
                </c:pt>
                <c:pt idx="331">
                  <c:v>3.3913716433678109</c:v>
                </c:pt>
                <c:pt idx="332">
                  <c:v>3.400554013217699</c:v>
                </c:pt>
                <c:pt idx="333">
                  <c:v>3.3973847136574702</c:v>
                </c:pt>
                <c:pt idx="334">
                  <c:v>3.4001793479596096</c:v>
                </c:pt>
                <c:pt idx="335">
                  <c:v>3.4012480652531751</c:v>
                </c:pt>
                <c:pt idx="336">
                  <c:v>3.4272658035034271</c:v>
                </c:pt>
                <c:pt idx="337">
                  <c:v>3.439427069257794</c:v>
                </c:pt>
                <c:pt idx="338">
                  <c:v>3.438075817507309</c:v>
                </c:pt>
                <c:pt idx="339">
                  <c:v>3.4392919440827456</c:v>
                </c:pt>
                <c:pt idx="340">
                  <c:v>3.4492297865022237</c:v>
                </c:pt>
                <c:pt idx="341">
                  <c:v>3.4582278947497724</c:v>
                </c:pt>
                <c:pt idx="342">
                  <c:v>3.4707883939758735</c:v>
                </c:pt>
                <c:pt idx="343">
                  <c:v>3.468227157703363</c:v>
                </c:pt>
                <c:pt idx="344">
                  <c:v>3.4898656118713611</c:v>
                </c:pt>
                <c:pt idx="345">
                  <c:v>3.4864936245485589</c:v>
                </c:pt>
                <c:pt idx="346">
                  <c:v>3.4609611085177998</c:v>
                </c:pt>
                <c:pt idx="347">
                  <c:v>3.4426086529248465</c:v>
                </c:pt>
                <c:pt idx="348">
                  <c:v>3.4202761467213723</c:v>
                </c:pt>
                <c:pt idx="349">
                  <c:v>3.4104365771564753</c:v>
                </c:pt>
                <c:pt idx="350">
                  <c:v>3.4289180158710666</c:v>
                </c:pt>
                <c:pt idx="351">
                  <c:v>3.4361656388963961</c:v>
                </c:pt>
                <c:pt idx="352">
                  <c:v>3.4535599341571874</c:v>
                </c:pt>
                <c:pt idx="353">
                  <c:v>3.4597818342628308</c:v>
                </c:pt>
                <c:pt idx="354">
                  <c:v>3.4287030440016708</c:v>
                </c:pt>
                <c:pt idx="355">
                  <c:v>3.4213080116944696</c:v>
                </c:pt>
                <c:pt idx="356">
                  <c:v>3.4415399356312806</c:v>
                </c:pt>
                <c:pt idx="357">
                  <c:v>3.425251209984522</c:v>
                </c:pt>
                <c:pt idx="358">
                  <c:v>3.412156352111638</c:v>
                </c:pt>
                <c:pt idx="359">
                  <c:v>3.418851190329951</c:v>
                </c:pt>
                <c:pt idx="360">
                  <c:v>3.3971451735744296</c:v>
                </c:pt>
                <c:pt idx="361">
                  <c:v>3.3868879443775644</c:v>
                </c:pt>
                <c:pt idx="362">
                  <c:v>3.371532810849323</c:v>
                </c:pt>
                <c:pt idx="363">
                  <c:v>3.3708203326536128</c:v>
                </c:pt>
                <c:pt idx="364">
                  <c:v>3.3686460457460141</c:v>
                </c:pt>
                <c:pt idx="365">
                  <c:v>3.3712564184458147</c:v>
                </c:pt>
                <c:pt idx="366">
                  <c:v>3.3694138024224256</c:v>
                </c:pt>
                <c:pt idx="367">
                  <c:v>3.3704518094489346</c:v>
                </c:pt>
                <c:pt idx="368">
                  <c:v>3.379185809399798</c:v>
                </c:pt>
                <c:pt idx="369">
                  <c:v>3.40885192737636</c:v>
                </c:pt>
                <c:pt idx="370">
                  <c:v>3.3911566714984152</c:v>
                </c:pt>
                <c:pt idx="371">
                  <c:v>3.3764648797385934</c:v>
                </c:pt>
                <c:pt idx="372">
                  <c:v>3.3730191877748563</c:v>
                </c:pt>
                <c:pt idx="373">
                  <c:v>3.3521116379628029</c:v>
                </c:pt>
                <c:pt idx="374">
                  <c:v>3.3859727784192808</c:v>
                </c:pt>
                <c:pt idx="375">
                  <c:v>3.3763113284033115</c:v>
                </c:pt>
                <c:pt idx="376">
                  <c:v>3.3714591062083872</c:v>
                </c:pt>
                <c:pt idx="377">
                  <c:v>3.3704026730216445</c:v>
                </c:pt>
                <c:pt idx="378">
                  <c:v>3.3860157727931601</c:v>
                </c:pt>
                <c:pt idx="379">
                  <c:v>3.4012603493599984</c:v>
                </c:pt>
                <c:pt idx="380">
                  <c:v>3.4169594378792718</c:v>
                </c:pt>
                <c:pt idx="381">
                  <c:v>3.4084219836375698</c:v>
                </c:pt>
                <c:pt idx="382">
                  <c:v>3.3975259808859306</c:v>
                </c:pt>
                <c:pt idx="383">
                  <c:v>3.386077193327274</c:v>
                </c:pt>
                <c:pt idx="384">
                  <c:v>3.4037355968847516</c:v>
                </c:pt>
                <c:pt idx="385">
                  <c:v>3.422911087634819</c:v>
                </c:pt>
                <c:pt idx="386">
                  <c:v>3.4184765250718629</c:v>
                </c:pt>
                <c:pt idx="387">
                  <c:v>3.4038338697393318</c:v>
                </c:pt>
                <c:pt idx="388">
                  <c:v>3.415995135493699</c:v>
                </c:pt>
                <c:pt idx="389">
                  <c:v>3.4440520354765014</c:v>
                </c:pt>
                <c:pt idx="390">
                  <c:v>3.4183782522172819</c:v>
                </c:pt>
                <c:pt idx="391">
                  <c:v>3.4197417880745893</c:v>
                </c:pt>
                <c:pt idx="392">
                  <c:v>3.4274807753728234</c:v>
                </c:pt>
                <c:pt idx="393">
                  <c:v>3.4513119426086534</c:v>
                </c:pt>
                <c:pt idx="394">
                  <c:v>3.4682087315431298</c:v>
                </c:pt>
                <c:pt idx="395">
                  <c:v>3.4939685035501071</c:v>
                </c:pt>
                <c:pt idx="396">
                  <c:v>3.5109881335528095</c:v>
                </c:pt>
                <c:pt idx="397">
                  <c:v>3.5146242291722971</c:v>
                </c:pt>
                <c:pt idx="398">
                  <c:v>3.5119647200452051</c:v>
                </c:pt>
                <c:pt idx="399">
                  <c:v>3.4846571505785811</c:v>
                </c:pt>
                <c:pt idx="400">
                  <c:v>3.459253617669459</c:v>
                </c:pt>
                <c:pt idx="401">
                  <c:v>3.4518892956293143</c:v>
                </c:pt>
                <c:pt idx="402">
                  <c:v>3.4538977470948087</c:v>
                </c:pt>
                <c:pt idx="403">
                  <c:v>3.4466194138024222</c:v>
                </c:pt>
                <c:pt idx="404">
                  <c:v>3.4475775741345842</c:v>
                </c:pt>
                <c:pt idx="405">
                  <c:v>3.433942215561506</c:v>
                </c:pt>
                <c:pt idx="406">
                  <c:v>3.4532036950593317</c:v>
                </c:pt>
                <c:pt idx="407">
                  <c:v>3.4736444488121263</c:v>
                </c:pt>
                <c:pt idx="408">
                  <c:v>3.4931270422327594</c:v>
                </c:pt>
                <c:pt idx="409">
                  <c:v>3.497168513377392</c:v>
                </c:pt>
                <c:pt idx="410">
                  <c:v>3.4940852025649214</c:v>
                </c:pt>
                <c:pt idx="411">
                  <c:v>3.4805419747930131</c:v>
                </c:pt>
                <c:pt idx="412">
                  <c:v>3.4815738397661109</c:v>
                </c:pt>
                <c:pt idx="413">
                  <c:v>3.4765987765029602</c:v>
                </c:pt>
                <c:pt idx="414">
                  <c:v>3.508365476746186</c:v>
                </c:pt>
                <c:pt idx="415">
                  <c:v>3.4795285359801493</c:v>
                </c:pt>
                <c:pt idx="416">
                  <c:v>3.4834840183770241</c:v>
                </c:pt>
                <c:pt idx="417">
                  <c:v>3.4727231408004324</c:v>
                </c:pt>
                <c:pt idx="418">
                  <c:v>3.4866103235633741</c:v>
                </c:pt>
                <c:pt idx="419">
                  <c:v>3.482409159030047</c:v>
                </c:pt>
                <c:pt idx="420">
                  <c:v>3.4588298159840796</c:v>
                </c:pt>
                <c:pt idx="421">
                  <c:v>3.4869727047146406</c:v>
                </c:pt>
                <c:pt idx="422">
                  <c:v>3.4754932068889275</c:v>
                </c:pt>
                <c:pt idx="423">
                  <c:v>3.4566985234503602</c:v>
                </c:pt>
                <c:pt idx="424">
                  <c:v>3.444070461636735</c:v>
                </c:pt>
                <c:pt idx="425">
                  <c:v>3.4180281551728378</c:v>
                </c:pt>
                <c:pt idx="426">
                  <c:v>3.4073286981303599</c:v>
                </c:pt>
                <c:pt idx="427">
                  <c:v>3.3992457558410933</c:v>
                </c:pt>
                <c:pt idx="428">
                  <c:v>3.3880242242586549</c:v>
                </c:pt>
                <c:pt idx="429">
                  <c:v>3.387459155344815</c:v>
                </c:pt>
                <c:pt idx="430">
                  <c:v>3.4029616981549271</c:v>
                </c:pt>
                <c:pt idx="431">
                  <c:v>3.3831597179569068</c:v>
                </c:pt>
                <c:pt idx="432">
                  <c:v>3.3868940864309756</c:v>
                </c:pt>
                <c:pt idx="433">
                  <c:v>3.402924845834459</c:v>
                </c:pt>
                <c:pt idx="434">
                  <c:v>3.419729503967766</c:v>
                </c:pt>
                <c:pt idx="435">
                  <c:v>3.427873866791145</c:v>
                </c:pt>
                <c:pt idx="436">
                  <c:v>3.4021079527307565</c:v>
                </c:pt>
                <c:pt idx="437">
                  <c:v>3.3798982875955081</c:v>
                </c:pt>
                <c:pt idx="438">
                  <c:v>3.3750337812937614</c:v>
                </c:pt>
                <c:pt idx="439">
                  <c:v>3.3578667420091883</c:v>
                </c:pt>
                <c:pt idx="440">
                  <c:v>3.3641930570228231</c:v>
                </c:pt>
                <c:pt idx="441">
                  <c:v>3.3653968994914378</c:v>
                </c:pt>
                <c:pt idx="442">
                  <c:v>3.366723583028278</c:v>
                </c:pt>
                <c:pt idx="443">
                  <c:v>3.3543473454045154</c:v>
                </c:pt>
                <c:pt idx="444">
                  <c:v>3.3500970444438982</c:v>
                </c:pt>
                <c:pt idx="445">
                  <c:v>3.3123848364985382</c:v>
                </c:pt>
                <c:pt idx="446">
                  <c:v>3.3300678082696606</c:v>
                </c:pt>
                <c:pt idx="447">
                  <c:v>3.3195648969363436</c:v>
                </c:pt>
                <c:pt idx="448">
                  <c:v>3.3486413777854218</c:v>
                </c:pt>
                <c:pt idx="449">
                  <c:v>3.3403188954131147</c:v>
                </c:pt>
                <c:pt idx="450">
                  <c:v>3.3689408643097574</c:v>
                </c:pt>
                <c:pt idx="451">
                  <c:v>3.3741186153354796</c:v>
                </c:pt>
                <c:pt idx="452">
                  <c:v>3.3553976365378482</c:v>
                </c:pt>
                <c:pt idx="453">
                  <c:v>3.3510859150431176</c:v>
                </c:pt>
                <c:pt idx="454">
                  <c:v>3.388798122988478</c:v>
                </c:pt>
                <c:pt idx="455">
                  <c:v>3.3995835687787146</c:v>
                </c:pt>
                <c:pt idx="456">
                  <c:v>3.4303368302090758</c:v>
                </c:pt>
                <c:pt idx="457">
                  <c:v>3.4416873449131513</c:v>
                </c:pt>
                <c:pt idx="458">
                  <c:v>3.4223153084539222</c:v>
                </c:pt>
                <c:pt idx="459">
                  <c:v>3.4286723337346143</c:v>
                </c:pt>
                <c:pt idx="460">
                  <c:v>3.4135628823428252</c:v>
                </c:pt>
                <c:pt idx="461">
                  <c:v>3.40600815664693</c:v>
                </c:pt>
                <c:pt idx="462">
                  <c:v>3.4055167923740264</c:v>
                </c:pt>
                <c:pt idx="463">
                  <c:v>3.4131329386040337</c:v>
                </c:pt>
                <c:pt idx="464">
                  <c:v>3.3974522762449939</c:v>
                </c:pt>
                <c:pt idx="465">
                  <c:v>3.386543989386531</c:v>
                </c:pt>
                <c:pt idx="466">
                  <c:v>3.379394639215783</c:v>
                </c:pt>
                <c:pt idx="467">
                  <c:v>3.4016718669385546</c:v>
                </c:pt>
                <c:pt idx="468">
                  <c:v>3.3920042748691741</c:v>
                </c:pt>
                <c:pt idx="469">
                  <c:v>3.3762560499226093</c:v>
                </c:pt>
                <c:pt idx="470">
                  <c:v>3.3857148121760066</c:v>
                </c:pt>
                <c:pt idx="471">
                  <c:v>3.3701877011522483</c:v>
                </c:pt>
                <c:pt idx="472">
                  <c:v>3.3903582045549459</c:v>
                </c:pt>
                <c:pt idx="473">
                  <c:v>3.4158538682652373</c:v>
                </c:pt>
                <c:pt idx="474">
                  <c:v>3.4199997543178631</c:v>
                </c:pt>
                <c:pt idx="475">
                  <c:v>3.4231444856644471</c:v>
                </c:pt>
                <c:pt idx="476">
                  <c:v>3.4320688892710609</c:v>
                </c:pt>
                <c:pt idx="477">
                  <c:v>3.43045352922389</c:v>
                </c:pt>
                <c:pt idx="478">
                  <c:v>3.4278370144706778</c:v>
                </c:pt>
                <c:pt idx="479">
                  <c:v>3.4282423899958236</c:v>
                </c:pt>
                <c:pt idx="480">
                  <c:v>3.4237279807385197</c:v>
                </c:pt>
                <c:pt idx="481">
                  <c:v>3.3960887403876856</c:v>
                </c:pt>
                <c:pt idx="482">
                  <c:v>3.413163648871091</c:v>
                </c:pt>
                <c:pt idx="483">
                  <c:v>3.4280888386605408</c:v>
                </c:pt>
                <c:pt idx="484">
                  <c:v>3.4442670073458963</c:v>
                </c:pt>
                <c:pt idx="485">
                  <c:v>3.4349065179470806</c:v>
                </c:pt>
                <c:pt idx="486">
                  <c:v>3.4441748765447264</c:v>
                </c:pt>
                <c:pt idx="487">
                  <c:v>3.4287030440016708</c:v>
                </c:pt>
                <c:pt idx="488">
                  <c:v>3.421050045451195</c:v>
                </c:pt>
                <c:pt idx="489">
                  <c:v>3.4466071296955993</c:v>
                </c:pt>
                <c:pt idx="490">
                  <c:v>3.4582770311770625</c:v>
                </c:pt>
                <c:pt idx="491">
                  <c:v>3.4590325037466525</c:v>
                </c:pt>
                <c:pt idx="492">
                  <c:v>3.4780175908409694</c:v>
                </c:pt>
                <c:pt idx="493">
                  <c:v>3.4935262757044936</c:v>
                </c:pt>
                <c:pt idx="494">
                  <c:v>3.5058533769009661</c:v>
                </c:pt>
                <c:pt idx="495">
                  <c:v>3.4986303220892809</c:v>
                </c:pt>
                <c:pt idx="496">
                  <c:v>3.4877158931774064</c:v>
                </c:pt>
                <c:pt idx="497">
                  <c:v>3.4962656315259317</c:v>
                </c:pt>
                <c:pt idx="498">
                  <c:v>3.4996928973294352</c:v>
                </c:pt>
                <c:pt idx="499">
                  <c:v>3.5062157580522326</c:v>
                </c:pt>
                <c:pt idx="500">
                  <c:v>3.5086234429894607</c:v>
                </c:pt>
                <c:pt idx="501">
                  <c:v>3.5192491953910032</c:v>
                </c:pt>
                <c:pt idx="502">
                  <c:v>3.5288922192467389</c:v>
                </c:pt>
                <c:pt idx="503">
                  <c:v>3.5071002137434588</c:v>
                </c:pt>
                <c:pt idx="504">
                  <c:v>3.5072721912389744</c:v>
                </c:pt>
                <c:pt idx="505">
                  <c:v>3.4933113038350978</c:v>
                </c:pt>
                <c:pt idx="506">
                  <c:v>3.509710586443259</c:v>
                </c:pt>
                <c:pt idx="507">
                  <c:v>3.5284315652408904</c:v>
                </c:pt>
                <c:pt idx="508">
                  <c:v>3.5171240449106933</c:v>
                </c:pt>
                <c:pt idx="509">
                  <c:v>3.5413851558853149</c:v>
                </c:pt>
                <c:pt idx="510">
                  <c:v>3.5350281306046232</c:v>
                </c:pt>
                <c:pt idx="511">
                  <c:v>3.5309928015134009</c:v>
                </c:pt>
                <c:pt idx="512">
                  <c:v>3.5373068324202142</c:v>
                </c:pt>
                <c:pt idx="513">
                  <c:v>3.5438174090361878</c:v>
                </c:pt>
                <c:pt idx="514">
                  <c:v>3.548337960346903</c:v>
                </c:pt>
                <c:pt idx="515">
                  <c:v>3.5551310714197966</c:v>
                </c:pt>
                <c:pt idx="516">
                  <c:v>3.5307716875905952</c:v>
                </c:pt>
                <c:pt idx="517">
                  <c:v>3.503003464118124</c:v>
                </c:pt>
                <c:pt idx="518">
                  <c:v>3.4931024740191146</c:v>
                </c:pt>
                <c:pt idx="519">
                  <c:v>3.4815676977126997</c:v>
                </c:pt>
                <c:pt idx="520">
                  <c:v>3.4713596049431241</c:v>
                </c:pt>
                <c:pt idx="521">
                  <c:v>3.4429341817556449</c:v>
                </c:pt>
                <c:pt idx="522">
                  <c:v>3.4597449819423631</c:v>
                </c:pt>
                <c:pt idx="523">
                  <c:v>3.4685711126943959</c:v>
                </c:pt>
                <c:pt idx="524">
                  <c:v>3.4696029776674941</c:v>
                </c:pt>
                <c:pt idx="525">
                  <c:v>3.4544013954745356</c:v>
                </c:pt>
                <c:pt idx="526">
                  <c:v>3.4699837849789943</c:v>
                </c:pt>
                <c:pt idx="527">
                  <c:v>3.4808982138908684</c:v>
                </c:pt>
                <c:pt idx="528">
                  <c:v>3.4908176301501124</c:v>
                </c:pt>
                <c:pt idx="529">
                  <c:v>3.4762548215119282</c:v>
                </c:pt>
                <c:pt idx="530">
                  <c:v>3.4849519691423239</c:v>
                </c:pt>
                <c:pt idx="531">
                  <c:v>3.5015600815664696</c:v>
                </c:pt>
                <c:pt idx="532">
                  <c:v>3.4941957595263253</c:v>
                </c:pt>
                <c:pt idx="533">
                  <c:v>3.4839753826499282</c:v>
                </c:pt>
                <c:pt idx="534">
                  <c:v>3.485160798958308</c:v>
                </c:pt>
                <c:pt idx="535">
                  <c:v>3.4676927990565805</c:v>
                </c:pt>
                <c:pt idx="536">
                  <c:v>3.4925619733189199</c:v>
                </c:pt>
                <c:pt idx="537">
                  <c:v>3.4931884627668723</c:v>
                </c:pt>
                <c:pt idx="538">
                  <c:v>3.4846080141512914</c:v>
                </c:pt>
                <c:pt idx="539">
                  <c:v>3.467287423531435</c:v>
                </c:pt>
                <c:pt idx="540">
                  <c:v>3.436110360415694</c:v>
                </c:pt>
                <c:pt idx="541">
                  <c:v>3.4280949807139516</c:v>
                </c:pt>
                <c:pt idx="542">
                  <c:v>3.4403913716433676</c:v>
                </c:pt>
                <c:pt idx="543">
                  <c:v>3.4454032872269851</c:v>
                </c:pt>
                <c:pt idx="544">
                  <c:v>3.4275790482274031</c:v>
                </c:pt>
                <c:pt idx="545">
                  <c:v>3.4192627079085076</c:v>
                </c:pt>
                <c:pt idx="546">
                  <c:v>3.406794339483576</c:v>
                </c:pt>
                <c:pt idx="547">
                  <c:v>3.3997739724344647</c:v>
                </c:pt>
                <c:pt idx="548">
                  <c:v>3.4260742451416357</c:v>
                </c:pt>
                <c:pt idx="549">
                  <c:v>3.4354470186472748</c:v>
                </c:pt>
                <c:pt idx="550">
                  <c:v>3.4348205291993228</c:v>
                </c:pt>
                <c:pt idx="551">
                  <c:v>3.4442731493993075</c:v>
                </c:pt>
                <c:pt idx="552">
                  <c:v>3.4672874235314355</c:v>
                </c:pt>
                <c:pt idx="553">
                  <c:v>3.4408765938628609</c:v>
                </c:pt>
                <c:pt idx="554">
                  <c:v>3.4278677247377347</c:v>
                </c:pt>
                <c:pt idx="555">
                  <c:v>3.4355698597155002</c:v>
                </c:pt>
                <c:pt idx="556">
                  <c:v>3.4197049357541216</c:v>
                </c:pt>
                <c:pt idx="557">
                  <c:v>3.4058546053116476</c:v>
                </c:pt>
                <c:pt idx="558">
                  <c:v>3.3851251750485227</c:v>
                </c:pt>
                <c:pt idx="559">
                  <c:v>3.3592978404540208</c:v>
                </c:pt>
                <c:pt idx="560">
                  <c:v>3.3680134142446501</c:v>
                </c:pt>
                <c:pt idx="561">
                  <c:v>3.376956244011498</c:v>
                </c:pt>
                <c:pt idx="562">
                  <c:v>3.3720241751222266</c:v>
                </c:pt>
                <c:pt idx="563">
                  <c:v>3.363578851681694</c:v>
                </c:pt>
                <c:pt idx="564">
                  <c:v>3.3682590963811019</c:v>
                </c:pt>
                <c:pt idx="565">
                  <c:v>3.3752610372699805</c:v>
                </c:pt>
                <c:pt idx="566">
                  <c:v>3.3775458811389831</c:v>
                </c:pt>
                <c:pt idx="567">
                  <c:v>3.355483625285606</c:v>
                </c:pt>
                <c:pt idx="568">
                  <c:v>3.3464425226641774</c:v>
                </c:pt>
                <c:pt idx="569">
                  <c:v>3.3495504016902933</c:v>
                </c:pt>
                <c:pt idx="570">
                  <c:v>3.3731297447362603</c:v>
                </c:pt>
                <c:pt idx="571">
                  <c:v>3.3733017222317767</c:v>
                </c:pt>
                <c:pt idx="572">
                  <c:v>3.3662813551826649</c:v>
                </c:pt>
                <c:pt idx="573">
                  <c:v>3.3709186055081939</c:v>
                </c:pt>
                <c:pt idx="574">
                  <c:v>3.3760042257327472</c:v>
                </c:pt>
                <c:pt idx="575">
                  <c:v>3.36213546913004</c:v>
                </c:pt>
                <c:pt idx="576">
                  <c:v>3.358093997985407</c:v>
                </c:pt>
                <c:pt idx="577">
                  <c:v>3.3656978601085923</c:v>
                </c:pt>
                <c:pt idx="578">
                  <c:v>3.3859543522590485</c:v>
                </c:pt>
                <c:pt idx="579">
                  <c:v>3.3692356828734988</c:v>
                </c:pt>
                <c:pt idx="580">
                  <c:v>3.3707650541729115</c:v>
                </c:pt>
                <c:pt idx="581">
                  <c:v>3.370150848831782</c:v>
                </c:pt>
                <c:pt idx="582">
                  <c:v>3.3537515662236204</c:v>
                </c:pt>
                <c:pt idx="583">
                  <c:v>3.3379296366361197</c:v>
                </c:pt>
                <c:pt idx="584">
                  <c:v>3.356472495884824</c:v>
                </c:pt>
                <c:pt idx="585">
                  <c:v>3.3409392428076545</c:v>
                </c:pt>
                <c:pt idx="586">
                  <c:v>3.3334029432719943</c:v>
                </c:pt>
                <c:pt idx="587">
                  <c:v>3.3460002948185634</c:v>
                </c:pt>
                <c:pt idx="588">
                  <c:v>3.3415165958283164</c:v>
                </c:pt>
                <c:pt idx="589">
                  <c:v>3.3621538952902732</c:v>
                </c:pt>
                <c:pt idx="590">
                  <c:v>3.3888104070953</c:v>
                </c:pt>
                <c:pt idx="591">
                  <c:v>3.3750644915608188</c:v>
                </c:pt>
                <c:pt idx="592">
                  <c:v>3.3830491609955038</c:v>
                </c:pt>
                <c:pt idx="593">
                  <c:v>3.3861140456477412</c:v>
                </c:pt>
                <c:pt idx="594">
                  <c:v>3.3654398938653167</c:v>
                </c:pt>
                <c:pt idx="595">
                  <c:v>3.3702675478465962</c:v>
                </c:pt>
                <c:pt idx="596">
                  <c:v>3.3645492961206793</c:v>
                </c:pt>
                <c:pt idx="597">
                  <c:v>3.3534198953394103</c:v>
                </c:pt>
                <c:pt idx="598">
                  <c:v>3.3430521091811416</c:v>
                </c:pt>
                <c:pt idx="599">
                  <c:v>3.3587143453799477</c:v>
                </c:pt>
                <c:pt idx="600">
                  <c:v>3.3551396702945735</c:v>
                </c:pt>
                <c:pt idx="601">
                  <c:v>3.3698007517873383</c:v>
                </c:pt>
                <c:pt idx="602">
                  <c:v>3.4099022185096923</c:v>
                </c:pt>
                <c:pt idx="603">
                  <c:v>3.4496228779205471</c:v>
                </c:pt>
                <c:pt idx="604">
                  <c:v>3.4701373363142771</c:v>
                </c:pt>
                <c:pt idx="605">
                  <c:v>3.4782018524433091</c:v>
                </c:pt>
                <c:pt idx="606">
                  <c:v>3.5266258015379699</c:v>
                </c:pt>
                <c:pt idx="607">
                  <c:v>3.5517590840969957</c:v>
                </c:pt>
                <c:pt idx="608">
                  <c:v>3.5835380684470435</c:v>
                </c:pt>
                <c:pt idx="609">
                  <c:v>3.6125347026017747</c:v>
                </c:pt>
                <c:pt idx="610">
                  <c:v>3.6500135125175053</c:v>
                </c:pt>
                <c:pt idx="611">
                  <c:v>3.6902992408421991</c:v>
                </c:pt>
                <c:pt idx="612">
                  <c:v>3.7292705697368751</c:v>
                </c:pt>
                <c:pt idx="613">
                  <c:v>3.7632606933149897</c:v>
                </c:pt>
                <c:pt idx="614">
                  <c:v>3.8084047858880186</c:v>
                </c:pt>
                <c:pt idx="615">
                  <c:v>3.8228754637250328</c:v>
                </c:pt>
                <c:pt idx="616">
                  <c:v>3.8576640542466163</c:v>
                </c:pt>
                <c:pt idx="617">
                  <c:v>3.8828157629658753</c:v>
                </c:pt>
                <c:pt idx="618">
                  <c:v>3.9164373633393126</c:v>
                </c:pt>
                <c:pt idx="619">
                  <c:v>3.9669189003267582</c:v>
                </c:pt>
                <c:pt idx="620">
                  <c:v>3.9878018819251655</c:v>
                </c:pt>
                <c:pt idx="621">
                  <c:v>4.0004545119524364</c:v>
                </c:pt>
                <c:pt idx="622">
                  <c:v>4.0384861066751849</c:v>
                </c:pt>
                <c:pt idx="623">
                  <c:v>4.055683856226814</c:v>
                </c:pt>
                <c:pt idx="624">
                  <c:v>4.0832493919367128</c:v>
                </c:pt>
                <c:pt idx="625">
                  <c:v>4.142114831830578</c:v>
                </c:pt>
                <c:pt idx="626">
                  <c:v>4.1826155320246672</c:v>
                </c:pt>
                <c:pt idx="627">
                  <c:v>4.2227845613345449</c:v>
                </c:pt>
                <c:pt idx="628">
                  <c:v>4.2599255583126547</c:v>
                </c:pt>
                <c:pt idx="629">
                  <c:v>4.3101675552170597</c:v>
                </c:pt>
                <c:pt idx="630">
                  <c:v>4.322562219001056</c:v>
                </c:pt>
                <c:pt idx="631">
                  <c:v>4.3526644227698208</c:v>
                </c:pt>
                <c:pt idx="632">
                  <c:v>4.3560978306267355</c:v>
                </c:pt>
                <c:pt idx="633">
                  <c:v>4.3520686435889244</c:v>
                </c:pt>
                <c:pt idx="634">
                  <c:v>4.3463135395425398</c:v>
                </c:pt>
                <c:pt idx="635">
                  <c:v>4.3476832174532589</c:v>
                </c:pt>
                <c:pt idx="636">
                  <c:v>4.3618037982458295</c:v>
                </c:pt>
                <c:pt idx="637">
                  <c:v>4.3499680613222615</c:v>
                </c:pt>
                <c:pt idx="638">
                  <c:v>4.3459143060708056</c:v>
                </c:pt>
                <c:pt idx="639">
                  <c:v>4.3416885733238333</c:v>
                </c:pt>
                <c:pt idx="640">
                  <c:v>4.3328563005183893</c:v>
                </c:pt>
                <c:pt idx="641">
                  <c:v>4.3313085030587422</c:v>
                </c:pt>
                <c:pt idx="642">
                  <c:v>4.324859346976881</c:v>
                </c:pt>
                <c:pt idx="643">
                  <c:v>4.3354236788443101</c:v>
                </c:pt>
                <c:pt idx="644">
                  <c:v>4.3324140726727753</c:v>
                </c:pt>
                <c:pt idx="645">
                  <c:v>4.3280839250178111</c:v>
                </c:pt>
                <c:pt idx="646">
                  <c:v>4.3214812176006685</c:v>
                </c:pt>
                <c:pt idx="647">
                  <c:v>4.3004938210942685</c:v>
                </c:pt>
                <c:pt idx="648">
                  <c:v>4.2877859125862949</c:v>
                </c:pt>
                <c:pt idx="649">
                  <c:v>4.2418802053902667</c:v>
                </c:pt>
                <c:pt idx="650">
                  <c:v>4.1940766036901467</c:v>
                </c:pt>
                <c:pt idx="651">
                  <c:v>4.1616465616785003</c:v>
                </c:pt>
                <c:pt idx="652">
                  <c:v>4.1272633466820627</c:v>
                </c:pt>
                <c:pt idx="653">
                  <c:v>4.0770704862049483</c:v>
                </c:pt>
                <c:pt idx="654">
                  <c:v>4.0507210770704862</c:v>
                </c:pt>
                <c:pt idx="655">
                  <c:v>4.0176522615040664</c:v>
                </c:pt>
                <c:pt idx="656">
                  <c:v>3.9719308159103748</c:v>
                </c:pt>
                <c:pt idx="657">
                  <c:v>3.9225118541630839</c:v>
                </c:pt>
                <c:pt idx="658">
                  <c:v>3.8867405350956932</c:v>
                </c:pt>
                <c:pt idx="659">
                  <c:v>3.8471550008598872</c:v>
                </c:pt>
                <c:pt idx="660">
                  <c:v>3.8151794708006777</c:v>
                </c:pt>
                <c:pt idx="661">
                  <c:v>3.7975886298307246</c:v>
                </c:pt>
                <c:pt idx="662">
                  <c:v>3.7655332530771681</c:v>
                </c:pt>
                <c:pt idx="663">
                  <c:v>3.7392759747438755</c:v>
                </c:pt>
                <c:pt idx="664">
                  <c:v>3.7285580915411631</c:v>
                </c:pt>
                <c:pt idx="665">
                  <c:v>3.7125580424047362</c:v>
                </c:pt>
                <c:pt idx="666">
                  <c:v>3.6871729356558478</c:v>
                </c:pt>
                <c:pt idx="667">
                  <c:v>3.6695513844188383</c:v>
                </c:pt>
                <c:pt idx="668">
                  <c:v>3.6365562734933543</c:v>
                </c:pt>
                <c:pt idx="669">
                  <c:v>3.6108333538068447</c:v>
                </c:pt>
                <c:pt idx="670">
                  <c:v>3.5857737758887556</c:v>
                </c:pt>
                <c:pt idx="671">
                  <c:v>3.5751111711667445</c:v>
                </c:pt>
                <c:pt idx="672">
                  <c:v>3.536692627079085</c:v>
                </c:pt>
                <c:pt idx="673">
                  <c:v>3.5097597228705495</c:v>
                </c:pt>
                <c:pt idx="674">
                  <c:v>3.460746136648404</c:v>
                </c:pt>
                <c:pt idx="675">
                  <c:v>3.4474363069061242</c:v>
                </c:pt>
                <c:pt idx="676">
                  <c:v>3.4333832887010782</c:v>
                </c:pt>
                <c:pt idx="677">
                  <c:v>3.427056973687443</c:v>
                </c:pt>
                <c:pt idx="678">
                  <c:v>3.4334569933420145</c:v>
                </c:pt>
                <c:pt idx="679">
                  <c:v>3.4251222268628854</c:v>
                </c:pt>
                <c:pt idx="680">
                  <c:v>3.4432904208534998</c:v>
                </c:pt>
                <c:pt idx="681">
                  <c:v>3.4666547920300714</c:v>
                </c:pt>
                <c:pt idx="682">
                  <c:v>3.4642716753064886</c:v>
                </c:pt>
                <c:pt idx="683">
                  <c:v>3.4858487089403729</c:v>
                </c:pt>
                <c:pt idx="684">
                  <c:v>3.4927278087610252</c:v>
                </c:pt>
                <c:pt idx="685">
                  <c:v>3.4727354249072548</c:v>
                </c:pt>
                <c:pt idx="686">
                  <c:v>3.4865673291894947</c:v>
                </c:pt>
                <c:pt idx="687">
                  <c:v>3.4930533375918236</c:v>
                </c:pt>
                <c:pt idx="688">
                  <c:v>3.5108407242709379</c:v>
                </c:pt>
                <c:pt idx="689">
                  <c:v>3.5052268874530133</c:v>
                </c:pt>
                <c:pt idx="690">
                  <c:v>3.5078188339925798</c:v>
                </c:pt>
                <c:pt idx="691">
                  <c:v>3.5131194260865293</c:v>
                </c:pt>
                <c:pt idx="692">
                  <c:v>3.5044529887231901</c:v>
                </c:pt>
                <c:pt idx="693">
                  <c:v>3.4851055204776062</c:v>
                </c:pt>
                <c:pt idx="694">
                  <c:v>3.4913335626366608</c:v>
                </c:pt>
                <c:pt idx="695">
                  <c:v>3.4822433235879422</c:v>
                </c:pt>
                <c:pt idx="696">
                  <c:v>3.4894295260791597</c:v>
                </c:pt>
                <c:pt idx="697">
                  <c:v>3.4748360071739195</c:v>
                </c:pt>
                <c:pt idx="698">
                  <c:v>3.4666670761368947</c:v>
                </c:pt>
                <c:pt idx="699">
                  <c:v>3.4968061322261264</c:v>
                </c:pt>
                <c:pt idx="700">
                  <c:v>3.4873596540795524</c:v>
                </c:pt>
                <c:pt idx="701">
                  <c:v>3.4659853082082406</c:v>
                </c:pt>
                <c:pt idx="702">
                  <c:v>3.4579883546667327</c:v>
                </c:pt>
                <c:pt idx="703">
                  <c:v>3.4647507554725694</c:v>
                </c:pt>
                <c:pt idx="704">
                  <c:v>3.4445925361766951</c:v>
                </c:pt>
                <c:pt idx="705">
                  <c:v>3.4545610888632288</c:v>
                </c:pt>
                <c:pt idx="706">
                  <c:v>3.4367061395965903</c:v>
                </c:pt>
                <c:pt idx="707">
                  <c:v>3.4169164435053934</c:v>
                </c:pt>
                <c:pt idx="708">
                  <c:v>3.4105164238508228</c:v>
                </c:pt>
                <c:pt idx="709">
                  <c:v>3.3888226912021233</c:v>
                </c:pt>
                <c:pt idx="710">
                  <c:v>3.3995221482446016</c:v>
                </c:pt>
                <c:pt idx="711">
                  <c:v>3.3954868191533794</c:v>
                </c:pt>
                <c:pt idx="712">
                  <c:v>3.3727857897452282</c:v>
                </c:pt>
                <c:pt idx="713">
                  <c:v>3.385211163796281</c:v>
                </c:pt>
                <c:pt idx="714">
                  <c:v>3.3718521976267106</c:v>
                </c:pt>
                <c:pt idx="715">
                  <c:v>3.37236813011326</c:v>
                </c:pt>
                <c:pt idx="716">
                  <c:v>3.3728472102793412</c:v>
                </c:pt>
                <c:pt idx="717">
                  <c:v>3.3637631132840333</c:v>
                </c:pt>
                <c:pt idx="718">
                  <c:v>3.346663636586984</c:v>
                </c:pt>
                <c:pt idx="719">
                  <c:v>3.3246505171608978</c:v>
                </c:pt>
                <c:pt idx="720">
                  <c:v>3.3177468491266007</c:v>
                </c:pt>
                <c:pt idx="721">
                  <c:v>3.3340847112006489</c:v>
                </c:pt>
                <c:pt idx="722">
                  <c:v>3.3302582119254112</c:v>
                </c:pt>
                <c:pt idx="723">
                  <c:v>3.3298712625604998</c:v>
                </c:pt>
                <c:pt idx="724">
                  <c:v>3.3570437068520751</c:v>
                </c:pt>
                <c:pt idx="725">
                  <c:v>3.3555143355526633</c:v>
                </c:pt>
                <c:pt idx="726">
                  <c:v>3.3377883694076607</c:v>
                </c:pt>
                <c:pt idx="727">
                  <c:v>3.3095594919293427</c:v>
                </c:pt>
                <c:pt idx="728">
                  <c:v>3.325682382133996</c:v>
                </c:pt>
                <c:pt idx="729">
                  <c:v>3.320995995381177</c:v>
                </c:pt>
                <c:pt idx="730">
                  <c:v>3.308392501781197</c:v>
                </c:pt>
                <c:pt idx="731">
                  <c:v>3.3244294032380926</c:v>
                </c:pt>
                <c:pt idx="732">
                  <c:v>3.3411050782497616</c:v>
                </c:pt>
                <c:pt idx="733">
                  <c:v>3.3336240571948026</c:v>
                </c:pt>
                <c:pt idx="734">
                  <c:v>3.3347296268088358</c:v>
                </c:pt>
                <c:pt idx="735">
                  <c:v>3.3417745620715928</c:v>
                </c:pt>
                <c:pt idx="736">
                  <c:v>3.3356202245534741</c:v>
                </c:pt>
                <c:pt idx="737">
                  <c:v>3.3352271331351506</c:v>
                </c:pt>
                <c:pt idx="738">
                  <c:v>3.3579957251308268</c:v>
                </c:pt>
                <c:pt idx="739">
                  <c:v>3.3481930078863971</c:v>
                </c:pt>
                <c:pt idx="740">
                  <c:v>3.3447104636021927</c:v>
                </c:pt>
                <c:pt idx="741">
                  <c:v>3.3207625973515467</c:v>
                </c:pt>
                <c:pt idx="742">
                  <c:v>3.3139019236911289</c:v>
                </c:pt>
                <c:pt idx="743">
                  <c:v>3.3241345846743489</c:v>
                </c:pt>
                <c:pt idx="744">
                  <c:v>3.3106834877036095</c:v>
                </c:pt>
                <c:pt idx="745">
                  <c:v>3.3154742893644209</c:v>
                </c:pt>
                <c:pt idx="746">
                  <c:v>3.3498452202540361</c:v>
                </c:pt>
                <c:pt idx="747">
                  <c:v>3.3655074564528418</c:v>
                </c:pt>
                <c:pt idx="748">
                  <c:v>3.3573876618431084</c:v>
                </c:pt>
                <c:pt idx="749">
                  <c:v>3.3827543424317623</c:v>
                </c:pt>
                <c:pt idx="750">
                  <c:v>3.3940372945483137</c:v>
                </c:pt>
                <c:pt idx="751">
                  <c:v>3.4189003267572415</c:v>
                </c:pt>
                <c:pt idx="752">
                  <c:v>3.4157003169299567</c:v>
                </c:pt>
                <c:pt idx="753">
                  <c:v>3.4222600299732213</c:v>
                </c:pt>
                <c:pt idx="754">
                  <c:v>3.4139989681350276</c:v>
                </c:pt>
                <c:pt idx="755">
                  <c:v>3.4129179667346397</c:v>
                </c:pt>
                <c:pt idx="756">
                  <c:v>3.4230707810235126</c:v>
                </c:pt>
                <c:pt idx="757">
                  <c:v>3.4363744687123812</c:v>
                </c:pt>
                <c:pt idx="758">
                  <c:v>3.4454217133872205</c:v>
                </c:pt>
                <c:pt idx="759">
                  <c:v>3.436239343537332</c:v>
                </c:pt>
                <c:pt idx="760">
                  <c:v>3.4315713829447465</c:v>
                </c:pt>
                <c:pt idx="761">
                  <c:v>3.4323452816745701</c:v>
                </c:pt>
                <c:pt idx="762">
                  <c:v>3.4420190157973618</c:v>
                </c:pt>
                <c:pt idx="763">
                  <c:v>3.4384811930324557</c:v>
                </c:pt>
                <c:pt idx="764">
                  <c:v>3.4443284278800097</c:v>
                </c:pt>
                <c:pt idx="765">
                  <c:v>3.45266933641255</c:v>
                </c:pt>
                <c:pt idx="766">
                  <c:v>3.4510724025256128</c:v>
                </c:pt>
                <c:pt idx="767">
                  <c:v>3.4595115839127337</c:v>
                </c:pt>
                <c:pt idx="768">
                  <c:v>3.4514286416234672</c:v>
                </c:pt>
                <c:pt idx="769">
                  <c:v>3.427923003218436</c:v>
                </c:pt>
                <c:pt idx="770">
                  <c:v>3.4215844040979784</c:v>
                </c:pt>
                <c:pt idx="771">
                  <c:v>3.4385917499938579</c:v>
                </c:pt>
                <c:pt idx="772">
                  <c:v>3.4696889664152515</c:v>
                </c:pt>
                <c:pt idx="773">
                  <c:v>3.4765680662359033</c:v>
                </c:pt>
                <c:pt idx="774">
                  <c:v>3.4752905191263532</c:v>
                </c:pt>
                <c:pt idx="775">
                  <c:v>3.4786809326093899</c:v>
                </c:pt>
                <c:pt idx="776">
                  <c:v>3.4757941675060802</c:v>
                </c:pt>
                <c:pt idx="777">
                  <c:v>3.4726002997322056</c:v>
                </c:pt>
                <c:pt idx="778">
                  <c:v>3.480615679433948</c:v>
                </c:pt>
                <c:pt idx="779">
                  <c:v>3.4894970886666825</c:v>
                </c:pt>
                <c:pt idx="780">
                  <c:v>3.4771208510429203</c:v>
                </c:pt>
                <c:pt idx="781">
                  <c:v>3.5037098002604226</c:v>
                </c:pt>
                <c:pt idx="782">
                  <c:v>3.4799769058791723</c:v>
                </c:pt>
                <c:pt idx="783">
                  <c:v>3.4645173574429395</c:v>
                </c:pt>
                <c:pt idx="784">
                  <c:v>3.46451735744294</c:v>
                </c:pt>
                <c:pt idx="785">
                  <c:v>3.4664766724811442</c:v>
                </c:pt>
                <c:pt idx="786">
                  <c:v>3.4583691619782324</c:v>
                </c:pt>
                <c:pt idx="787">
                  <c:v>3.4690071984865987</c:v>
                </c:pt>
                <c:pt idx="788">
                  <c:v>3.4658133307127241</c:v>
                </c:pt>
                <c:pt idx="789">
                  <c:v>3.4797005134756649</c:v>
                </c:pt>
                <c:pt idx="790">
                  <c:v>3.4815676977126997</c:v>
                </c:pt>
                <c:pt idx="791">
                  <c:v>3.480756946662408</c:v>
                </c:pt>
                <c:pt idx="792">
                  <c:v>3.4649964376090212</c:v>
                </c:pt>
                <c:pt idx="793">
                  <c:v>3.4582033265361276</c:v>
                </c:pt>
                <c:pt idx="794">
                  <c:v>3.4661204333832889</c:v>
                </c:pt>
                <c:pt idx="795">
                  <c:v>3.4661142913298777</c:v>
                </c:pt>
                <c:pt idx="796">
                  <c:v>3.466875905952878</c:v>
                </c:pt>
                <c:pt idx="797">
                  <c:v>3.4660037343684742</c:v>
                </c:pt>
                <c:pt idx="798">
                  <c:v>3.4733189199813279</c:v>
                </c:pt>
                <c:pt idx="799">
                  <c:v>3.4822617497481763</c:v>
                </c:pt>
                <c:pt idx="800">
                  <c:v>3.4952337665528339</c:v>
                </c:pt>
                <c:pt idx="801">
                  <c:v>3.5043547158686095</c:v>
                </c:pt>
                <c:pt idx="802">
                  <c:v>3.5128491757364322</c:v>
                </c:pt>
                <c:pt idx="803">
                  <c:v>3.5050426258506748</c:v>
                </c:pt>
                <c:pt idx="804">
                  <c:v>3.4861005331302368</c:v>
                </c:pt>
                <c:pt idx="805">
                  <c:v>3.4949573741493261</c:v>
                </c:pt>
                <c:pt idx="806">
                  <c:v>3.4867454487384228</c:v>
                </c:pt>
                <c:pt idx="807">
                  <c:v>3.4997051814362585</c:v>
                </c:pt>
                <c:pt idx="808">
                  <c:v>3.4856767314448578</c:v>
                </c:pt>
                <c:pt idx="809">
                  <c:v>3.4836498538191298</c:v>
                </c:pt>
                <c:pt idx="810">
                  <c:v>3.4867638748986569</c:v>
                </c:pt>
                <c:pt idx="811">
                  <c:v>3.4937105373068338</c:v>
                </c:pt>
                <c:pt idx="812">
                  <c:v>3.480308576763385</c:v>
                </c:pt>
                <c:pt idx="813">
                  <c:v>3.4915239662924127</c:v>
                </c:pt>
                <c:pt idx="814">
                  <c:v>3.4972606441785632</c:v>
                </c:pt>
                <c:pt idx="815">
                  <c:v>3.4930779058054697</c:v>
                </c:pt>
                <c:pt idx="816">
                  <c:v>3.4922548706483556</c:v>
                </c:pt>
                <c:pt idx="817">
                  <c:v>3.4940114979239865</c:v>
                </c:pt>
                <c:pt idx="818">
                  <c:v>3.4737672898803531</c:v>
                </c:pt>
                <c:pt idx="819">
                  <c:v>3.4777473404908736</c:v>
                </c:pt>
                <c:pt idx="820">
                  <c:v>3.446944942633221</c:v>
                </c:pt>
                <c:pt idx="821">
                  <c:v>3.4653219664398196</c:v>
                </c:pt>
                <c:pt idx="822">
                  <c:v>3.4514532098371129</c:v>
                </c:pt>
                <c:pt idx="823">
                  <c:v>3.480112031054222</c:v>
                </c:pt>
                <c:pt idx="824">
                  <c:v>3.4641795445053187</c:v>
                </c:pt>
                <c:pt idx="825">
                  <c:v>3.4562624376581574</c:v>
                </c:pt>
                <c:pt idx="826">
                  <c:v>3.4665442350686675</c:v>
                </c:pt>
                <c:pt idx="827">
                  <c:v>3.4608259833427506</c:v>
                </c:pt>
                <c:pt idx="828">
                  <c:v>3.4624106331228659</c:v>
                </c:pt>
                <c:pt idx="829">
                  <c:v>3.4624659116035676</c:v>
                </c:pt>
                <c:pt idx="830">
                  <c:v>3.4865427609758495</c:v>
                </c:pt>
                <c:pt idx="831">
                  <c:v>3.4819116527037322</c:v>
                </c:pt>
                <c:pt idx="832">
                  <c:v>3.4690133405400099</c:v>
                </c:pt>
                <c:pt idx="833">
                  <c:v>3.4625826106183824</c:v>
                </c:pt>
                <c:pt idx="834">
                  <c:v>3.450372208436725</c:v>
                </c:pt>
                <c:pt idx="835">
                  <c:v>3.4585411394737493</c:v>
                </c:pt>
                <c:pt idx="836">
                  <c:v>3.4539223153084544</c:v>
                </c:pt>
                <c:pt idx="837">
                  <c:v>3.4680367540476134</c:v>
                </c:pt>
                <c:pt idx="838">
                  <c:v>3.4613910522565905</c:v>
                </c:pt>
                <c:pt idx="839">
                  <c:v>3.4615998820725746</c:v>
                </c:pt>
                <c:pt idx="840">
                  <c:v>3.45835687787141</c:v>
                </c:pt>
                <c:pt idx="841">
                  <c:v>3.4674041225462497</c:v>
                </c:pt>
                <c:pt idx="842">
                  <c:v>3.4552735670589394</c:v>
                </c:pt>
                <c:pt idx="843">
                  <c:v>3.444082745743557</c:v>
                </c:pt>
                <c:pt idx="844">
                  <c:v>3.4483944672382871</c:v>
                </c:pt>
                <c:pt idx="845">
                  <c:v>3.4664459622140869</c:v>
                </c:pt>
                <c:pt idx="846">
                  <c:v>3.479829496597302</c:v>
                </c:pt>
                <c:pt idx="847">
                  <c:v>3.483791121047588</c:v>
                </c:pt>
                <c:pt idx="848">
                  <c:v>3.4953443235142365</c:v>
                </c:pt>
                <c:pt idx="849">
                  <c:v>3.4953197553005917</c:v>
                </c:pt>
                <c:pt idx="850">
                  <c:v>3.4910326020195068</c:v>
                </c:pt>
                <c:pt idx="851">
                  <c:v>3.5079171068471608</c:v>
                </c:pt>
                <c:pt idx="852">
                  <c:v>3.4904491069454342</c:v>
                </c:pt>
                <c:pt idx="853">
                  <c:v>3.5186534162101073</c:v>
                </c:pt>
                <c:pt idx="854">
                  <c:v>3.5089735400339044</c:v>
                </c:pt>
                <c:pt idx="855">
                  <c:v>3.5032307200943413</c:v>
                </c:pt>
                <c:pt idx="856">
                  <c:v>3.5030157482249469</c:v>
                </c:pt>
                <c:pt idx="857">
                  <c:v>3.488661769402746</c:v>
                </c:pt>
                <c:pt idx="858">
                  <c:v>3.4735216077439008</c:v>
                </c:pt>
                <c:pt idx="859">
                  <c:v>3.4903754023044984</c:v>
                </c:pt>
                <c:pt idx="860">
                  <c:v>3.4828943812495394</c:v>
                </c:pt>
                <c:pt idx="861">
                  <c:v>3.4577365304768692</c:v>
                </c:pt>
                <c:pt idx="862">
                  <c:v>3.4489841043657714</c:v>
                </c:pt>
                <c:pt idx="863">
                  <c:v>3.4853143502935904</c:v>
                </c:pt>
                <c:pt idx="864">
                  <c:v>3.4892944009041105</c:v>
                </c:pt>
                <c:pt idx="865">
                  <c:v>3.5034395499103259</c:v>
                </c:pt>
                <c:pt idx="866">
                  <c:v>3.528124462570327</c:v>
                </c:pt>
                <c:pt idx="867">
                  <c:v>3.5106687467754223</c:v>
                </c:pt>
                <c:pt idx="868">
                  <c:v>3.5166511067980251</c:v>
                </c:pt>
                <c:pt idx="869">
                  <c:v>3.5120814190600207</c:v>
                </c:pt>
                <c:pt idx="870">
                  <c:v>3.5121735498611897</c:v>
                </c:pt>
                <c:pt idx="871">
                  <c:v>3.4866840282043099</c:v>
                </c:pt>
                <c:pt idx="872">
                  <c:v>3.4870955457828665</c:v>
                </c:pt>
                <c:pt idx="873">
                  <c:v>3.5072721912389757</c:v>
                </c:pt>
                <c:pt idx="874">
                  <c:v>3.5100606834877044</c:v>
                </c:pt>
                <c:pt idx="875">
                  <c:v>3.4922487285949444</c:v>
                </c:pt>
                <c:pt idx="876">
                  <c:v>3.4745104783431202</c:v>
                </c:pt>
                <c:pt idx="877">
                  <c:v>3.4493894798909177</c:v>
                </c:pt>
                <c:pt idx="878">
                  <c:v>3.4535230818367206</c:v>
                </c:pt>
                <c:pt idx="879">
                  <c:v>3.4499422646979347</c:v>
                </c:pt>
                <c:pt idx="880">
                  <c:v>3.4380512492936646</c:v>
                </c:pt>
                <c:pt idx="881">
                  <c:v>3.4405449229786509</c:v>
                </c:pt>
                <c:pt idx="882">
                  <c:v>3.4464351522000842</c:v>
                </c:pt>
                <c:pt idx="883">
                  <c:v>3.4439107682480419</c:v>
                </c:pt>
                <c:pt idx="884">
                  <c:v>3.4195636685256621</c:v>
                </c:pt>
                <c:pt idx="885">
                  <c:v>3.3907574380266814</c:v>
                </c:pt>
                <c:pt idx="886">
                  <c:v>3.4184888091786845</c:v>
                </c:pt>
                <c:pt idx="887">
                  <c:v>3.4271859568090806</c:v>
                </c:pt>
                <c:pt idx="888">
                  <c:v>3.4174937965260552</c:v>
                </c:pt>
                <c:pt idx="889">
                  <c:v>3.4462570326511561</c:v>
                </c:pt>
                <c:pt idx="890">
                  <c:v>3.4603837554971379</c:v>
                </c:pt>
                <c:pt idx="891">
                  <c:v>3.4690809031275336</c:v>
                </c:pt>
                <c:pt idx="892">
                  <c:v>3.4715008721715845</c:v>
                </c:pt>
                <c:pt idx="893">
                  <c:v>3.4861742377711717</c:v>
                </c:pt>
                <c:pt idx="894">
                  <c:v>3.4614831830577599</c:v>
                </c:pt>
                <c:pt idx="895">
                  <c:v>3.4675392477212976</c:v>
                </c:pt>
                <c:pt idx="896">
                  <c:v>3.4685526865341623</c:v>
                </c:pt>
                <c:pt idx="897">
                  <c:v>3.4565572562219002</c:v>
                </c:pt>
                <c:pt idx="898">
                  <c:v>3.4688782153649611</c:v>
                </c:pt>
                <c:pt idx="899">
                  <c:v>3.4527000466796061</c:v>
                </c:pt>
                <c:pt idx="900">
                  <c:v>3.4475284377072946</c:v>
                </c:pt>
                <c:pt idx="901">
                  <c:v>3.4413556740289422</c:v>
                </c:pt>
                <c:pt idx="902">
                  <c:v>3.4661265754367006</c:v>
                </c:pt>
                <c:pt idx="903">
                  <c:v>3.4487937007100218</c:v>
                </c:pt>
                <c:pt idx="904">
                  <c:v>3.45821561064295</c:v>
                </c:pt>
                <c:pt idx="905">
                  <c:v>3.4698670859641805</c:v>
                </c:pt>
                <c:pt idx="906">
                  <c:v>3.4963516202736904</c:v>
                </c:pt>
                <c:pt idx="907">
                  <c:v>3.4983477876323614</c:v>
                </c:pt>
                <c:pt idx="908">
                  <c:v>3.5158833501216131</c:v>
                </c:pt>
                <c:pt idx="909">
                  <c:v>3.500393091418323</c:v>
                </c:pt>
                <c:pt idx="910">
                  <c:v>3.4872736653317937</c:v>
                </c:pt>
                <c:pt idx="911">
                  <c:v>3.4835208706974923</c:v>
                </c:pt>
                <c:pt idx="912">
                  <c:v>3.4920706090460167</c:v>
                </c:pt>
                <c:pt idx="913">
                  <c:v>3.4937842419477683</c:v>
                </c:pt>
                <c:pt idx="914">
                  <c:v>3.5064552981352732</c:v>
                </c:pt>
                <c:pt idx="915">
                  <c:v>3.5071862024912175</c:v>
                </c:pt>
                <c:pt idx="916">
                  <c:v>3.5247831855145821</c:v>
                </c:pt>
                <c:pt idx="917">
                  <c:v>3.4910018917524512</c:v>
                </c:pt>
                <c:pt idx="918">
                  <c:v>3.4846878608456384</c:v>
                </c:pt>
                <c:pt idx="919">
                  <c:v>3.4926602461735015</c:v>
                </c:pt>
                <c:pt idx="920">
                  <c:v>3.4821327666265391</c:v>
                </c:pt>
                <c:pt idx="921">
                  <c:v>3.4506240326265885</c:v>
                </c:pt>
                <c:pt idx="922">
                  <c:v>3.4445741100164615</c:v>
                </c:pt>
                <c:pt idx="923">
                  <c:v>3.4375353168071157</c:v>
                </c:pt>
                <c:pt idx="924">
                  <c:v>3.4211483183057765</c:v>
                </c:pt>
                <c:pt idx="925">
                  <c:v>3.422941797901875</c:v>
                </c:pt>
                <c:pt idx="926">
                  <c:v>3.3978146573962618</c:v>
                </c:pt>
                <c:pt idx="927">
                  <c:v>3.3883190428223968</c:v>
                </c:pt>
                <c:pt idx="928">
                  <c:v>3.389111367712454</c:v>
                </c:pt>
                <c:pt idx="929">
                  <c:v>3.385573544947547</c:v>
                </c:pt>
                <c:pt idx="930">
                  <c:v>3.4023167825467415</c:v>
                </c:pt>
                <c:pt idx="931">
                  <c:v>3.4242684814387148</c:v>
                </c:pt>
                <c:pt idx="932">
                  <c:v>3.4309694617104389</c:v>
                </c:pt>
                <c:pt idx="933">
                  <c:v>3.4428543350612979</c:v>
                </c:pt>
                <c:pt idx="934">
                  <c:v>3.4542785544063097</c:v>
                </c:pt>
                <c:pt idx="935">
                  <c:v>3.4292558288086883</c:v>
                </c:pt>
                <c:pt idx="936">
                  <c:v>3.4304043927966004</c:v>
                </c:pt>
                <c:pt idx="937">
                  <c:v>3.4152212367638755</c:v>
                </c:pt>
                <c:pt idx="938">
                  <c:v>3.4295076529985509</c:v>
                </c:pt>
                <c:pt idx="939">
                  <c:v>3.4315161044640443</c:v>
                </c:pt>
                <c:pt idx="940">
                  <c:v>3.439746456035182</c:v>
                </c:pt>
                <c:pt idx="941">
                  <c:v>3.4494754686386755</c:v>
                </c:pt>
                <c:pt idx="942">
                  <c:v>3.4515576247451052</c:v>
                </c:pt>
                <c:pt idx="943">
                  <c:v>3.4363007640714445</c:v>
                </c:pt>
                <c:pt idx="944">
                  <c:v>3.4316942240129715</c:v>
                </c:pt>
                <c:pt idx="945">
                  <c:v>3.4172665405498357</c:v>
                </c:pt>
                <c:pt idx="946">
                  <c:v>3.4451637471439449</c:v>
                </c:pt>
                <c:pt idx="947">
                  <c:v>3.4301464265533248</c:v>
                </c:pt>
                <c:pt idx="948">
                  <c:v>3.4612129327076624</c:v>
                </c:pt>
                <c:pt idx="949">
                  <c:v>3.4724467483969232</c:v>
                </c:pt>
                <c:pt idx="950">
                  <c:v>3.4812913053091901</c:v>
                </c:pt>
                <c:pt idx="951">
                  <c:v>3.4641611183450847</c:v>
                </c:pt>
                <c:pt idx="952">
                  <c:v>3.4624413433899215</c:v>
                </c:pt>
                <c:pt idx="953">
                  <c:v>3.474074392550917</c:v>
                </c:pt>
                <c:pt idx="954">
                  <c:v>3.4827838242881359</c:v>
                </c:pt>
                <c:pt idx="955">
                  <c:v>3.4872245289045027</c:v>
                </c:pt>
                <c:pt idx="956">
                  <c:v>3.4840368031840407</c:v>
                </c:pt>
                <c:pt idx="957">
                  <c:v>3.4898901800850064</c:v>
                </c:pt>
                <c:pt idx="958">
                  <c:v>3.4805665430066588</c:v>
                </c:pt>
                <c:pt idx="959">
                  <c:v>3.4767277596245987</c:v>
                </c:pt>
                <c:pt idx="960">
                  <c:v>3.4860084023290678</c:v>
                </c:pt>
                <c:pt idx="961">
                  <c:v>3.4718079748421502</c:v>
                </c:pt>
                <c:pt idx="962">
                  <c:v>3.4590263616932426</c:v>
                </c:pt>
                <c:pt idx="963">
                  <c:v>3.451963000270251</c:v>
                </c:pt>
                <c:pt idx="964">
                  <c:v>3.4325663955973771</c:v>
                </c:pt>
                <c:pt idx="965">
                  <c:v>3.4275913323342269</c:v>
                </c:pt>
                <c:pt idx="966">
                  <c:v>3.4370500945876228</c:v>
                </c:pt>
                <c:pt idx="967">
                  <c:v>3.4345564209026369</c:v>
                </c:pt>
                <c:pt idx="968">
                  <c:v>3.4295383632656069</c:v>
                </c:pt>
                <c:pt idx="969">
                  <c:v>3.3956465125420729</c:v>
                </c:pt>
                <c:pt idx="970">
                  <c:v>3.3874775815050491</c:v>
                </c:pt>
                <c:pt idx="971">
                  <c:v>3.3953148416578629</c:v>
                </c:pt>
                <c:pt idx="972">
                  <c:v>3.3795911849249443</c:v>
                </c:pt>
                <c:pt idx="973">
                  <c:v>3.3927474633319412</c:v>
                </c:pt>
                <c:pt idx="974">
                  <c:v>3.4007567009802719</c:v>
                </c:pt>
                <c:pt idx="975">
                  <c:v>3.3848487826450144</c:v>
                </c:pt>
                <c:pt idx="976">
                  <c:v>3.3916418937179085</c:v>
                </c:pt>
                <c:pt idx="977">
                  <c:v>3.3686337616391921</c:v>
                </c:pt>
                <c:pt idx="978">
                  <c:v>3.3814706532688019</c:v>
                </c:pt>
                <c:pt idx="979">
                  <c:v>3.3556371766208892</c:v>
                </c:pt>
                <c:pt idx="980">
                  <c:v>3.3399442301550266</c:v>
                </c:pt>
                <c:pt idx="981">
                  <c:v>3.341700857430657</c:v>
                </c:pt>
                <c:pt idx="982">
                  <c:v>3.3675589022922154</c:v>
                </c:pt>
                <c:pt idx="983">
                  <c:v>3.388466452104268</c:v>
                </c:pt>
                <c:pt idx="984">
                  <c:v>3.3598506252610378</c:v>
                </c:pt>
                <c:pt idx="985">
                  <c:v>3.3448025944033613</c:v>
                </c:pt>
                <c:pt idx="986">
                  <c:v>3.3336301992482134</c:v>
                </c:pt>
                <c:pt idx="987">
                  <c:v>3.3625654128688307</c:v>
                </c:pt>
                <c:pt idx="988">
                  <c:v>3.3584379529764394</c:v>
                </c:pt>
                <c:pt idx="989">
                  <c:v>3.3700710021374345</c:v>
                </c:pt>
                <c:pt idx="990">
                  <c:v>3.3772879148957071</c:v>
                </c:pt>
                <c:pt idx="991">
                  <c:v>3.3701569908851923</c:v>
                </c:pt>
                <c:pt idx="992">
                  <c:v>3.3622091737709745</c:v>
                </c:pt>
                <c:pt idx="993">
                  <c:v>3.3633515957054754</c:v>
                </c:pt>
                <c:pt idx="994">
                  <c:v>3.3754452988723185</c:v>
                </c:pt>
                <c:pt idx="995">
                  <c:v>3.3877662580153789</c:v>
                </c:pt>
                <c:pt idx="996">
                  <c:v>3.3895597376114779</c:v>
                </c:pt>
                <c:pt idx="997">
                  <c:v>3.3831781441171405</c:v>
                </c:pt>
                <c:pt idx="998">
                  <c:v>3.3775888755128602</c:v>
                </c:pt>
                <c:pt idx="999">
                  <c:v>3.379296366361201</c:v>
                </c:pt>
                <c:pt idx="1000">
                  <c:v>3.4038215856325085</c:v>
                </c:pt>
                <c:pt idx="1001">
                  <c:v>3.4027651524457658</c:v>
                </c:pt>
                <c:pt idx="1002">
                  <c:v>3.3964142692184849</c:v>
                </c:pt>
                <c:pt idx="1003">
                  <c:v>3.4044726432941057</c:v>
                </c:pt>
                <c:pt idx="1004">
                  <c:v>3.4205525391248806</c:v>
                </c:pt>
                <c:pt idx="1005">
                  <c:v>3.4185133773923297</c:v>
                </c:pt>
                <c:pt idx="1006">
                  <c:v>3.4395437682726087</c:v>
                </c:pt>
                <c:pt idx="1007">
                  <c:v>3.4208412156352113</c:v>
                </c:pt>
                <c:pt idx="1008">
                  <c:v>3.432904208534997</c:v>
                </c:pt>
                <c:pt idx="1009">
                  <c:v>3.441662776699506</c:v>
                </c:pt>
                <c:pt idx="1010">
                  <c:v>3.4530992801513398</c:v>
                </c:pt>
                <c:pt idx="1011">
                  <c:v>3.4441503083310812</c:v>
                </c:pt>
                <c:pt idx="1012">
                  <c:v>3.4387882957030191</c:v>
                </c:pt>
                <c:pt idx="1013">
                  <c:v>3.434488858315111</c:v>
                </c:pt>
                <c:pt idx="1014">
                  <c:v>3.43296562906911</c:v>
                </c:pt>
                <c:pt idx="1015">
                  <c:v>3.4587131169692644</c:v>
                </c:pt>
                <c:pt idx="1016">
                  <c:v>3.4558570621330116</c:v>
                </c:pt>
                <c:pt idx="1017">
                  <c:v>3.4772006977372674</c:v>
                </c:pt>
                <c:pt idx="1018">
                  <c:v>3.4619376950101959</c:v>
                </c:pt>
                <c:pt idx="1019">
                  <c:v>3.478951182959487</c:v>
                </c:pt>
                <c:pt idx="1020">
                  <c:v>3.4889381618062552</c:v>
                </c:pt>
                <c:pt idx="1021">
                  <c:v>3.5036422376728984</c:v>
                </c:pt>
                <c:pt idx="1022">
                  <c:v>3.5037957890081808</c:v>
                </c:pt>
                <c:pt idx="1023">
                  <c:v>3.5287263838046332</c:v>
                </c:pt>
                <c:pt idx="1024">
                  <c:v>3.5236837579539588</c:v>
                </c:pt>
                <c:pt idx="1025">
                  <c:v>3.5065105766159741</c:v>
                </c:pt>
                <c:pt idx="1026">
                  <c:v>3.4967815640124802</c:v>
                </c:pt>
                <c:pt idx="1027">
                  <c:v>3.4873228017590838</c:v>
                </c:pt>
                <c:pt idx="1028">
                  <c:v>3.494263322113849</c:v>
                </c:pt>
                <c:pt idx="1029">
                  <c:v>3.4993182320713463</c:v>
                </c:pt>
                <c:pt idx="1030">
                  <c:v>3.4907377834557654</c:v>
                </c:pt>
                <c:pt idx="1031">
                  <c:v>3.4732390732869809</c:v>
                </c:pt>
                <c:pt idx="1032">
                  <c:v>3.467035599341572</c:v>
                </c:pt>
                <c:pt idx="1033">
                  <c:v>3.4641856865587308</c:v>
                </c:pt>
                <c:pt idx="1034">
                  <c:v>3.4657703363388452</c:v>
                </c:pt>
                <c:pt idx="1035">
                  <c:v>3.4410424293049657</c:v>
                </c:pt>
                <c:pt idx="1036">
                  <c:v>3.4405756332457065</c:v>
                </c:pt>
                <c:pt idx="1037">
                  <c:v>3.4359138147065327</c:v>
                </c:pt>
                <c:pt idx="1038">
                  <c:v>3.440704616367344</c:v>
                </c:pt>
                <c:pt idx="1039">
                  <c:v>3.4504152028106043</c:v>
                </c:pt>
                <c:pt idx="1040">
                  <c:v>3.4725634474117397</c:v>
                </c:pt>
                <c:pt idx="1041">
                  <c:v>3.5086480112031069</c:v>
                </c:pt>
                <c:pt idx="1042">
                  <c:v>3.5544001670638545</c:v>
                </c:pt>
                <c:pt idx="1043">
                  <c:v>3.5885929784045421</c:v>
                </c:pt>
                <c:pt idx="1044">
                  <c:v>3.6054590570719616</c:v>
                </c:pt>
                <c:pt idx="1045">
                  <c:v>3.6303589416013575</c:v>
                </c:pt>
                <c:pt idx="1046">
                  <c:v>3.6524703338820244</c:v>
                </c:pt>
                <c:pt idx="1047">
                  <c:v>3.7008819988698636</c:v>
                </c:pt>
                <c:pt idx="1048">
                  <c:v>3.7244674839692413</c:v>
                </c:pt>
                <c:pt idx="1049">
                  <c:v>3.7515969338869386</c:v>
                </c:pt>
                <c:pt idx="1050">
                  <c:v>3.77188413630445</c:v>
                </c:pt>
                <c:pt idx="1051">
                  <c:v>3.7937007100213753</c:v>
                </c:pt>
                <c:pt idx="1052">
                  <c:v>3.8039947915387082</c:v>
                </c:pt>
                <c:pt idx="1053">
                  <c:v>3.8377576591406051</c:v>
                </c:pt>
                <c:pt idx="1054">
                  <c:v>3.8576517701397934</c:v>
                </c:pt>
                <c:pt idx="1055">
                  <c:v>3.8920104169225862</c:v>
                </c:pt>
                <c:pt idx="1056">
                  <c:v>3.933174458885095</c:v>
                </c:pt>
                <c:pt idx="1057">
                  <c:v>3.9652052674250058</c:v>
                </c:pt>
                <c:pt idx="1058">
                  <c:v>3.9967631378522461</c:v>
                </c:pt>
                <c:pt idx="1059">
                  <c:v>4.0185858536225831</c:v>
                </c:pt>
                <c:pt idx="1060">
                  <c:v>4.0371041446576417</c:v>
                </c:pt>
                <c:pt idx="1061">
                  <c:v>4.0788578237476356</c:v>
                </c:pt>
                <c:pt idx="1062">
                  <c:v>4.1203166842738863</c:v>
                </c:pt>
                <c:pt idx="1063">
                  <c:v>4.1536066137631131</c:v>
                </c:pt>
                <c:pt idx="1064">
                  <c:v>4.191171412426602</c:v>
                </c:pt>
                <c:pt idx="1065">
                  <c:v>4.2189089256320171</c:v>
                </c:pt>
                <c:pt idx="1066">
                  <c:v>4.2663378620740486</c:v>
                </c:pt>
                <c:pt idx="1067">
                  <c:v>4.3018512148981642</c:v>
                </c:pt>
                <c:pt idx="1068">
                  <c:v>4.3373829938825157</c:v>
                </c:pt>
                <c:pt idx="1069">
                  <c:v>4.3835958037491105</c:v>
                </c:pt>
                <c:pt idx="1070">
                  <c:v>4.407660369014569</c:v>
                </c:pt>
                <c:pt idx="1071">
                  <c:v>4.4101417585927329</c:v>
                </c:pt>
                <c:pt idx="1072">
                  <c:v>4.3986622607670203</c:v>
                </c:pt>
                <c:pt idx="1073">
                  <c:v>4.4073041299167146</c:v>
                </c:pt>
                <c:pt idx="1074">
                  <c:v>4.4146438837432127</c:v>
                </c:pt>
                <c:pt idx="1075">
                  <c:v>4.4110446404441941</c:v>
                </c:pt>
                <c:pt idx="1076">
                  <c:v>4.4118799597081306</c:v>
                </c:pt>
                <c:pt idx="1077">
                  <c:v>4.411652703731912</c:v>
                </c:pt>
                <c:pt idx="1078">
                  <c:v>4.4175429329533449</c:v>
                </c:pt>
                <c:pt idx="1079">
                  <c:v>4.4230769230769234</c:v>
                </c:pt>
                <c:pt idx="1080">
                  <c:v>4.4191460088936934</c:v>
                </c:pt>
                <c:pt idx="1081">
                  <c:v>4.4312274279537123</c:v>
                </c:pt>
                <c:pt idx="1082">
                  <c:v>4.4381556642016546</c:v>
                </c:pt>
                <c:pt idx="1083">
                  <c:v>4.4385856079404453</c:v>
                </c:pt>
                <c:pt idx="1084">
                  <c:v>4.3889148220032927</c:v>
                </c:pt>
                <c:pt idx="1085">
                  <c:v>4.3463749600766519</c:v>
                </c:pt>
                <c:pt idx="1086">
                  <c:v>4.3060585214849034</c:v>
                </c:pt>
                <c:pt idx="1087">
                  <c:v>4.2682480406849619</c:v>
                </c:pt>
                <c:pt idx="1088">
                  <c:v>4.2442019015797365</c:v>
                </c:pt>
                <c:pt idx="1089">
                  <c:v>4.2070424784413927</c:v>
                </c:pt>
                <c:pt idx="1090">
                  <c:v>4.1590607571923446</c:v>
                </c:pt>
                <c:pt idx="1091">
                  <c:v>4.1211458614844121</c:v>
                </c:pt>
                <c:pt idx="1092">
                  <c:v>4.0820455494680985</c:v>
                </c:pt>
                <c:pt idx="1093">
                  <c:v>4.0381544357909736</c:v>
                </c:pt>
                <c:pt idx="1094">
                  <c:v>3.9970026779352876</c:v>
                </c:pt>
                <c:pt idx="1095">
                  <c:v>3.9443714222538886</c:v>
                </c:pt>
                <c:pt idx="1096">
                  <c:v>3.9151229639092953</c:v>
                </c:pt>
                <c:pt idx="1097">
                  <c:v>3.8675097658649249</c:v>
                </c:pt>
                <c:pt idx="1098">
                  <c:v>3.8315787534088401</c:v>
                </c:pt>
                <c:pt idx="1099">
                  <c:v>3.7977606073262424</c:v>
                </c:pt>
                <c:pt idx="1100">
                  <c:v>3.7616330491609959</c:v>
                </c:pt>
                <c:pt idx="1101">
                  <c:v>3.7152912561727645</c:v>
                </c:pt>
                <c:pt idx="1102">
                  <c:v>3.6990455248998848</c:v>
                </c:pt>
                <c:pt idx="1103">
                  <c:v>3.6896727513942458</c:v>
                </c:pt>
                <c:pt idx="1104">
                  <c:v>3.6569540328722696</c:v>
                </c:pt>
                <c:pt idx="1105">
                  <c:v>3.6070744171191307</c:v>
                </c:pt>
                <c:pt idx="1106">
                  <c:v>3.5749760459916953</c:v>
                </c:pt>
                <c:pt idx="1107">
                  <c:v>3.5294634302139887</c:v>
                </c:pt>
                <c:pt idx="1108">
                  <c:v>3.4985504753949335</c:v>
                </c:pt>
                <c:pt idx="1109">
                  <c:v>3.4659545979411828</c:v>
                </c:pt>
                <c:pt idx="1110">
                  <c:v>3.436300764071444</c:v>
                </c:pt>
                <c:pt idx="1111">
                  <c:v>3.4136734393042283</c:v>
                </c:pt>
                <c:pt idx="1112">
                  <c:v>3.3775827334594508</c:v>
                </c:pt>
                <c:pt idx="1113">
                  <c:v>3.3459880107117419</c:v>
                </c:pt>
                <c:pt idx="1114">
                  <c:v>3.3201238237967723</c:v>
                </c:pt>
                <c:pt idx="1115">
                  <c:v>3.325964916590916</c:v>
                </c:pt>
                <c:pt idx="1116">
                  <c:v>3.3332678180969477</c:v>
                </c:pt>
                <c:pt idx="1117">
                  <c:v>3.3463872441834766</c:v>
                </c:pt>
                <c:pt idx="1118">
                  <c:v>3.3307864285187834</c:v>
                </c:pt>
                <c:pt idx="1119">
                  <c:v>3.3367442203277404</c:v>
                </c:pt>
                <c:pt idx="1120">
                  <c:v>3.3664717588384154</c:v>
                </c:pt>
                <c:pt idx="1121">
                  <c:v>3.3792165196668549</c:v>
                </c:pt>
                <c:pt idx="1122">
                  <c:v>3.3983490160430434</c:v>
                </c:pt>
                <c:pt idx="1123">
                  <c:v>3.3925324914625454</c:v>
                </c:pt>
                <c:pt idx="1124">
                  <c:v>3.4014753212293933</c:v>
                </c:pt>
                <c:pt idx="1125">
                  <c:v>3.426018966660934</c:v>
                </c:pt>
                <c:pt idx="1126">
                  <c:v>3.4309018991229148</c:v>
                </c:pt>
                <c:pt idx="1127">
                  <c:v>3.4282731002628801</c:v>
                </c:pt>
                <c:pt idx="1128">
                  <c:v>3.4423261184679266</c:v>
                </c:pt>
                <c:pt idx="1129">
                  <c:v>3.4282485320492349</c:v>
                </c:pt>
                <c:pt idx="1130">
                  <c:v>3.4124388865685575</c:v>
                </c:pt>
                <c:pt idx="1131">
                  <c:v>3.4166953295825868</c:v>
                </c:pt>
                <c:pt idx="1132">
                  <c:v>3.4065977937744152</c:v>
                </c:pt>
                <c:pt idx="1133">
                  <c:v>3.3865378473331211</c:v>
                </c:pt>
                <c:pt idx="1134">
                  <c:v>3.3727857897452282</c:v>
                </c:pt>
                <c:pt idx="1135">
                  <c:v>3.3702184114193066</c:v>
                </c:pt>
                <c:pt idx="1136">
                  <c:v>3.3845355379210389</c:v>
                </c:pt>
                <c:pt idx="1137">
                  <c:v>3.3921271159374009</c:v>
                </c:pt>
                <c:pt idx="1138">
                  <c:v>3.3875451440925732</c:v>
                </c:pt>
                <c:pt idx="1139">
                  <c:v>3.3666191681202866</c:v>
                </c:pt>
                <c:pt idx="1140">
                  <c:v>3.3723619880598488</c:v>
                </c:pt>
                <c:pt idx="1141">
                  <c:v>3.3681485394196988</c:v>
                </c:pt>
                <c:pt idx="1142">
                  <c:v>3.3549369825320006</c:v>
                </c:pt>
                <c:pt idx="1143">
                  <c:v>3.3588433285015848</c:v>
                </c:pt>
                <c:pt idx="1144">
                  <c:v>3.3255779672260037</c:v>
                </c:pt>
                <c:pt idx="1145">
                  <c:v>3.3175687295776726</c:v>
                </c:pt>
                <c:pt idx="1146">
                  <c:v>3.3387956661671132</c:v>
                </c:pt>
                <c:pt idx="1147">
                  <c:v>3.3541692258555877</c:v>
                </c:pt>
                <c:pt idx="1148">
                  <c:v>3.354193794069233</c:v>
                </c:pt>
                <c:pt idx="1149">
                  <c:v>3.3592609881335522</c:v>
                </c:pt>
                <c:pt idx="1150">
                  <c:v>3.3629707883939752</c:v>
                </c:pt>
                <c:pt idx="1151">
                  <c:v>3.3372048743335871</c:v>
                </c:pt>
                <c:pt idx="1152">
                  <c:v>3.3271626170061173</c:v>
                </c:pt>
                <c:pt idx="1153">
                  <c:v>3.3113775397390852</c:v>
                </c:pt>
                <c:pt idx="1154">
                  <c:v>3.3362282878411906</c:v>
                </c:pt>
                <c:pt idx="1155">
                  <c:v>3.3276048448517308</c:v>
                </c:pt>
                <c:pt idx="1156">
                  <c:v>3.3319288504532829</c:v>
                </c:pt>
                <c:pt idx="1157">
                  <c:v>3.3683389430754485</c:v>
                </c:pt>
                <c:pt idx="1158">
                  <c:v>3.3797385942068146</c:v>
                </c:pt>
                <c:pt idx="1159">
                  <c:v>3.3558091541164039</c:v>
                </c:pt>
                <c:pt idx="1160">
                  <c:v>3.3530022357074412</c:v>
                </c:pt>
                <c:pt idx="1161">
                  <c:v>3.3710967250571207</c:v>
                </c:pt>
                <c:pt idx="1162">
                  <c:v>3.3718890499471779</c:v>
                </c:pt>
                <c:pt idx="1163">
                  <c:v>3.4010023831167233</c:v>
                </c:pt>
                <c:pt idx="1164">
                  <c:v>3.39179544505319</c:v>
                </c:pt>
                <c:pt idx="1165">
                  <c:v>3.388589293172493</c:v>
                </c:pt>
                <c:pt idx="1166">
                  <c:v>3.379173525292976</c:v>
                </c:pt>
                <c:pt idx="1167">
                  <c:v>3.3586283566321895</c:v>
                </c:pt>
                <c:pt idx="1168">
                  <c:v>3.3652372061027447</c:v>
                </c:pt>
                <c:pt idx="1169">
                  <c:v>3.3798552932216301</c:v>
                </c:pt>
                <c:pt idx="1170">
                  <c:v>3.408870353536595</c:v>
                </c:pt>
                <c:pt idx="1171">
                  <c:v>3.3877478318551466</c:v>
                </c:pt>
                <c:pt idx="1172">
                  <c:v>3.3731420288430836</c:v>
                </c:pt>
                <c:pt idx="1173">
                  <c:v>3.3760595042134494</c:v>
                </c:pt>
                <c:pt idx="1174">
                  <c:v>3.3789155590497026</c:v>
                </c:pt>
                <c:pt idx="1175">
                  <c:v>3.382287546372504</c:v>
                </c:pt>
                <c:pt idx="1176">
                  <c:v>3.3805677714173412</c:v>
                </c:pt>
                <c:pt idx="1177">
                  <c:v>3.3676326069331508</c:v>
                </c:pt>
                <c:pt idx="1178">
                  <c:v>3.3608886322875464</c:v>
                </c:pt>
                <c:pt idx="1179">
                  <c:v>3.342788000884457</c:v>
                </c:pt>
                <c:pt idx="1180">
                  <c:v>3.3533953271257664</c:v>
                </c:pt>
                <c:pt idx="1181">
                  <c:v>3.3220340024076864</c:v>
                </c:pt>
                <c:pt idx="1182">
                  <c:v>3.3277031177063123</c:v>
                </c:pt>
                <c:pt idx="1183">
                  <c:v>3.3340662850404161</c:v>
                </c:pt>
                <c:pt idx="1184">
                  <c:v>3.3447288897624263</c:v>
                </c:pt>
                <c:pt idx="1185">
                  <c:v>3.3171940643195841</c:v>
                </c:pt>
                <c:pt idx="1186">
                  <c:v>3.3266589686263925</c:v>
                </c:pt>
                <c:pt idx="1187">
                  <c:v>3.3168316831683176</c:v>
                </c:pt>
                <c:pt idx="1188">
                  <c:v>3.3094120826474711</c:v>
                </c:pt>
                <c:pt idx="1189">
                  <c:v>3.2952116551605539</c:v>
                </c:pt>
                <c:pt idx="1190">
                  <c:v>3.3239318969117764</c:v>
                </c:pt>
                <c:pt idx="1191">
                  <c:v>3.3484202638626153</c:v>
                </c:pt>
                <c:pt idx="1192">
                  <c:v>3.3655934452006</c:v>
                </c:pt>
                <c:pt idx="1193">
                  <c:v>3.3847320836301993</c:v>
                </c:pt>
                <c:pt idx="1194">
                  <c:v>3.3795174802840089</c:v>
                </c:pt>
                <c:pt idx="1195">
                  <c:v>3.4077954941896178</c:v>
                </c:pt>
                <c:pt idx="1196">
                  <c:v>3.4249318232071349</c:v>
                </c:pt>
                <c:pt idx="1197">
                  <c:v>3.4212035967864787</c:v>
                </c:pt>
                <c:pt idx="1198">
                  <c:v>3.4260251087143456</c:v>
                </c:pt>
                <c:pt idx="1199">
                  <c:v>3.4026484534309516</c:v>
                </c:pt>
                <c:pt idx="1200">
                  <c:v>3.3923298036999734</c:v>
                </c:pt>
                <c:pt idx="1201">
                  <c:v>3.3695489275974748</c:v>
                </c:pt>
                <c:pt idx="1202">
                  <c:v>3.3859789204726933</c:v>
                </c:pt>
                <c:pt idx="1203">
                  <c:v>3.3958799105717028</c:v>
                </c:pt>
                <c:pt idx="1204">
                  <c:v>3.3898852664422776</c:v>
                </c:pt>
                <c:pt idx="1205">
                  <c:v>3.3792103776134441</c:v>
                </c:pt>
                <c:pt idx="1206">
                  <c:v>3.3865255632262987</c:v>
                </c:pt>
                <c:pt idx="1207">
                  <c:v>3.4081455912340619</c:v>
                </c:pt>
                <c:pt idx="1208">
                  <c:v>3.4104304351030645</c:v>
                </c:pt>
                <c:pt idx="1209">
                  <c:v>3.405332530771688</c:v>
                </c:pt>
                <c:pt idx="1210">
                  <c:v>3.4375598850207609</c:v>
                </c:pt>
                <c:pt idx="1211">
                  <c:v>3.4209026361693251</c:v>
                </c:pt>
                <c:pt idx="1212">
                  <c:v>3.4209026361693247</c:v>
                </c:pt>
                <c:pt idx="1213">
                  <c:v>3.4176289217011036</c:v>
                </c:pt>
                <c:pt idx="1214">
                  <c:v>3.4230093604893987</c:v>
                </c:pt>
                <c:pt idx="1215">
                  <c:v>3.4267805812839347</c:v>
                </c:pt>
                <c:pt idx="1216">
                  <c:v>3.4589956514261848</c:v>
                </c:pt>
                <c:pt idx="1217">
                  <c:v>3.4668144854187655</c:v>
                </c:pt>
                <c:pt idx="1218">
                  <c:v>3.4573864334324251</c:v>
                </c:pt>
                <c:pt idx="1219">
                  <c:v>3.4556543743704395</c:v>
                </c:pt>
                <c:pt idx="1220">
                  <c:v>3.4788959044787853</c:v>
                </c:pt>
                <c:pt idx="1221">
                  <c:v>3.4648613124339724</c:v>
                </c:pt>
                <c:pt idx="1222">
                  <c:v>3.4495675994398449</c:v>
                </c:pt>
                <c:pt idx="1223">
                  <c:v>3.4103690145689507</c:v>
                </c:pt>
                <c:pt idx="1224">
                  <c:v>3.3909601257892539</c:v>
                </c:pt>
                <c:pt idx="1225">
                  <c:v>3.4037847333120408</c:v>
                </c:pt>
                <c:pt idx="1226">
                  <c:v>3.3877846841756138</c:v>
                </c:pt>
                <c:pt idx="1227">
                  <c:v>3.3706483551580964</c:v>
                </c:pt>
                <c:pt idx="1228">
                  <c:v>3.3881409232734687</c:v>
                </c:pt>
                <c:pt idx="1229">
                  <c:v>3.4094231383436107</c:v>
                </c:pt>
                <c:pt idx="1230">
                  <c:v>3.4221617571186398</c:v>
                </c:pt>
                <c:pt idx="1231">
                  <c:v>3.43708694690809</c:v>
                </c:pt>
                <c:pt idx="1232">
                  <c:v>3.4830417905314106</c:v>
                </c:pt>
                <c:pt idx="1233">
                  <c:v>3.509053386728251</c:v>
                </c:pt>
                <c:pt idx="1234">
                  <c:v>3.5396101024494504</c:v>
                </c:pt>
                <c:pt idx="1235">
                  <c:v>3.5849384566248186</c:v>
                </c:pt>
                <c:pt idx="1236">
                  <c:v>3.6186890401198921</c:v>
                </c:pt>
                <c:pt idx="1237">
                  <c:v>3.6609770778566681</c:v>
                </c:pt>
                <c:pt idx="1238">
                  <c:v>3.6687897697958376</c:v>
                </c:pt>
                <c:pt idx="1239">
                  <c:v>3.7022148244601132</c:v>
                </c:pt>
                <c:pt idx="1240">
                  <c:v>3.7278947497727439</c:v>
                </c:pt>
                <c:pt idx="1241">
                  <c:v>3.7401542883816914</c:v>
                </c:pt>
                <c:pt idx="1242">
                  <c:v>3.7863548141414629</c:v>
                </c:pt>
                <c:pt idx="1243">
                  <c:v>3.8336179151413896</c:v>
                </c:pt>
                <c:pt idx="1244">
                  <c:v>3.8775765914060383</c:v>
                </c:pt>
                <c:pt idx="1245">
                  <c:v>3.9115175785568632</c:v>
                </c:pt>
                <c:pt idx="1246">
                  <c:v>3.9288136009630725</c:v>
                </c:pt>
                <c:pt idx="1247">
                  <c:v>3.9441994447583713</c:v>
                </c:pt>
                <c:pt idx="1248">
                  <c:v>3.9767891801587094</c:v>
                </c:pt>
                <c:pt idx="1249">
                  <c:v>4.0149006215758041</c:v>
                </c:pt>
                <c:pt idx="1250">
                  <c:v>4.0393091418322973</c:v>
                </c:pt>
                <c:pt idx="1251">
                  <c:v>4.046532196643982</c:v>
                </c:pt>
                <c:pt idx="1252">
                  <c:v>4.06864973097806</c:v>
                </c:pt>
                <c:pt idx="1253">
                  <c:v>4.1154337518119055</c:v>
                </c:pt>
                <c:pt idx="1254">
                  <c:v>4.157199715008721</c:v>
                </c:pt>
                <c:pt idx="1255">
                  <c:v>4.1930201705034014</c:v>
                </c:pt>
                <c:pt idx="1256">
                  <c:v>4.1927253519396599</c:v>
                </c:pt>
                <c:pt idx="1257">
                  <c:v>4.2366717440974861</c:v>
                </c:pt>
                <c:pt idx="1258">
                  <c:v>4.2854826425570591</c:v>
                </c:pt>
                <c:pt idx="1259">
                  <c:v>4.3070228238704757</c:v>
                </c:pt>
                <c:pt idx="1260">
                  <c:v>4.3272301795936414</c:v>
                </c:pt>
                <c:pt idx="1261">
                  <c:v>4.3633823059725323</c:v>
                </c:pt>
                <c:pt idx="1262">
                  <c:v>4.3897317151069934</c:v>
                </c:pt>
                <c:pt idx="1263">
                  <c:v>4.3916664619315533</c:v>
                </c:pt>
                <c:pt idx="1264">
                  <c:v>4.405344814878509</c:v>
                </c:pt>
                <c:pt idx="1265">
                  <c:v>4.407420828931528</c:v>
                </c:pt>
                <c:pt idx="1266">
                  <c:v>4.4087720806820139</c:v>
                </c:pt>
                <c:pt idx="1267">
                  <c:v>4.3991167727194549</c:v>
                </c:pt>
                <c:pt idx="1268">
                  <c:v>4.4042576714247108</c:v>
                </c:pt>
                <c:pt idx="1269">
                  <c:v>4.4198830553030488</c:v>
                </c:pt>
                <c:pt idx="1270">
                  <c:v>4.4137410018917524</c:v>
                </c:pt>
                <c:pt idx="1271">
                  <c:v>4.4263015011178535</c:v>
                </c:pt>
                <c:pt idx="1272">
                  <c:v>4.4328366459474733</c:v>
                </c:pt>
                <c:pt idx="1273">
                  <c:v>4.4386531705279717</c:v>
                </c:pt>
                <c:pt idx="1274">
                  <c:v>4.4443468540402433</c:v>
                </c:pt>
                <c:pt idx="1275">
                  <c:v>4.4313994054492296</c:v>
                </c:pt>
                <c:pt idx="1276">
                  <c:v>4.4214861312433973</c:v>
                </c:pt>
                <c:pt idx="1277">
                  <c:v>4.3979006461440191</c:v>
                </c:pt>
                <c:pt idx="1278">
                  <c:v>4.3615826843230225</c:v>
                </c:pt>
                <c:pt idx="1279">
                  <c:v>4.3256393877601154</c:v>
                </c:pt>
                <c:pt idx="1280">
                  <c:v>4.3109721642139398</c:v>
                </c:pt>
                <c:pt idx="1281">
                  <c:v>4.2722772277227721</c:v>
                </c:pt>
                <c:pt idx="1282">
                  <c:v>4.2460875119770041</c:v>
                </c:pt>
                <c:pt idx="1283">
                  <c:v>4.2263100999926291</c:v>
                </c:pt>
                <c:pt idx="1284">
                  <c:v>4.1899122914772873</c:v>
                </c:pt>
                <c:pt idx="1285">
                  <c:v>4.1529371299412814</c:v>
                </c:pt>
                <c:pt idx="1286">
                  <c:v>4.1287865759280642</c:v>
                </c:pt>
                <c:pt idx="1287">
                  <c:v>4.1018843819865864</c:v>
                </c:pt>
                <c:pt idx="1288">
                  <c:v>4.0621207282018528</c:v>
                </c:pt>
                <c:pt idx="1289">
                  <c:v>4.0232415301083462</c:v>
                </c:pt>
                <c:pt idx="1290">
                  <c:v>4.0137643416947162</c:v>
                </c:pt>
                <c:pt idx="1291">
                  <c:v>3.978607227968455</c:v>
                </c:pt>
                <c:pt idx="1292">
                  <c:v>3.9622386556273494</c:v>
                </c:pt>
                <c:pt idx="1293">
                  <c:v>3.9376950101958088</c:v>
                </c:pt>
                <c:pt idx="1294">
                  <c:v>3.9137041495712848</c:v>
                </c:pt>
                <c:pt idx="1295">
                  <c:v>3.8788787067292345</c:v>
                </c:pt>
                <c:pt idx="1296">
                  <c:v>3.8384517111760812</c:v>
                </c:pt>
                <c:pt idx="1297">
                  <c:v>3.8053460432891932</c:v>
                </c:pt>
                <c:pt idx="1298">
                  <c:v>3.7769451883153584</c:v>
                </c:pt>
                <c:pt idx="1299">
                  <c:v>3.7447485443333424</c:v>
                </c:pt>
                <c:pt idx="1300">
                  <c:v>3.7156597793774431</c:v>
                </c:pt>
                <c:pt idx="1301">
                  <c:v>3.6796673463872454</c:v>
                </c:pt>
                <c:pt idx="1302">
                  <c:v>3.6344249809596345</c:v>
                </c:pt>
                <c:pt idx="1303">
                  <c:v>3.5942190993292877</c:v>
                </c:pt>
                <c:pt idx="1304">
                  <c:v>3.5699272780876106</c:v>
                </c:pt>
                <c:pt idx="1305">
                  <c:v>3.5478036017001209</c:v>
                </c:pt>
                <c:pt idx="1306">
                  <c:v>3.5122104021816578</c:v>
                </c:pt>
                <c:pt idx="1307">
                  <c:v>3.4886924796698038</c:v>
                </c:pt>
                <c:pt idx="1308">
                  <c:v>3.4874272166670761</c:v>
                </c:pt>
                <c:pt idx="1309">
                  <c:v>3.4834164557894995</c:v>
                </c:pt>
                <c:pt idx="1310">
                  <c:v>3.4722993391150525</c:v>
                </c:pt>
                <c:pt idx="1311">
                  <c:v>3.4716912758273346</c:v>
                </c:pt>
                <c:pt idx="1312">
                  <c:v>3.4625641844581483</c:v>
                </c:pt>
                <c:pt idx="1313">
                  <c:v>3.4747008819988698</c:v>
                </c:pt>
                <c:pt idx="1314">
                  <c:v>3.4825872785789751</c:v>
                </c:pt>
                <c:pt idx="1315">
                  <c:v>3.4965604500896745</c:v>
                </c:pt>
                <c:pt idx="1316">
                  <c:v>3.495110925484608</c:v>
                </c:pt>
                <c:pt idx="1317">
                  <c:v>3.4778149030783974</c:v>
                </c:pt>
                <c:pt idx="1318">
                  <c:v>3.4634424980959642</c:v>
                </c:pt>
                <c:pt idx="1319">
                  <c:v>3.4683807090386458</c:v>
                </c:pt>
                <c:pt idx="1320">
                  <c:v>3.4740928187111519</c:v>
                </c:pt>
                <c:pt idx="1321">
                  <c:v>3.4519691423236614</c:v>
                </c:pt>
                <c:pt idx="1322">
                  <c:v>3.4471046360219146</c:v>
                </c:pt>
                <c:pt idx="1323">
                  <c:v>3.4522332506203481</c:v>
                </c:pt>
                <c:pt idx="1324">
                  <c:v>3.4638785838881656</c:v>
                </c:pt>
                <c:pt idx="1325">
                  <c:v>3.4582217526963612</c:v>
                </c:pt>
                <c:pt idx="1326">
                  <c:v>3.464756897525981</c:v>
                </c:pt>
                <c:pt idx="1327">
                  <c:v>3.4606847161142906</c:v>
                </c:pt>
                <c:pt idx="1328">
                  <c:v>3.460162641574331</c:v>
                </c:pt>
                <c:pt idx="1329">
                  <c:v>3.4572083138834975</c:v>
                </c:pt>
                <c:pt idx="1330">
                  <c:v>3.4528106036410091</c:v>
                </c:pt>
                <c:pt idx="1331">
                  <c:v>3.434709972237918</c:v>
                </c:pt>
                <c:pt idx="1332">
                  <c:v>3.4360366557747586</c:v>
                </c:pt>
                <c:pt idx="1333">
                  <c:v>3.4510539763653787</c:v>
                </c:pt>
                <c:pt idx="1334">
                  <c:v>3.4411407021595459</c:v>
                </c:pt>
                <c:pt idx="1335">
                  <c:v>3.4243606122398837</c:v>
                </c:pt>
                <c:pt idx="1336">
                  <c:v>3.4110630666044268</c:v>
                </c:pt>
                <c:pt idx="1337">
                  <c:v>3.4161609709358025</c:v>
                </c:pt>
                <c:pt idx="1338">
                  <c:v>3.4072119991155438</c:v>
                </c:pt>
                <c:pt idx="1339">
                  <c:v>3.4026300272707166</c:v>
                </c:pt>
                <c:pt idx="1340">
                  <c:v>3.394700636316732</c:v>
                </c:pt>
                <c:pt idx="1341">
                  <c:v>3.4052772522909849</c:v>
                </c:pt>
                <c:pt idx="1342">
                  <c:v>3.3647212736161949</c:v>
                </c:pt>
                <c:pt idx="1343">
                  <c:v>3.3761332088543838</c:v>
                </c:pt>
                <c:pt idx="1344">
                  <c:v>3.3723865562734932</c:v>
                </c:pt>
                <c:pt idx="1345">
                  <c:v>3.3548571358376527</c:v>
                </c:pt>
                <c:pt idx="1346">
                  <c:v>3.3378067955678943</c:v>
                </c:pt>
                <c:pt idx="1347">
                  <c:v>3.3422720683979068</c:v>
                </c:pt>
                <c:pt idx="1348">
                  <c:v>3.3510429206692383</c:v>
                </c:pt>
                <c:pt idx="1349">
                  <c:v>3.3635911357885164</c:v>
                </c:pt>
                <c:pt idx="1350">
                  <c:v>3.3579281625433013</c:v>
                </c:pt>
                <c:pt idx="1351">
                  <c:v>3.3702368375795393</c:v>
                </c:pt>
                <c:pt idx="1352">
                  <c:v>3.3894123283296076</c:v>
                </c:pt>
                <c:pt idx="1353">
                  <c:v>3.4153072255116337</c:v>
                </c:pt>
                <c:pt idx="1354">
                  <c:v>3.3857270962828299</c:v>
                </c:pt>
                <c:pt idx="1355">
                  <c:v>3.3540341006805399</c:v>
                </c:pt>
                <c:pt idx="1356">
                  <c:v>3.3595250964302386</c:v>
                </c:pt>
                <c:pt idx="1357">
                  <c:v>3.3475358081713877</c:v>
                </c:pt>
                <c:pt idx="1358">
                  <c:v>3.3652249219959214</c:v>
                </c:pt>
                <c:pt idx="1359">
                  <c:v>3.3647028474559608</c:v>
                </c:pt>
                <c:pt idx="1360">
                  <c:v>3.3619450654742895</c:v>
                </c:pt>
                <c:pt idx="1361">
                  <c:v>3.3653968994914383</c:v>
                </c:pt>
                <c:pt idx="1362">
                  <c:v>3.3558951428641621</c:v>
                </c:pt>
                <c:pt idx="1363">
                  <c:v>3.3534935999803461</c:v>
                </c:pt>
                <c:pt idx="1364">
                  <c:v>3.3509999262953594</c:v>
                </c:pt>
                <c:pt idx="1365">
                  <c:v>3.3502874480996492</c:v>
                </c:pt>
                <c:pt idx="1366">
                  <c:v>3.3598506252610378</c:v>
                </c:pt>
                <c:pt idx="1367">
                  <c:v>3.3749293663857705</c:v>
                </c:pt>
                <c:pt idx="1368">
                  <c:v>3.3822998304793264</c:v>
                </c:pt>
                <c:pt idx="1369">
                  <c:v>3.3760472201066269</c:v>
                </c:pt>
                <c:pt idx="1370">
                  <c:v>3.3698560302680405</c:v>
                </c:pt>
                <c:pt idx="1371">
                  <c:v>3.3997801144878772</c:v>
                </c:pt>
                <c:pt idx="1372">
                  <c:v>3.408716802201313</c:v>
                </c:pt>
                <c:pt idx="1373">
                  <c:v>3.4126538584379538</c:v>
                </c:pt>
                <c:pt idx="1374">
                  <c:v>3.4295506473724298</c:v>
                </c:pt>
                <c:pt idx="1375">
                  <c:v>3.4494386163182078</c:v>
                </c:pt>
                <c:pt idx="1376">
                  <c:v>3.4551814362577704</c:v>
                </c:pt>
                <c:pt idx="1377">
                  <c:v>3.4448873547404371</c:v>
                </c:pt>
                <c:pt idx="1378">
                  <c:v>3.4370808048546793</c:v>
                </c:pt>
                <c:pt idx="1379">
                  <c:v>3.4231874800383268</c:v>
                </c:pt>
                <c:pt idx="1380">
                  <c:v>3.4356558484632584</c:v>
                </c:pt>
                <c:pt idx="1381">
                  <c:v>3.4212957275876477</c:v>
                </c:pt>
                <c:pt idx="1382">
                  <c:v>3.3916664619315537</c:v>
                </c:pt>
                <c:pt idx="1383">
                  <c:v>3.3783627742426856</c:v>
                </c:pt>
                <c:pt idx="1384">
                  <c:v>3.3636218460555738</c:v>
                </c:pt>
                <c:pt idx="1385">
                  <c:v>3.3642483355035262</c:v>
                </c:pt>
                <c:pt idx="1386">
                  <c:v>3.3781048079994109</c:v>
                </c:pt>
                <c:pt idx="1387">
                  <c:v>3.3480333144977035</c:v>
                </c:pt>
                <c:pt idx="1388">
                  <c:v>3.3383534383215001</c:v>
                </c:pt>
                <c:pt idx="1389">
                  <c:v>3.3473822568361067</c:v>
                </c:pt>
                <c:pt idx="1390">
                  <c:v>3.3403803159472285</c:v>
                </c:pt>
                <c:pt idx="1391">
                  <c:v>3.3472532737144687</c:v>
                </c:pt>
                <c:pt idx="1392">
                  <c:v>3.341258629585043</c:v>
                </c:pt>
                <c:pt idx="1393">
                  <c:v>3.3499680613222611</c:v>
                </c:pt>
                <c:pt idx="1394">
                  <c:v>3.3604095521214652</c:v>
                </c:pt>
                <c:pt idx="1395">
                  <c:v>3.3589538854629875</c:v>
                </c:pt>
                <c:pt idx="1396">
                  <c:v>3.3697638994668702</c:v>
                </c:pt>
                <c:pt idx="1397">
                  <c:v>3.3822998304793259</c:v>
                </c:pt>
                <c:pt idx="1398">
                  <c:v>3.3713546913003958</c:v>
                </c:pt>
                <c:pt idx="1399">
                  <c:v>3.360059455077022</c:v>
                </c:pt>
                <c:pt idx="1400">
                  <c:v>3.3834422524138277</c:v>
                </c:pt>
                <c:pt idx="1401">
                  <c:v>3.4011006559713048</c:v>
                </c:pt>
                <c:pt idx="1402">
                  <c:v>3.3751566223619882</c:v>
                </c:pt>
                <c:pt idx="1403">
                  <c:v>3.3606920865783851</c:v>
                </c:pt>
                <c:pt idx="1404">
                  <c:v>3.3675834705058603</c:v>
                </c:pt>
                <c:pt idx="1405">
                  <c:v>3.3520133651082236</c:v>
                </c:pt>
                <c:pt idx="1406">
                  <c:v>3.3301046605901288</c:v>
                </c:pt>
                <c:pt idx="1407">
                  <c:v>3.3404171682676953</c:v>
                </c:pt>
                <c:pt idx="1408">
                  <c:v>3.3493599980345432</c:v>
                </c:pt>
                <c:pt idx="1409">
                  <c:v>3.3548571358376535</c:v>
                </c:pt>
                <c:pt idx="1410">
                  <c:v>3.3610483256762405</c:v>
                </c:pt>
                <c:pt idx="1411">
                  <c:v>3.3510736309362943</c:v>
                </c:pt>
                <c:pt idx="1412">
                  <c:v>3.3591811414392061</c:v>
                </c:pt>
                <c:pt idx="1413">
                  <c:v>3.3771650738274821</c:v>
                </c:pt>
                <c:pt idx="1414">
                  <c:v>3.3604464044419324</c:v>
                </c:pt>
                <c:pt idx="1415">
                  <c:v>3.3630506350883227</c:v>
                </c:pt>
                <c:pt idx="1416">
                  <c:v>3.3810837039038888</c:v>
                </c:pt>
                <c:pt idx="1417">
                  <c:v>3.3975444070461638</c:v>
                </c:pt>
                <c:pt idx="1418">
                  <c:v>3.4342861705525385</c:v>
                </c:pt>
                <c:pt idx="1419">
                  <c:v>3.4432044321057407</c:v>
                </c:pt>
                <c:pt idx="1420">
                  <c:v>3.4336228287841184</c:v>
                </c:pt>
                <c:pt idx="1421">
                  <c:v>3.4225425644301399</c:v>
                </c:pt>
                <c:pt idx="1422">
                  <c:v>3.4190661621993459</c:v>
                </c:pt>
                <c:pt idx="1423">
                  <c:v>3.4017087192590223</c:v>
                </c:pt>
                <c:pt idx="1424">
                  <c:v>3.4297349089747677</c:v>
                </c:pt>
                <c:pt idx="1425">
                  <c:v>3.4284573618652181</c:v>
                </c:pt>
                <c:pt idx="1426">
                  <c:v>3.4263199272780871</c:v>
                </c:pt>
                <c:pt idx="1427">
                  <c:v>3.4097363830675862</c:v>
                </c:pt>
                <c:pt idx="1428">
                  <c:v>3.3932019752843763</c:v>
                </c:pt>
                <c:pt idx="1429">
                  <c:v>3.4084035574773348</c:v>
                </c:pt>
                <c:pt idx="1430">
                  <c:v>3.4043498022258802</c:v>
                </c:pt>
                <c:pt idx="1431">
                  <c:v>3.404577058202098</c:v>
                </c:pt>
                <c:pt idx="1432">
                  <c:v>3.383528241161585</c:v>
                </c:pt>
                <c:pt idx="1433">
                  <c:v>3.3797017418863469</c:v>
                </c:pt>
                <c:pt idx="1434">
                  <c:v>3.3891912144068006</c:v>
                </c:pt>
                <c:pt idx="1435">
                  <c:v>3.3797508783136379</c:v>
                </c:pt>
                <c:pt idx="1436">
                  <c:v>3.3772633466820623</c:v>
                </c:pt>
                <c:pt idx="1437">
                  <c:v>3.3626882539370557</c:v>
                </c:pt>
                <c:pt idx="1438">
                  <c:v>3.3516325577967225</c:v>
                </c:pt>
                <c:pt idx="1439">
                  <c:v>3.3639289487261381</c:v>
                </c:pt>
                <c:pt idx="1440">
                  <c:v>3.3690329951109255</c:v>
                </c:pt>
                <c:pt idx="1441">
                  <c:v>3.3799781342898561</c:v>
                </c:pt>
                <c:pt idx="1442">
                  <c:v>3.3794744859101291</c:v>
                </c:pt>
                <c:pt idx="1443">
                  <c:v>3.3820050119155836</c:v>
                </c:pt>
                <c:pt idx="1444">
                  <c:v>3.3518598137729407</c:v>
                </c:pt>
                <c:pt idx="1445">
                  <c:v>3.3764157433113033</c:v>
                </c:pt>
                <c:pt idx="1446">
                  <c:v>3.3715512370095571</c:v>
                </c:pt>
                <c:pt idx="1447">
                  <c:v>3.3650652286072273</c:v>
                </c:pt>
                <c:pt idx="1448">
                  <c:v>3.3692786772473777</c:v>
                </c:pt>
                <c:pt idx="1449">
                  <c:v>3.3383780065351449</c:v>
                </c:pt>
                <c:pt idx="1450">
                  <c:v>3.3402451907721789</c:v>
                </c:pt>
                <c:pt idx="1451">
                  <c:v>3.32272191238975</c:v>
                </c:pt>
                <c:pt idx="1452">
                  <c:v>3.3540709530010075</c:v>
                </c:pt>
                <c:pt idx="1453">
                  <c:v>3.3586836351128908</c:v>
                </c:pt>
                <c:pt idx="1454">
                  <c:v>3.3782890696017494</c:v>
                </c:pt>
                <c:pt idx="1455">
                  <c:v>3.3547097265557824</c:v>
                </c:pt>
                <c:pt idx="1456">
                  <c:v>3.3476340810259688</c:v>
                </c:pt>
                <c:pt idx="1457">
                  <c:v>3.3445630543203202</c:v>
                </c:pt>
                <c:pt idx="1458">
                  <c:v>3.360077881237256</c:v>
                </c:pt>
                <c:pt idx="1459">
                  <c:v>3.3628110950052825</c:v>
                </c:pt>
                <c:pt idx="1460">
                  <c:v>3.3266773947866257</c:v>
                </c:pt>
                <c:pt idx="1461">
                  <c:v>3.332549197847825</c:v>
                </c:pt>
                <c:pt idx="1462">
                  <c:v>3.3247979264427689</c:v>
                </c:pt>
                <c:pt idx="1463">
                  <c:v>3.3531987814166047</c:v>
                </c:pt>
                <c:pt idx="1464">
                  <c:v>3.3806291919514546</c:v>
                </c:pt>
                <c:pt idx="1465">
                  <c:v>3.3704210991818795</c:v>
                </c:pt>
                <c:pt idx="1466">
                  <c:v>3.3854691300395556</c:v>
                </c:pt>
                <c:pt idx="1467">
                  <c:v>3.379928997862566</c:v>
                </c:pt>
                <c:pt idx="1468">
                  <c:v>3.3861570400216205</c:v>
                </c:pt>
                <c:pt idx="1469">
                  <c:v>3.3894184703830188</c:v>
                </c:pt>
                <c:pt idx="1470">
                  <c:v>3.3833992580399479</c:v>
                </c:pt>
                <c:pt idx="1471">
                  <c:v>3.3722207208313892</c:v>
                </c:pt>
                <c:pt idx="1472">
                  <c:v>3.3768641132103285</c:v>
                </c:pt>
                <c:pt idx="1473">
                  <c:v>3.3876741272142108</c:v>
                </c:pt>
                <c:pt idx="1474">
                  <c:v>3.3794806279635421</c:v>
                </c:pt>
                <c:pt idx="1475">
                  <c:v>3.4119843746161225</c:v>
                </c:pt>
                <c:pt idx="1476">
                  <c:v>3.4005417291108775</c:v>
                </c:pt>
                <c:pt idx="1477">
                  <c:v>3.3999398078765695</c:v>
                </c:pt>
                <c:pt idx="1478">
                  <c:v>3.4065118050266574</c:v>
                </c:pt>
                <c:pt idx="1479">
                  <c:v>3.3717969191460098</c:v>
                </c:pt>
                <c:pt idx="1480">
                  <c:v>3.38056162936393</c:v>
                </c:pt>
                <c:pt idx="1481">
                  <c:v>3.3736333931159881</c:v>
                </c:pt>
                <c:pt idx="1482">
                  <c:v>3.3860464830602175</c:v>
                </c:pt>
                <c:pt idx="1483">
                  <c:v>3.3614291329877415</c:v>
                </c:pt>
                <c:pt idx="1484">
                  <c:v>3.373614966955754</c:v>
                </c:pt>
                <c:pt idx="1485">
                  <c:v>3.3951367221089361</c:v>
                </c:pt>
                <c:pt idx="1486">
                  <c:v>3.4058361791514149</c:v>
                </c:pt>
                <c:pt idx="1487">
                  <c:v>3.4090546151389334</c:v>
                </c:pt>
                <c:pt idx="1488">
                  <c:v>3.3983920104169232</c:v>
                </c:pt>
                <c:pt idx="1489">
                  <c:v>3.3897071468933491</c:v>
                </c:pt>
                <c:pt idx="1490">
                  <c:v>3.3917401665724882</c:v>
                </c:pt>
                <c:pt idx="1491">
                  <c:v>3.3987666756750117</c:v>
                </c:pt>
                <c:pt idx="1492">
                  <c:v>3.3968196447436307</c:v>
                </c:pt>
                <c:pt idx="1493">
                  <c:v>3.4186423605139677</c:v>
                </c:pt>
                <c:pt idx="1494">
                  <c:v>3.4020588163034664</c:v>
                </c:pt>
                <c:pt idx="1495">
                  <c:v>3.3885462987986141</c:v>
                </c:pt>
                <c:pt idx="1496">
                  <c:v>3.3988956587966488</c:v>
                </c:pt>
                <c:pt idx="1497">
                  <c:v>3.4043498022258798</c:v>
                </c:pt>
                <c:pt idx="1498">
                  <c:v>3.3992518978945041</c:v>
                </c:pt>
                <c:pt idx="1499">
                  <c:v>3.4063521116379629</c:v>
                </c:pt>
                <c:pt idx="1500">
                  <c:v>3.4064810947595996</c:v>
                </c:pt>
                <c:pt idx="1501">
                  <c:v>3.3962484337763796</c:v>
                </c:pt>
                <c:pt idx="1502">
                  <c:v>3.4136857234110507</c:v>
                </c:pt>
                <c:pt idx="1503">
                  <c:v>3.4082008697147632</c:v>
                </c:pt>
                <c:pt idx="1504">
                  <c:v>3.3927290371717076</c:v>
                </c:pt>
                <c:pt idx="1505">
                  <c:v>3.3899159767093336</c:v>
                </c:pt>
                <c:pt idx="1506">
                  <c:v>3.3774844606048702</c:v>
                </c:pt>
                <c:pt idx="1507">
                  <c:v>3.3815443579097368</c:v>
                </c:pt>
                <c:pt idx="1508">
                  <c:v>3.3832518487580776</c:v>
                </c:pt>
                <c:pt idx="1509">
                  <c:v>3.3772940569491201</c:v>
                </c:pt>
                <c:pt idx="1510">
                  <c:v>3.3802422425865424</c:v>
                </c:pt>
                <c:pt idx="1511">
                  <c:v>3.388607719332728</c:v>
                </c:pt>
                <c:pt idx="1512">
                  <c:v>3.3851988796894581</c:v>
                </c:pt>
                <c:pt idx="1513">
                  <c:v>3.4085509667592073</c:v>
                </c:pt>
                <c:pt idx="1514">
                  <c:v>3.4213755742819942</c:v>
                </c:pt>
                <c:pt idx="1515">
                  <c:v>3.4191890032675727</c:v>
                </c:pt>
                <c:pt idx="1516">
                  <c:v>3.4006645701791025</c:v>
                </c:pt>
                <c:pt idx="1517">
                  <c:v>3.3846338107756191</c:v>
                </c:pt>
                <c:pt idx="1518">
                  <c:v>3.403385499840307</c:v>
                </c:pt>
                <c:pt idx="1519">
                  <c:v>3.4135198879689459</c:v>
                </c:pt>
                <c:pt idx="1520">
                  <c:v>3.4055106503206152</c:v>
                </c:pt>
                <c:pt idx="1521">
                  <c:v>3.4089502002309411</c:v>
                </c:pt>
                <c:pt idx="1522">
                  <c:v>3.4176227796476915</c:v>
                </c:pt>
                <c:pt idx="1523">
                  <c:v>3.4164619315529565</c:v>
                </c:pt>
                <c:pt idx="1524">
                  <c:v>3.4068189076972208</c:v>
                </c:pt>
                <c:pt idx="1525">
                  <c:v>3.4187344913151358</c:v>
                </c:pt>
                <c:pt idx="1526">
                  <c:v>3.4279475714320813</c:v>
                </c:pt>
                <c:pt idx="1527">
                  <c:v>3.4348450974129667</c:v>
                </c:pt>
                <c:pt idx="1528">
                  <c:v>3.4305886543989379</c:v>
                </c:pt>
                <c:pt idx="1529">
                  <c:v>3.4518155909883785</c:v>
                </c:pt>
                <c:pt idx="1530">
                  <c:v>3.4501326683536835</c:v>
                </c:pt>
                <c:pt idx="1531">
                  <c:v>3.4333280102203765</c:v>
                </c:pt>
                <c:pt idx="1532">
                  <c:v>3.4423629707883934</c:v>
                </c:pt>
                <c:pt idx="1533">
                  <c:v>3.4488428371373114</c:v>
                </c:pt>
                <c:pt idx="1534">
                  <c:v>3.4503722084367241</c:v>
                </c:pt>
                <c:pt idx="1535">
                  <c:v>3.4492420706090456</c:v>
                </c:pt>
                <c:pt idx="1536">
                  <c:v>3.4537871901334047</c:v>
                </c:pt>
                <c:pt idx="1537">
                  <c:v>3.4542724123528972</c:v>
                </c:pt>
                <c:pt idx="1538">
                  <c:v>3.444739945458565</c:v>
                </c:pt>
                <c:pt idx="1539">
                  <c:v>3.4468282436184059</c:v>
                </c:pt>
                <c:pt idx="1540">
                  <c:v>3.4532589735400334</c:v>
                </c:pt>
                <c:pt idx="1541">
                  <c:v>3.4694125740117432</c:v>
                </c:pt>
                <c:pt idx="1542">
                  <c:v>3.4650762843033682</c:v>
                </c:pt>
                <c:pt idx="1543">
                  <c:v>3.4727784192811337</c:v>
                </c:pt>
                <c:pt idx="1544">
                  <c:v>3.462459769550156</c:v>
                </c:pt>
                <c:pt idx="1545">
                  <c:v>3.4644252266417705</c:v>
                </c:pt>
                <c:pt idx="1546">
                  <c:v>3.4508021521755152</c:v>
                </c:pt>
                <c:pt idx="1547">
                  <c:v>3.4539960199493898</c:v>
                </c:pt>
                <c:pt idx="1548">
                  <c:v>3.4660098764218854</c:v>
                </c:pt>
                <c:pt idx="1549">
                  <c:v>3.4534370930889624</c:v>
                </c:pt>
                <c:pt idx="1550">
                  <c:v>3.4766847652507198</c:v>
                </c:pt>
                <c:pt idx="1551">
                  <c:v>3.4925066948382186</c:v>
                </c:pt>
                <c:pt idx="1552">
                  <c:v>3.4798786330245939</c:v>
                </c:pt>
                <c:pt idx="1553">
                  <c:v>3.479706655529077</c:v>
                </c:pt>
                <c:pt idx="1554">
                  <c:v>3.4958479718939639</c:v>
                </c:pt>
                <c:pt idx="1555">
                  <c:v>3.4983416455789498</c:v>
                </c:pt>
                <c:pt idx="1556">
                  <c:v>3.4771331351497423</c:v>
                </c:pt>
                <c:pt idx="1557">
                  <c:v>3.4695415571333807</c:v>
                </c:pt>
                <c:pt idx="1558">
                  <c:v>3.4592597597228703</c:v>
                </c:pt>
                <c:pt idx="1559">
                  <c:v>3.4756836105446771</c:v>
                </c:pt>
                <c:pt idx="1560">
                  <c:v>3.483760410780532</c:v>
                </c:pt>
                <c:pt idx="1561">
                  <c:v>3.4854310493084046</c:v>
                </c:pt>
                <c:pt idx="1562">
                  <c:v>3.4990418396678376</c:v>
                </c:pt>
                <c:pt idx="1563">
                  <c:v>3.4963577623271003</c:v>
                </c:pt>
                <c:pt idx="1564">
                  <c:v>3.4898164754440701</c:v>
                </c:pt>
                <c:pt idx="1565">
                  <c:v>3.4725695894651492</c:v>
                </c:pt>
                <c:pt idx="1566">
                  <c:v>3.4853819128811137</c:v>
                </c:pt>
                <c:pt idx="1567">
                  <c:v>3.5012591209493156</c:v>
                </c:pt>
                <c:pt idx="1568">
                  <c:v>3.5094464781465735</c:v>
                </c:pt>
                <c:pt idx="1569">
                  <c:v>3.529346731199174</c:v>
                </c:pt>
                <c:pt idx="1570">
                  <c:v>3.542460015232292</c:v>
                </c:pt>
                <c:pt idx="1571">
                  <c:v>3.5448984104365771</c:v>
                </c:pt>
                <c:pt idx="1572">
                  <c:v>3.5409060757192345</c:v>
                </c:pt>
                <c:pt idx="1573">
                  <c:v>3.5284745596147706</c:v>
                </c:pt>
                <c:pt idx="1574">
                  <c:v>3.5326818662015089</c:v>
                </c:pt>
                <c:pt idx="1575">
                  <c:v>3.5143048423949095</c:v>
                </c:pt>
                <c:pt idx="1576">
                  <c:v>3.5137643416947157</c:v>
                </c:pt>
                <c:pt idx="1577">
                  <c:v>3.513487949291207</c:v>
                </c:pt>
                <c:pt idx="1578">
                  <c:v>3.4972790703387959</c:v>
                </c:pt>
                <c:pt idx="1579">
                  <c:v>3.5020145935189055</c:v>
                </c:pt>
                <c:pt idx="1580">
                  <c:v>3.5231985357344664</c:v>
                </c:pt>
                <c:pt idx="1581">
                  <c:v>3.5099378424194776</c:v>
                </c:pt>
                <c:pt idx="1582">
                  <c:v>3.528314866226077</c:v>
                </c:pt>
                <c:pt idx="1583">
                  <c:v>3.5391678746038377</c:v>
                </c:pt>
                <c:pt idx="1584">
                  <c:v>3.555917254256443</c:v>
                </c:pt>
                <c:pt idx="1585">
                  <c:v>3.552932216298553</c:v>
                </c:pt>
                <c:pt idx="1586">
                  <c:v>3.5422327592560747</c:v>
                </c:pt>
                <c:pt idx="1587">
                  <c:v>3.5446711544603597</c:v>
                </c:pt>
                <c:pt idx="1588">
                  <c:v>3.5463786453086987</c:v>
                </c:pt>
                <c:pt idx="1589">
                  <c:v>3.5457337297005131</c:v>
                </c:pt>
                <c:pt idx="1590">
                  <c:v>3.5316254330147649</c:v>
                </c:pt>
                <c:pt idx="1591">
                  <c:v>3.516552833943444</c:v>
                </c:pt>
                <c:pt idx="1592">
                  <c:v>3.5372638380463366</c:v>
                </c:pt>
                <c:pt idx="1593">
                  <c:v>3.5444930349114321</c:v>
                </c:pt>
                <c:pt idx="1594">
                  <c:v>3.5341129646463414</c:v>
                </c:pt>
                <c:pt idx="1595">
                  <c:v>3.5469314301157175</c:v>
                </c:pt>
                <c:pt idx="1596">
                  <c:v>3.5568385622681387</c:v>
                </c:pt>
                <c:pt idx="1597">
                  <c:v>3.561076579121933</c:v>
                </c:pt>
                <c:pt idx="1598">
                  <c:v>3.5438726875168918</c:v>
                </c:pt>
                <c:pt idx="1599">
                  <c:v>3.5412745989239132</c:v>
                </c:pt>
                <c:pt idx="1600">
                  <c:v>3.5312139154362092</c:v>
                </c:pt>
                <c:pt idx="1601">
                  <c:v>3.5245252192713075</c:v>
                </c:pt>
                <c:pt idx="1602">
                  <c:v>3.5012836891629617</c:v>
                </c:pt>
                <c:pt idx="1603">
                  <c:v>3.4913458467434846</c:v>
                </c:pt>
                <c:pt idx="1604">
                  <c:v>3.5145873768518308</c:v>
                </c:pt>
                <c:pt idx="1605">
                  <c:v>3.5072291968650973</c:v>
                </c:pt>
                <c:pt idx="1606">
                  <c:v>3.5047478072869334</c:v>
                </c:pt>
                <c:pt idx="1607">
                  <c:v>3.4953136132471814</c:v>
                </c:pt>
                <c:pt idx="1608">
                  <c:v>3.5092130801169459</c:v>
                </c:pt>
                <c:pt idx="1609">
                  <c:v>3.5219578409453858</c:v>
                </c:pt>
                <c:pt idx="1610">
                  <c:v>3.4966402967840216</c:v>
                </c:pt>
                <c:pt idx="1611">
                  <c:v>3.4905965162273054</c:v>
                </c:pt>
                <c:pt idx="1612">
                  <c:v>3.4937228214136553</c:v>
                </c:pt>
                <c:pt idx="1613">
                  <c:v>3.4556666584772624</c:v>
                </c:pt>
                <c:pt idx="1614">
                  <c:v>3.4636636120187707</c:v>
                </c:pt>
                <c:pt idx="1615">
                  <c:v>3.4278431565240894</c:v>
                </c:pt>
                <c:pt idx="1616">
                  <c:v>3.4152089526570526</c:v>
                </c:pt>
                <c:pt idx="1617">
                  <c:v>3.4088887796968281</c:v>
                </c:pt>
                <c:pt idx="1618">
                  <c:v>3.409202024420805</c:v>
                </c:pt>
                <c:pt idx="1619">
                  <c:v>3.3947681989042584</c:v>
                </c:pt>
                <c:pt idx="1620">
                  <c:v>3.3881839176473485</c:v>
                </c:pt>
                <c:pt idx="1621">
                  <c:v>3.3978392256099061</c:v>
                </c:pt>
                <c:pt idx="1622">
                  <c:v>3.4008979682087324</c:v>
                </c:pt>
                <c:pt idx="1623">
                  <c:v>3.3766245731272884</c:v>
                </c:pt>
                <c:pt idx="1624">
                  <c:v>3.3675036238115132</c:v>
                </c:pt>
                <c:pt idx="1625">
                  <c:v>3.3787435815541857</c:v>
                </c:pt>
                <c:pt idx="1626">
                  <c:v>3.3614045647740953</c:v>
                </c:pt>
                <c:pt idx="1627">
                  <c:v>3.3503672947939962</c:v>
                </c:pt>
                <c:pt idx="1628">
                  <c:v>3.3344470923519149</c:v>
                </c:pt>
                <c:pt idx="1629">
                  <c:v>3.3558828587573397</c:v>
                </c:pt>
                <c:pt idx="1630">
                  <c:v>3.3557538756357026</c:v>
                </c:pt>
                <c:pt idx="1631">
                  <c:v>3.3675281920251581</c:v>
                </c:pt>
                <c:pt idx="1632">
                  <c:v>3.3549431245854118</c:v>
                </c:pt>
                <c:pt idx="1633">
                  <c:v>3.3595373805370614</c:v>
                </c:pt>
                <c:pt idx="1634">
                  <c:v>3.3702736899000074</c:v>
                </c:pt>
                <c:pt idx="1635">
                  <c:v>3.3697209050929913</c:v>
                </c:pt>
                <c:pt idx="1636">
                  <c:v>3.3821339950372211</c:v>
                </c:pt>
                <c:pt idx="1637">
                  <c:v>3.399251897894505</c:v>
                </c:pt>
                <c:pt idx="1638">
                  <c:v>3.4050499963147685</c:v>
                </c:pt>
                <c:pt idx="1639">
                  <c:v>3.4063521116379629</c:v>
                </c:pt>
                <c:pt idx="1640">
                  <c:v>3.4010208092769578</c:v>
                </c:pt>
                <c:pt idx="1641">
                  <c:v>3.4210131931307282</c:v>
                </c:pt>
                <c:pt idx="1642">
                  <c:v>3.3930054295752154</c:v>
                </c:pt>
                <c:pt idx="1643">
                  <c:v>3.3763911750976585</c:v>
                </c:pt>
                <c:pt idx="1644">
                  <c:v>3.3963712748446064</c:v>
                </c:pt>
                <c:pt idx="1645">
                  <c:v>3.4020833845171121</c:v>
                </c:pt>
                <c:pt idx="1646">
                  <c:v>3.4165909146745945</c:v>
                </c:pt>
                <c:pt idx="1647">
                  <c:v>3.4285863449868565</c:v>
                </c:pt>
                <c:pt idx="1648">
                  <c:v>3.4450470481291307</c:v>
                </c:pt>
                <c:pt idx="1649">
                  <c:v>3.4629634179298825</c:v>
                </c:pt>
                <c:pt idx="1650">
                  <c:v>3.4766356288234279</c:v>
                </c:pt>
                <c:pt idx="1651">
                  <c:v>3.490221850969216</c:v>
                </c:pt>
                <c:pt idx="1652">
                  <c:v>3.4889381618062556</c:v>
                </c:pt>
                <c:pt idx="1653">
                  <c:v>3.4752168144854192</c:v>
                </c:pt>
                <c:pt idx="1654">
                  <c:v>3.4952214824460119</c:v>
                </c:pt>
                <c:pt idx="1655">
                  <c:v>3.4894909466132722</c:v>
                </c:pt>
                <c:pt idx="1656">
                  <c:v>3.4868375795395918</c:v>
                </c:pt>
                <c:pt idx="1657">
                  <c:v>3.4810333390659172</c:v>
                </c:pt>
                <c:pt idx="1658">
                  <c:v>3.4966955752647224</c:v>
                </c:pt>
                <c:pt idx="1659">
                  <c:v>3.5126157777068023</c:v>
                </c:pt>
                <c:pt idx="1660">
                  <c:v>3.4850502419969045</c:v>
                </c:pt>
                <c:pt idx="1661">
                  <c:v>3.4862295162518735</c:v>
                </c:pt>
                <c:pt idx="1662">
                  <c:v>3.4628098665946005</c:v>
                </c:pt>
                <c:pt idx="1663">
                  <c:v>3.4711446330737301</c:v>
                </c:pt>
                <c:pt idx="1664">
                  <c:v>3.4901481463282811</c:v>
                </c:pt>
                <c:pt idx="1665">
                  <c:v>3.4773603911259614</c:v>
                </c:pt>
                <c:pt idx="1666">
                  <c:v>3.4729995332039416</c:v>
                </c:pt>
                <c:pt idx="1667">
                  <c:v>3.4750202687762584</c:v>
                </c:pt>
                <c:pt idx="1668">
                  <c:v>3.4598064024764765</c:v>
                </c:pt>
                <c:pt idx="1669">
                  <c:v>3.4596589931946053</c:v>
                </c:pt>
                <c:pt idx="1670">
                  <c:v>3.4526570523057272</c:v>
                </c:pt>
                <c:pt idx="1671">
                  <c:v>3.4661695698105799</c:v>
                </c:pt>
                <c:pt idx="1672">
                  <c:v>3.4685035501068722</c:v>
                </c:pt>
                <c:pt idx="1673">
                  <c:v>3.4692221703559936</c:v>
                </c:pt>
                <c:pt idx="1674">
                  <c:v>3.4637434587131168</c:v>
                </c:pt>
                <c:pt idx="1675">
                  <c:v>3.4596589931946053</c:v>
                </c:pt>
                <c:pt idx="1676">
                  <c:v>3.4434255460285486</c:v>
                </c:pt>
                <c:pt idx="1677">
                  <c:v>3.4384504827653988</c:v>
                </c:pt>
                <c:pt idx="1678">
                  <c:v>3.4216212564184461</c:v>
                </c:pt>
                <c:pt idx="1679">
                  <c:v>3.4161855391494487</c:v>
                </c:pt>
                <c:pt idx="1680">
                  <c:v>3.4009041102621431</c:v>
                </c:pt>
                <c:pt idx="1681">
                  <c:v>3.4079797557919567</c:v>
                </c:pt>
                <c:pt idx="1682">
                  <c:v>3.3956526545954842</c:v>
                </c:pt>
                <c:pt idx="1683">
                  <c:v>3.3884664521042676</c:v>
                </c:pt>
                <c:pt idx="1684">
                  <c:v>3.3983920104169223</c:v>
                </c:pt>
                <c:pt idx="1685">
                  <c:v>3.3892280667272683</c:v>
                </c:pt>
                <c:pt idx="1686">
                  <c:v>3.4029801243151612</c:v>
                </c:pt>
                <c:pt idx="1687">
                  <c:v>3.3991597670933351</c:v>
                </c:pt>
                <c:pt idx="1688">
                  <c:v>3.4021693732648695</c:v>
                </c:pt>
                <c:pt idx="1689">
                  <c:v>3.3803343733877114</c:v>
                </c:pt>
                <c:pt idx="1690">
                  <c:v>3.3941847038301849</c:v>
                </c:pt>
                <c:pt idx="1691">
                  <c:v>3.4065547994005363</c:v>
                </c:pt>
                <c:pt idx="1692">
                  <c:v>3.4089870525514097</c:v>
                </c:pt>
                <c:pt idx="1693">
                  <c:v>3.4383829201778742</c:v>
                </c:pt>
                <c:pt idx="1694">
                  <c:v>3.4214799891899861</c:v>
                </c:pt>
                <c:pt idx="1695">
                  <c:v>3.3979067881974303</c:v>
                </c:pt>
                <c:pt idx="1696">
                  <c:v>3.4170638527872645</c:v>
                </c:pt>
                <c:pt idx="1697">
                  <c:v>3.3943382551654673</c:v>
                </c:pt>
                <c:pt idx="1698">
                  <c:v>3.3897439992138172</c:v>
                </c:pt>
                <c:pt idx="1699">
                  <c:v>3.4329287767486423</c:v>
                </c:pt>
                <c:pt idx="1700">
                  <c:v>3.466390683733386</c:v>
                </c:pt>
                <c:pt idx="1701">
                  <c:v>3.4957005626120927</c:v>
                </c:pt>
                <c:pt idx="1702">
                  <c:v>3.5101835245559294</c:v>
                </c:pt>
                <c:pt idx="1703">
                  <c:v>3.536987445642827</c:v>
                </c:pt>
                <c:pt idx="1704">
                  <c:v>3.57982826818662</c:v>
                </c:pt>
                <c:pt idx="1705">
                  <c:v>3.6308011694469693</c:v>
                </c:pt>
                <c:pt idx="1706">
                  <c:v>3.6677026263420385</c:v>
                </c:pt>
                <c:pt idx="1707">
                  <c:v>3.7000405375525145</c:v>
                </c:pt>
                <c:pt idx="1708">
                  <c:v>3.7330663587450554</c:v>
                </c:pt>
                <c:pt idx="1709">
                  <c:v>3.7699616735867134</c:v>
                </c:pt>
                <c:pt idx="1710">
                  <c:v>3.7903840011792744</c:v>
                </c:pt>
                <c:pt idx="1711">
                  <c:v>3.830626735130088</c:v>
                </c:pt>
                <c:pt idx="1712">
                  <c:v>3.8539603960396032</c:v>
                </c:pt>
                <c:pt idx="1713">
                  <c:v>3.8969240596516226</c:v>
                </c:pt>
                <c:pt idx="1714">
                  <c:v>3.9147053042773252</c:v>
                </c:pt>
                <c:pt idx="1715">
                  <c:v>3.944021325209444</c:v>
                </c:pt>
                <c:pt idx="1716">
                  <c:v>3.9578532294916831</c:v>
                </c:pt>
                <c:pt idx="1717">
                  <c:v>3.9767339016780086</c:v>
                </c:pt>
                <c:pt idx="1718">
                  <c:v>4.0249551630100973</c:v>
                </c:pt>
                <c:pt idx="1719">
                  <c:v>4.072377957398718</c:v>
                </c:pt>
                <c:pt idx="1720">
                  <c:v>4.1219443284278796</c:v>
                </c:pt>
                <c:pt idx="1721">
                  <c:v>4.1302053902660729</c:v>
                </c:pt>
                <c:pt idx="1722">
                  <c:v>4.1747844139252637</c:v>
                </c:pt>
                <c:pt idx="1723">
                  <c:v>4.1985787288406256</c:v>
                </c:pt>
                <c:pt idx="1724">
                  <c:v>4.2003660663833129</c:v>
                </c:pt>
                <c:pt idx="1725">
                  <c:v>4.2404982433727243</c:v>
                </c:pt>
                <c:pt idx="1726">
                  <c:v>4.2790212023683765</c:v>
                </c:pt>
                <c:pt idx="1727">
                  <c:v>4.3015195440139555</c:v>
                </c:pt>
                <c:pt idx="1728">
                  <c:v>4.3539419698793713</c:v>
                </c:pt>
                <c:pt idx="1729">
                  <c:v>4.3759059528781661</c:v>
                </c:pt>
                <c:pt idx="1730">
                  <c:v>4.3577561850477853</c:v>
                </c:pt>
                <c:pt idx="1731">
                  <c:v>4.3536778615826845</c:v>
                </c:pt>
                <c:pt idx="1732">
                  <c:v>4.3517124044910691</c:v>
                </c:pt>
                <c:pt idx="1733">
                  <c:v>4.3522037687639727</c:v>
                </c:pt>
                <c:pt idx="1734">
                  <c:v>4.3549554086922333</c:v>
                </c:pt>
                <c:pt idx="1735">
                  <c:v>4.3584686632434932</c:v>
                </c:pt>
                <c:pt idx="1736">
                  <c:v>4.3553116477900895</c:v>
                </c:pt>
                <c:pt idx="1737">
                  <c:v>4.3572463946146467</c:v>
                </c:pt>
                <c:pt idx="1738">
                  <c:v>4.3483097069012109</c:v>
                </c:pt>
                <c:pt idx="1739">
                  <c:v>4.3535181681939896</c:v>
                </c:pt>
                <c:pt idx="1740">
                  <c:v>4.3555941822470077</c:v>
                </c:pt>
                <c:pt idx="1741">
                  <c:v>4.3602621428395931</c:v>
                </c:pt>
                <c:pt idx="1742">
                  <c:v>4.3645370120138569</c:v>
                </c:pt>
                <c:pt idx="1743">
                  <c:v>4.3296562906911022</c:v>
                </c:pt>
                <c:pt idx="1744">
                  <c:v>4.2767425005527837</c:v>
                </c:pt>
                <c:pt idx="1745">
                  <c:v>4.2532061518806952</c:v>
                </c:pt>
                <c:pt idx="1746">
                  <c:v>4.2114954671645819</c:v>
                </c:pt>
                <c:pt idx="1747">
                  <c:v>4.1873879075252427</c:v>
                </c:pt>
                <c:pt idx="1748">
                  <c:v>4.1676842001818049</c:v>
                </c:pt>
                <c:pt idx="1749">
                  <c:v>4.1456158022750165</c:v>
                </c:pt>
                <c:pt idx="1750">
                  <c:v>4.1067795985553888</c:v>
                </c:pt>
                <c:pt idx="1751">
                  <c:v>4.0777215438665442</c:v>
                </c:pt>
                <c:pt idx="1752">
                  <c:v>4.0417966734638719</c:v>
                </c:pt>
                <c:pt idx="1753">
                  <c:v>3.9988452939586758</c:v>
                </c:pt>
                <c:pt idx="1754">
                  <c:v>3.9583445937645871</c:v>
                </c:pt>
                <c:pt idx="1755">
                  <c:v>3.9385856079404458</c:v>
                </c:pt>
                <c:pt idx="1756">
                  <c:v>3.8968135026902191</c:v>
                </c:pt>
                <c:pt idx="1757">
                  <c:v>3.8775458811389822</c:v>
                </c:pt>
                <c:pt idx="1758">
                  <c:v>3.8413016239589219</c:v>
                </c:pt>
                <c:pt idx="1759">
                  <c:v>3.806248925140653</c:v>
                </c:pt>
                <c:pt idx="1760">
                  <c:v>3.7823194850502415</c:v>
                </c:pt>
                <c:pt idx="1761">
                  <c:v>3.7533658452693901</c:v>
                </c:pt>
                <c:pt idx="1762">
                  <c:v>3.7246087511977004</c:v>
                </c:pt>
                <c:pt idx="1763">
                  <c:v>3.692430533375918</c:v>
                </c:pt>
                <c:pt idx="1764">
                  <c:v>3.6606699751861043</c:v>
                </c:pt>
                <c:pt idx="1765">
                  <c:v>3.6494177333366089</c:v>
                </c:pt>
                <c:pt idx="1766">
                  <c:v>3.6105139670294579</c:v>
                </c:pt>
                <c:pt idx="1767">
                  <c:v>3.5891089108910896</c:v>
                </c:pt>
                <c:pt idx="1768">
                  <c:v>3.5494926663882276</c:v>
                </c:pt>
                <c:pt idx="1769">
                  <c:v>3.5237328943812503</c:v>
                </c:pt>
                <c:pt idx="1770">
                  <c:v>3.4881028425423199</c:v>
                </c:pt>
                <c:pt idx="1771">
                  <c:v>3.4523560916885745</c:v>
                </c:pt>
                <c:pt idx="1772">
                  <c:v>3.406499520919835</c:v>
                </c:pt>
                <c:pt idx="1773">
                  <c:v>3.3694875070633623</c:v>
                </c:pt>
                <c:pt idx="1774">
                  <c:v>3.3798184409011633</c:v>
                </c:pt>
                <c:pt idx="1775">
                  <c:v>3.387870672923373</c:v>
                </c:pt>
                <c:pt idx="1776">
                  <c:v>3.4054123774660354</c:v>
                </c:pt>
                <c:pt idx="1777">
                  <c:v>3.4147114463307391</c:v>
                </c:pt>
                <c:pt idx="1778">
                  <c:v>3.4365771564749541</c:v>
                </c:pt>
                <c:pt idx="1779">
                  <c:v>3.4342431761786618</c:v>
                </c:pt>
                <c:pt idx="1780">
                  <c:v>3.4162592437903858</c:v>
                </c:pt>
                <c:pt idx="1781">
                  <c:v>3.4145026165147545</c:v>
                </c:pt>
                <c:pt idx="1782">
                  <c:v>3.403717170724518</c:v>
                </c:pt>
                <c:pt idx="1783">
                  <c:v>3.4243851804535304</c:v>
                </c:pt>
                <c:pt idx="1784">
                  <c:v>3.4082622902488771</c:v>
                </c:pt>
                <c:pt idx="1785">
                  <c:v>3.4202147261872597</c:v>
                </c:pt>
                <c:pt idx="1786">
                  <c:v>3.4381863744687129</c:v>
                </c:pt>
                <c:pt idx="1787">
                  <c:v>3.4567292337174167</c:v>
                </c:pt>
                <c:pt idx="1788">
                  <c:v>3.4499545488047567</c:v>
                </c:pt>
                <c:pt idx="1789">
                  <c:v>3.4751431098444834</c:v>
                </c:pt>
                <c:pt idx="1790">
                  <c:v>3.4533511043412033</c:v>
                </c:pt>
                <c:pt idx="1791">
                  <c:v>3.4341387612706678</c:v>
                </c:pt>
                <c:pt idx="1792">
                  <c:v>3.4593580325774509</c:v>
                </c:pt>
                <c:pt idx="1793">
                  <c:v>3.4455629806156791</c:v>
                </c:pt>
                <c:pt idx="1794">
                  <c:v>3.4434562562956046</c:v>
                </c:pt>
                <c:pt idx="1795">
                  <c:v>3.4444205586811782</c:v>
                </c:pt>
                <c:pt idx="1796">
                  <c:v>3.4422278456133455</c:v>
                </c:pt>
                <c:pt idx="1797">
                  <c:v>3.4470309313809793</c:v>
                </c:pt>
                <c:pt idx="1798">
                  <c:v>3.4368351227182274</c:v>
                </c:pt>
                <c:pt idx="1799">
                  <c:v>3.4431552956784515</c:v>
                </c:pt>
                <c:pt idx="1800">
                  <c:v>3.4416689187529181</c:v>
                </c:pt>
                <c:pt idx="1801">
                  <c:v>3.442276982040636</c:v>
                </c:pt>
                <c:pt idx="1802">
                  <c:v>3.4380205390266076</c:v>
                </c:pt>
                <c:pt idx="1803">
                  <c:v>3.4506178905731764</c:v>
                </c:pt>
                <c:pt idx="1804">
                  <c:v>3.4391322506940529</c:v>
                </c:pt>
                <c:pt idx="1805">
                  <c:v>3.4289425840847114</c:v>
                </c:pt>
                <c:pt idx="1806">
                  <c:v>3.4425226641770879</c:v>
                </c:pt>
                <c:pt idx="1807">
                  <c:v>3.4230646389701005</c:v>
                </c:pt>
                <c:pt idx="1808">
                  <c:v>3.427904577058202</c:v>
                </c:pt>
                <c:pt idx="1809">
                  <c:v>3.4120089428297664</c:v>
                </c:pt>
                <c:pt idx="1810">
                  <c:v>3.4115052944500404</c:v>
                </c:pt>
                <c:pt idx="1811">
                  <c:v>3.4031766700243224</c:v>
                </c:pt>
                <c:pt idx="1812">
                  <c:v>3.3915129105962709</c:v>
                </c:pt>
                <c:pt idx="1813">
                  <c:v>3.3974522762449939</c:v>
                </c:pt>
                <c:pt idx="1814">
                  <c:v>3.4037171707245171</c:v>
                </c:pt>
                <c:pt idx="1815">
                  <c:v>3.4364420312999044</c:v>
                </c:pt>
                <c:pt idx="1816">
                  <c:v>3.4430017443431691</c:v>
                </c:pt>
                <c:pt idx="1817">
                  <c:v>3.4164066530722552</c:v>
                </c:pt>
                <c:pt idx="1818">
                  <c:v>3.3995405744048357</c:v>
                </c:pt>
                <c:pt idx="1819">
                  <c:v>3.4095705476254827</c:v>
                </c:pt>
                <c:pt idx="1820">
                  <c:v>3.3702859740068303</c:v>
                </c:pt>
                <c:pt idx="1821">
                  <c:v>3.4071382944746089</c:v>
                </c:pt>
                <c:pt idx="1822">
                  <c:v>3.4302078470874391</c:v>
                </c:pt>
                <c:pt idx="1823">
                  <c:v>3.4100434857381519</c:v>
                </c:pt>
                <c:pt idx="1824">
                  <c:v>3.4201164533326782</c:v>
                </c:pt>
                <c:pt idx="1825">
                  <c:v>3.4163329484313194</c:v>
                </c:pt>
                <c:pt idx="1826">
                  <c:v>3.4118123971206051</c:v>
                </c:pt>
                <c:pt idx="1827">
                  <c:v>3.3885647249588486</c:v>
                </c:pt>
                <c:pt idx="1828">
                  <c:v>3.3794683438567183</c:v>
                </c:pt>
                <c:pt idx="1829">
                  <c:v>3.3716310837039045</c:v>
                </c:pt>
                <c:pt idx="1830">
                  <c:v>3.3720364592290499</c:v>
                </c:pt>
                <c:pt idx="1831">
                  <c:v>3.383718644817336</c:v>
                </c:pt>
                <c:pt idx="1832">
                  <c:v>3.3860649092204516</c:v>
                </c:pt>
                <c:pt idx="1833">
                  <c:v>3.3880303663120661</c:v>
                </c:pt>
                <c:pt idx="1834">
                  <c:v>3.3869247966980329</c:v>
                </c:pt>
                <c:pt idx="1835">
                  <c:v>3.4051851214898172</c:v>
                </c:pt>
                <c:pt idx="1836">
                  <c:v>3.4003758936687718</c:v>
                </c:pt>
                <c:pt idx="1837">
                  <c:v>3.3978515097167294</c:v>
                </c:pt>
                <c:pt idx="1838">
                  <c:v>3.40391985848709</c:v>
                </c:pt>
                <c:pt idx="1839">
                  <c:v>3.3988772326364161</c:v>
                </c:pt>
                <c:pt idx="1840">
                  <c:v>3.3782399331744593</c:v>
                </c:pt>
                <c:pt idx="1841">
                  <c:v>3.3768395449966833</c:v>
                </c:pt>
                <c:pt idx="1842">
                  <c:v>3.3934046630469505</c:v>
                </c:pt>
                <c:pt idx="1843">
                  <c:v>3.4096381102130069</c:v>
                </c:pt>
                <c:pt idx="1844">
                  <c:v>3.4249133970469012</c:v>
                </c:pt>
                <c:pt idx="1845">
                  <c:v>3.395947473159227</c:v>
                </c:pt>
                <c:pt idx="1846">
                  <c:v>3.3822015576247439</c:v>
                </c:pt>
                <c:pt idx="1847">
                  <c:v>3.3873977348107021</c:v>
                </c:pt>
                <c:pt idx="1848">
                  <c:v>3.3960825983342748</c:v>
                </c:pt>
                <c:pt idx="1849">
                  <c:v>3.4202331523474925</c:v>
                </c:pt>
                <c:pt idx="1850">
                  <c:v>3.4279905658059602</c:v>
                </c:pt>
                <c:pt idx="1851">
                  <c:v>3.4682701520772432</c:v>
                </c:pt>
                <c:pt idx="1852">
                  <c:v>3.4671277301427419</c:v>
                </c:pt>
                <c:pt idx="1853">
                  <c:v>3.4416996290199751</c:v>
                </c:pt>
                <c:pt idx="1854">
                  <c:v>3.4560167555217065</c:v>
                </c:pt>
                <c:pt idx="1855">
                  <c:v>3.4614770410043487</c:v>
                </c:pt>
                <c:pt idx="1856">
                  <c:v>3.4591062083875892</c:v>
                </c:pt>
                <c:pt idx="1857">
                  <c:v>3.4887354740436827</c:v>
                </c:pt>
                <c:pt idx="1858">
                  <c:v>3.473546175957547</c:v>
                </c:pt>
                <c:pt idx="1859">
                  <c:v>3.4803392870304406</c:v>
                </c:pt>
                <c:pt idx="1860">
                  <c:v>3.4956698523450362</c:v>
                </c:pt>
                <c:pt idx="1861">
                  <c:v>3.4706102744269467</c:v>
                </c:pt>
                <c:pt idx="1862">
                  <c:v>3.4555499594624477</c:v>
                </c:pt>
                <c:pt idx="1863">
                  <c:v>3.460070510773162</c:v>
                </c:pt>
                <c:pt idx="1864">
                  <c:v>3.4567967963049409</c:v>
                </c:pt>
                <c:pt idx="1865">
                  <c:v>3.4553779819669312</c:v>
                </c:pt>
                <c:pt idx="1866">
                  <c:v>3.4630002702503502</c:v>
                </c:pt>
                <c:pt idx="1867">
                  <c:v>3.4657887624990789</c:v>
                </c:pt>
                <c:pt idx="1868">
                  <c:v>3.4726064417856177</c:v>
                </c:pt>
                <c:pt idx="1869">
                  <c:v>3.4891777018892958</c:v>
                </c:pt>
                <c:pt idx="1870">
                  <c:v>3.4957189887723268</c:v>
                </c:pt>
                <c:pt idx="1871">
                  <c:v>3.5253666805886548</c:v>
                </c:pt>
                <c:pt idx="1872">
                  <c:v>3.5104906272264942</c:v>
                </c:pt>
                <c:pt idx="1873">
                  <c:v>3.486432204014446</c:v>
                </c:pt>
                <c:pt idx="1874">
                  <c:v>3.4852897820799447</c:v>
                </c:pt>
                <c:pt idx="1875">
                  <c:v>3.4573557231653682</c:v>
                </c:pt>
                <c:pt idx="1876">
                  <c:v>3.4768874530132909</c:v>
                </c:pt>
                <c:pt idx="1877">
                  <c:v>3.4768014642655327</c:v>
                </c:pt>
                <c:pt idx="1878">
                  <c:v>3.4685465444807497</c:v>
                </c:pt>
                <c:pt idx="1879">
                  <c:v>3.4774402378203066</c:v>
                </c:pt>
                <c:pt idx="1880">
                  <c:v>3.4633626514016154</c:v>
                </c:pt>
                <c:pt idx="1881">
                  <c:v>3.4619069847431381</c:v>
                </c:pt>
                <c:pt idx="1882">
                  <c:v>3.4441318821708462</c:v>
                </c:pt>
                <c:pt idx="1883">
                  <c:v>3.4515391985848698</c:v>
                </c:pt>
                <c:pt idx="1884">
                  <c:v>3.4539591676289203</c:v>
                </c:pt>
                <c:pt idx="1885">
                  <c:v>3.463884725941575</c:v>
                </c:pt>
                <c:pt idx="1886">
                  <c:v>3.4742893644203119</c:v>
                </c:pt>
                <c:pt idx="1887">
                  <c:v>3.5187086946908077</c:v>
                </c:pt>
                <c:pt idx="1888">
                  <c:v>3.519820406358253</c:v>
                </c:pt>
                <c:pt idx="1889">
                  <c:v>3.5713890867994982</c:v>
                </c:pt>
                <c:pt idx="1890">
                  <c:v>3.611281723705869</c:v>
                </c:pt>
                <c:pt idx="1891">
                  <c:v>3.6260226518929803</c:v>
                </c:pt>
                <c:pt idx="1892">
                  <c:v>3.6849863646414271</c:v>
                </c:pt>
                <c:pt idx="1893">
                  <c:v>3.71858953885463</c:v>
                </c:pt>
                <c:pt idx="1894">
                  <c:v>3.749545488047564</c:v>
                </c:pt>
                <c:pt idx="1895">
                  <c:v>3.7886642262241117</c:v>
                </c:pt>
                <c:pt idx="1896">
                  <c:v>3.8256762400805844</c:v>
                </c:pt>
                <c:pt idx="1897">
                  <c:v>3.8354666732181908</c:v>
                </c:pt>
                <c:pt idx="1898">
                  <c:v>3.8806230498980425</c:v>
                </c:pt>
                <c:pt idx="1899">
                  <c:v>3.9029924084219836</c:v>
                </c:pt>
                <c:pt idx="1900">
                  <c:v>3.9177824730363864</c:v>
                </c:pt>
                <c:pt idx="1901">
                  <c:v>3.951490062157581</c:v>
                </c:pt>
                <c:pt idx="1902">
                  <c:v>3.9673181337984924</c:v>
                </c:pt>
                <c:pt idx="1903">
                  <c:v>4.0274918310689634</c:v>
                </c:pt>
                <c:pt idx="1904">
                  <c:v>4.0736800727219125</c:v>
                </c:pt>
                <c:pt idx="1905">
                  <c:v>4.102639854556176</c:v>
                </c:pt>
                <c:pt idx="1906">
                  <c:v>4.1397132889467612</c:v>
                </c:pt>
                <c:pt idx="1907">
                  <c:v>4.1636672972508171</c:v>
                </c:pt>
                <c:pt idx="1908">
                  <c:v>4.1991192295408197</c:v>
                </c:pt>
                <c:pt idx="1909">
                  <c:v>4.221635997346632</c:v>
                </c:pt>
                <c:pt idx="1910">
                  <c:v>4.238993440286956</c:v>
                </c:pt>
                <c:pt idx="1911">
                  <c:v>4.2648330589882804</c:v>
                </c:pt>
                <c:pt idx="1912">
                  <c:v>4.268647274156697</c:v>
                </c:pt>
                <c:pt idx="1913">
                  <c:v>4.2997629167383247</c:v>
                </c:pt>
                <c:pt idx="1914">
                  <c:v>4.3184838955359552</c:v>
                </c:pt>
                <c:pt idx="1915">
                  <c:v>4.3642176252364688</c:v>
                </c:pt>
                <c:pt idx="1916">
                  <c:v>4.3766245731272875</c:v>
                </c:pt>
                <c:pt idx="1917">
                  <c:v>4.3862000343954985</c:v>
                </c:pt>
                <c:pt idx="1918">
                  <c:v>4.3966108149276462</c:v>
                </c:pt>
                <c:pt idx="1919">
                  <c:v>4.4153563619389242</c:v>
                </c:pt>
                <c:pt idx="1920">
                  <c:v>4.417094563054321</c:v>
                </c:pt>
                <c:pt idx="1921">
                  <c:v>4.4005294450040546</c:v>
                </c:pt>
                <c:pt idx="1922">
                  <c:v>4.3998169668083449</c:v>
                </c:pt>
                <c:pt idx="1923">
                  <c:v>4.3886138613861405</c:v>
                </c:pt>
                <c:pt idx="1924">
                  <c:v>4.399552858511659</c:v>
                </c:pt>
                <c:pt idx="1925">
                  <c:v>4.4055966390683734</c:v>
                </c:pt>
                <c:pt idx="1926">
                  <c:v>4.4136795813576395</c:v>
                </c:pt>
                <c:pt idx="1927">
                  <c:v>4.4186914969412578</c:v>
                </c:pt>
                <c:pt idx="1928">
                  <c:v>4.4167260398496424</c:v>
                </c:pt>
                <c:pt idx="1929">
                  <c:v>4.4122054885389277</c:v>
                </c:pt>
                <c:pt idx="1930">
                  <c:v>4.410743679827041</c:v>
                </c:pt>
                <c:pt idx="1931">
                  <c:v>4.3995282902980133</c:v>
                </c:pt>
                <c:pt idx="1932">
                  <c:v>4.3615458320025553</c:v>
                </c:pt>
                <c:pt idx="1933">
                  <c:v>4.3413016239589215</c:v>
                </c:pt>
                <c:pt idx="1934">
                  <c:v>4.2924170208584131</c:v>
                </c:pt>
                <c:pt idx="1935">
                  <c:v>4.254274869174262</c:v>
                </c:pt>
                <c:pt idx="1936">
                  <c:v>4.237924722993391</c:v>
                </c:pt>
                <c:pt idx="1937">
                  <c:v>4.2102731985357336</c:v>
                </c:pt>
                <c:pt idx="1938">
                  <c:v>4.1698093506621126</c:v>
                </c:pt>
                <c:pt idx="1939">
                  <c:v>4.1327359162715265</c:v>
                </c:pt>
                <c:pt idx="1940">
                  <c:v>4.1120617644891038</c:v>
                </c:pt>
                <c:pt idx="1941">
                  <c:v>4.072040144461095</c:v>
                </c:pt>
                <c:pt idx="1942">
                  <c:v>4.0368830307348347</c:v>
                </c:pt>
                <c:pt idx="1943">
                  <c:v>4.02151561309977</c:v>
                </c:pt>
                <c:pt idx="1944">
                  <c:v>3.9767830381052978</c:v>
                </c:pt>
                <c:pt idx="1945">
                  <c:v>3.9433702675478455</c:v>
                </c:pt>
                <c:pt idx="1946">
                  <c:v>3.9211667444660088</c:v>
                </c:pt>
                <c:pt idx="1947">
                  <c:v>3.8759857995725127</c:v>
                </c:pt>
                <c:pt idx="1948">
                  <c:v>3.8409515269144778</c:v>
                </c:pt>
                <c:pt idx="1949">
                  <c:v>3.7890204653219657</c:v>
                </c:pt>
                <c:pt idx="1950">
                  <c:v>3.7455777215438664</c:v>
                </c:pt>
                <c:pt idx="1951">
                  <c:v>3.7092413335626357</c:v>
                </c:pt>
                <c:pt idx="1952">
                  <c:v>3.6992420706090461</c:v>
                </c:pt>
                <c:pt idx="1953">
                  <c:v>3.6754907500675627</c:v>
                </c:pt>
                <c:pt idx="1954">
                  <c:v>3.6472434464290098</c:v>
                </c:pt>
                <c:pt idx="1955">
                  <c:v>3.6261577770680291</c:v>
                </c:pt>
                <c:pt idx="1956">
                  <c:v>3.5823526521386637</c:v>
                </c:pt>
                <c:pt idx="1957">
                  <c:v>3.5433874652973985</c:v>
                </c:pt>
                <c:pt idx="1958">
                  <c:v>3.493968503550108</c:v>
                </c:pt>
                <c:pt idx="1959">
                  <c:v>3.4653833869739339</c:v>
                </c:pt>
                <c:pt idx="1960">
                  <c:v>3.4099820652040398</c:v>
                </c:pt>
                <c:pt idx="1961">
                  <c:v>3.3659435422450441</c:v>
                </c:pt>
                <c:pt idx="1962">
                  <c:v>3.3426528757094078</c:v>
                </c:pt>
                <c:pt idx="1963">
                  <c:v>3.3272486057538759</c:v>
                </c:pt>
                <c:pt idx="1964">
                  <c:v>3.3421123750092132</c:v>
                </c:pt>
                <c:pt idx="1965">
                  <c:v>3.3575534972852128</c:v>
                </c:pt>
                <c:pt idx="1966">
                  <c:v>3.3691619782325635</c:v>
                </c:pt>
                <c:pt idx="1967">
                  <c:v>3.3564909220450581</c:v>
                </c:pt>
                <c:pt idx="1968">
                  <c:v>3.3610544677296512</c:v>
                </c:pt>
                <c:pt idx="1969">
                  <c:v>3.3656180134142453</c:v>
                </c:pt>
                <c:pt idx="1970">
                  <c:v>3.3851865955826352</c:v>
                </c:pt>
                <c:pt idx="1971">
                  <c:v>3.3661462300076161</c:v>
                </c:pt>
                <c:pt idx="1972">
                  <c:v>3.382963172247746</c:v>
                </c:pt>
                <c:pt idx="1973">
                  <c:v>3.3948480455986045</c:v>
                </c:pt>
                <c:pt idx="1974">
                  <c:v>3.3896150160921801</c:v>
                </c:pt>
                <c:pt idx="1975">
                  <c:v>3.4082192958749973</c:v>
                </c:pt>
                <c:pt idx="1976">
                  <c:v>3.3985271355919711</c:v>
                </c:pt>
                <c:pt idx="1977">
                  <c:v>3.3687873129744736</c:v>
                </c:pt>
                <c:pt idx="1978">
                  <c:v>3.3660233889393907</c:v>
                </c:pt>
                <c:pt idx="1979">
                  <c:v>3.3623504409994354</c:v>
                </c:pt>
                <c:pt idx="1980">
                  <c:v>3.3568103088224461</c:v>
                </c:pt>
                <c:pt idx="1981">
                  <c:v>3.3698376041078055</c:v>
                </c:pt>
                <c:pt idx="1982">
                  <c:v>3.3653661892243822</c:v>
                </c:pt>
                <c:pt idx="1983">
                  <c:v>3.3565277743655266</c:v>
                </c:pt>
                <c:pt idx="1984">
                  <c:v>3.360139301771369</c:v>
                </c:pt>
                <c:pt idx="1985">
                  <c:v>3.3651942117288653</c:v>
                </c:pt>
                <c:pt idx="1986">
                  <c:v>3.3556310345674771</c:v>
                </c:pt>
                <c:pt idx="1987">
                  <c:v>3.3716495098641381</c:v>
                </c:pt>
                <c:pt idx="1988">
                  <c:v>3.3716495098641386</c:v>
                </c:pt>
                <c:pt idx="1989">
                  <c:v>3.3808257376606154</c:v>
                </c:pt>
                <c:pt idx="1990">
                  <c:v>3.3837616391912153</c:v>
                </c:pt>
                <c:pt idx="1991">
                  <c:v>3.4007567009802724</c:v>
                </c:pt>
                <c:pt idx="1992">
                  <c:v>3.4336781072648219</c:v>
                </c:pt>
                <c:pt idx="1993">
                  <c:v>3.4360489398815823</c:v>
                </c:pt>
                <c:pt idx="1994">
                  <c:v>3.4427560622067177</c:v>
                </c:pt>
                <c:pt idx="1995">
                  <c:v>3.4235621452964162</c:v>
                </c:pt>
                <c:pt idx="1996">
                  <c:v>3.4380573913470758</c:v>
                </c:pt>
                <c:pt idx="1997">
                  <c:v>3.4313625531287628</c:v>
                </c:pt>
                <c:pt idx="1998">
                  <c:v>3.4291268456870507</c:v>
                </c:pt>
                <c:pt idx="1999">
                  <c:v>3.4176719160749824</c:v>
                </c:pt>
                <c:pt idx="2000">
                  <c:v>3.4226592634449551</c:v>
                </c:pt>
                <c:pt idx="2001">
                  <c:v>3.4166277669950613</c:v>
                </c:pt>
                <c:pt idx="2002">
                  <c:v>3.4429157555954104</c:v>
                </c:pt>
                <c:pt idx="2003">
                  <c:v>3.4408520256492148</c:v>
                </c:pt>
                <c:pt idx="2004">
                  <c:v>3.4339606417217401</c:v>
                </c:pt>
                <c:pt idx="2005">
                  <c:v>3.4413311058152956</c:v>
                </c:pt>
                <c:pt idx="2006">
                  <c:v>3.4217993759673724</c:v>
                </c:pt>
                <c:pt idx="2007">
                  <c:v>3.415251947030931</c:v>
                </c:pt>
                <c:pt idx="2008">
                  <c:v>3.4207245166203961</c:v>
                </c:pt>
                <c:pt idx="2009">
                  <c:v>3.4227329680858909</c:v>
                </c:pt>
                <c:pt idx="2010">
                  <c:v>3.425091516595828</c:v>
                </c:pt>
                <c:pt idx="2011">
                  <c:v>3.430140284499914</c:v>
                </c:pt>
                <c:pt idx="2012">
                  <c:v>3.421572119991156</c:v>
                </c:pt>
                <c:pt idx="2013">
                  <c:v>3.4144043436601725</c:v>
                </c:pt>
                <c:pt idx="2014">
                  <c:v>3.4095029850379581</c:v>
                </c:pt>
                <c:pt idx="2015">
                  <c:v>3.3968380709038657</c:v>
                </c:pt>
                <c:pt idx="2016">
                  <c:v>3.4128074097732362</c:v>
                </c:pt>
                <c:pt idx="2017">
                  <c:v>3.3994300174434327</c:v>
                </c:pt>
                <c:pt idx="2018">
                  <c:v>3.3877846841756147</c:v>
                </c:pt>
                <c:pt idx="2019">
                  <c:v>3.3862368867159676</c:v>
                </c:pt>
                <c:pt idx="2020">
                  <c:v>3.3802913790138325</c:v>
                </c:pt>
                <c:pt idx="2021">
                  <c:v>3.3831412917966746</c:v>
                </c:pt>
                <c:pt idx="2022">
                  <c:v>3.3832211384910207</c:v>
                </c:pt>
                <c:pt idx="2023">
                  <c:v>3.3767535562489259</c:v>
                </c:pt>
                <c:pt idx="2024">
                  <c:v>3.3949708866668304</c:v>
                </c:pt>
                <c:pt idx="2025">
                  <c:v>3.4225364223767283</c:v>
                </c:pt>
                <c:pt idx="2026">
                  <c:v>3.4041409724098952</c:v>
                </c:pt>
                <c:pt idx="2027">
                  <c:v>3.3955420976340807</c:v>
                </c:pt>
                <c:pt idx="2028">
                  <c:v>3.3849654816598282</c:v>
                </c:pt>
                <c:pt idx="2029">
                  <c:v>3.3732218755374288</c:v>
                </c:pt>
                <c:pt idx="2030">
                  <c:v>3.3859297840454015</c:v>
                </c:pt>
                <c:pt idx="2031">
                  <c:v>3.3784426209370317</c:v>
                </c:pt>
                <c:pt idx="2032">
                  <c:v>3.3666130260668745</c:v>
                </c:pt>
                <c:pt idx="2033">
                  <c:v>3.3498943566813257</c:v>
                </c:pt>
                <c:pt idx="2034">
                  <c:v>3.3439857012996579</c:v>
                </c:pt>
                <c:pt idx="2035">
                  <c:v>3.3508893693339563</c:v>
                </c:pt>
                <c:pt idx="2036">
                  <c:v>3.3404601626415751</c:v>
                </c:pt>
                <c:pt idx="2037">
                  <c:v>3.3700894282976694</c:v>
                </c:pt>
                <c:pt idx="2038">
                  <c:v>3.3782460752278705</c:v>
                </c:pt>
                <c:pt idx="2039">
                  <c:v>3.3961194506547425</c:v>
                </c:pt>
                <c:pt idx="2040">
                  <c:v>3.4211360341989536</c:v>
                </c:pt>
                <c:pt idx="2041">
                  <c:v>3.4328796403213522</c:v>
                </c:pt>
                <c:pt idx="2042">
                  <c:v>3.4377134363560429</c:v>
                </c:pt>
                <c:pt idx="2043">
                  <c:v>3.4225118541630843</c:v>
                </c:pt>
                <c:pt idx="2044">
                  <c:v>3.4269464167260399</c:v>
                </c:pt>
                <c:pt idx="2045">
                  <c:v>3.4274992015330557</c:v>
                </c:pt>
                <c:pt idx="2046">
                  <c:v>3.4220757683708807</c:v>
                </c:pt>
                <c:pt idx="2047">
                  <c:v>3.3914822003292131</c:v>
                </c:pt>
                <c:pt idx="2048">
                  <c:v>3.4075682382133987</c:v>
                </c:pt>
                <c:pt idx="2049">
                  <c:v>3.4153072255116323</c:v>
                </c:pt>
                <c:pt idx="2050">
                  <c:v>3.4067206348426398</c:v>
                </c:pt>
                <c:pt idx="2051">
                  <c:v>3.4209947669704937</c:v>
                </c:pt>
                <c:pt idx="2052">
                  <c:v>3.4102461735007243</c:v>
                </c:pt>
                <c:pt idx="2053">
                  <c:v>3.3996818416332948</c:v>
                </c:pt>
                <c:pt idx="2054">
                  <c:v>3.3692971034076113</c:v>
                </c:pt>
                <c:pt idx="2055">
                  <c:v>3.3472102793405889</c:v>
                </c:pt>
                <c:pt idx="2056">
                  <c:v>3.3184838955359557</c:v>
                </c:pt>
                <c:pt idx="2057">
                  <c:v>3.3161990516669535</c:v>
                </c:pt>
                <c:pt idx="2058">
                  <c:v>3.3027848070166819</c:v>
                </c:pt>
                <c:pt idx="2059">
                  <c:v>3.3290298012431521</c:v>
                </c:pt>
                <c:pt idx="2060">
                  <c:v>3.3442129572758765</c:v>
                </c:pt>
                <c:pt idx="2061">
                  <c:v>3.3418789769795842</c:v>
                </c:pt>
                <c:pt idx="2062">
                  <c:v>3.3367933567550305</c:v>
                </c:pt>
                <c:pt idx="2063">
                  <c:v>3.3409576689678899</c:v>
                </c:pt>
                <c:pt idx="2064">
                  <c:v>3.3483281330614458</c:v>
                </c:pt>
                <c:pt idx="2065">
                  <c:v>3.3486229516251873</c:v>
                </c:pt>
                <c:pt idx="2066">
                  <c:v>3.344870156990885</c:v>
                </c:pt>
                <c:pt idx="2067">
                  <c:v>3.3531619290961352</c:v>
                </c:pt>
                <c:pt idx="2068">
                  <c:v>3.3342198363756967</c:v>
                </c:pt>
                <c:pt idx="2069">
                  <c:v>3.3356447927671176</c:v>
                </c:pt>
                <c:pt idx="2070">
                  <c:v>3.3297852738127411</c:v>
                </c:pt>
                <c:pt idx="2071">
                  <c:v>3.3134965481659826</c:v>
                </c:pt>
                <c:pt idx="2072">
                  <c:v>3.3041114905535216</c:v>
                </c:pt>
                <c:pt idx="2073">
                  <c:v>3.3143380094833303</c:v>
                </c:pt>
                <c:pt idx="2074">
                  <c:v>3.3271196226322388</c:v>
                </c:pt>
                <c:pt idx="2075">
                  <c:v>3.334858609930472</c:v>
                </c:pt>
                <c:pt idx="2076">
                  <c:v>3.3370328968380716</c:v>
                </c:pt>
                <c:pt idx="2077">
                  <c:v>3.3380647618111694</c:v>
                </c:pt>
                <c:pt idx="2078">
                  <c:v>3.3394221556150661</c:v>
                </c:pt>
                <c:pt idx="2079">
                  <c:v>3.3344716605655611</c:v>
                </c:pt>
                <c:pt idx="2080">
                  <c:v>3.3278382428813602</c:v>
                </c:pt>
                <c:pt idx="2081">
                  <c:v>3.3491327420583259</c:v>
                </c:pt>
                <c:pt idx="2082">
                  <c:v>3.3539235437191373</c:v>
                </c:pt>
                <c:pt idx="2083">
                  <c:v>3.3681731076333445</c:v>
                </c:pt>
                <c:pt idx="2084">
                  <c:v>3.4007996953541517</c:v>
                </c:pt>
                <c:pt idx="2085">
                  <c:v>3.4167076136894097</c:v>
                </c:pt>
                <c:pt idx="2086">
                  <c:v>3.436018229614525</c:v>
                </c:pt>
                <c:pt idx="2087">
                  <c:v>3.4644375107485943</c:v>
                </c:pt>
                <c:pt idx="2088">
                  <c:v>3.4665565191754917</c:v>
                </c:pt>
                <c:pt idx="2089">
                  <c:v>3.4689887723263655</c:v>
                </c:pt>
                <c:pt idx="2090">
                  <c:v>3.4546409355575762</c:v>
                </c:pt>
                <c:pt idx="2091">
                  <c:v>3.4562870058718036</c:v>
                </c:pt>
                <c:pt idx="2092">
                  <c:v>3.4543891113677128</c:v>
                </c:pt>
                <c:pt idx="2093">
                  <c:v>3.4878141660319879</c:v>
                </c:pt>
                <c:pt idx="2094">
                  <c:v>3.4784291084195273</c:v>
                </c:pt>
                <c:pt idx="2095">
                  <c:v>3.4658624671400147</c:v>
                </c:pt>
                <c:pt idx="2096">
                  <c:v>3.4631353954253985</c:v>
                </c:pt>
                <c:pt idx="2097">
                  <c:v>3.4503537822764909</c:v>
                </c:pt>
                <c:pt idx="2098">
                  <c:v>3.4515699088519276</c:v>
                </c:pt>
                <c:pt idx="2099">
                  <c:v>3.4369026853057516</c:v>
                </c:pt>
                <c:pt idx="2100">
                  <c:v>3.4236112817237059</c:v>
                </c:pt>
                <c:pt idx="2101">
                  <c:v>3.4182124167751762</c:v>
                </c:pt>
                <c:pt idx="2102">
                  <c:v>3.4026853057514188</c:v>
                </c:pt>
                <c:pt idx="2103">
                  <c:v>3.4240596516227306</c:v>
                </c:pt>
                <c:pt idx="2104">
                  <c:v>3.4236911284180533</c:v>
                </c:pt>
                <c:pt idx="2105">
                  <c:v>3.4381802324153021</c:v>
                </c:pt>
                <c:pt idx="2106">
                  <c:v>3.4437633589661698</c:v>
                </c:pt>
                <c:pt idx="2107">
                  <c:v>3.4270201213669758</c:v>
                </c:pt>
                <c:pt idx="2108">
                  <c:v>3.4349925066948384</c:v>
                </c:pt>
                <c:pt idx="2109">
                  <c:v>3.4415153674176358</c:v>
                </c:pt>
                <c:pt idx="2110">
                  <c:v>3.4481794953688922</c:v>
                </c:pt>
                <c:pt idx="2111">
                  <c:v>3.4523315234749283</c:v>
                </c:pt>
                <c:pt idx="2112">
                  <c:v>3.4362147753236862</c:v>
                </c:pt>
                <c:pt idx="2113">
                  <c:v>3.4212588752671795</c:v>
                </c:pt>
                <c:pt idx="2114">
                  <c:v>3.4069478908188584</c:v>
                </c:pt>
                <c:pt idx="2115">
                  <c:v>3.3999275237697466</c:v>
                </c:pt>
                <c:pt idx="2116">
                  <c:v>3.4014016165884575</c:v>
                </c:pt>
                <c:pt idx="2117">
                  <c:v>3.3929071567206344</c:v>
                </c:pt>
                <c:pt idx="2118">
                  <c:v>3.3937056236641028</c:v>
                </c:pt>
                <c:pt idx="2119">
                  <c:v>3.4180711495467158</c:v>
                </c:pt>
                <c:pt idx="2120">
                  <c:v>3.4110692086578376</c:v>
                </c:pt>
                <c:pt idx="2121">
                  <c:v>3.4139928260816146</c:v>
                </c:pt>
                <c:pt idx="2122">
                  <c:v>3.4049148711397188</c:v>
                </c:pt>
                <c:pt idx="2123">
                  <c:v>3.4179851607989575</c:v>
                </c:pt>
                <c:pt idx="2124">
                  <c:v>3.3999766601970367</c:v>
                </c:pt>
                <c:pt idx="2125">
                  <c:v>3.4116465616784999</c:v>
                </c:pt>
                <c:pt idx="2126">
                  <c:v>3.4104672874235313</c:v>
                </c:pt>
                <c:pt idx="2127">
                  <c:v>3.4213632901751714</c:v>
                </c:pt>
                <c:pt idx="2128">
                  <c:v>3.4343844434071205</c:v>
                </c:pt>
                <c:pt idx="2129">
                  <c:v>3.4481119327813681</c:v>
                </c:pt>
                <c:pt idx="2130">
                  <c:v>3.471642139400045</c:v>
                </c:pt>
                <c:pt idx="2131">
                  <c:v>3.4956698523450367</c:v>
                </c:pt>
                <c:pt idx="2132">
                  <c:v>3.5010687172935655</c:v>
                </c:pt>
                <c:pt idx="2133">
                  <c:v>3.5341375328599862</c:v>
                </c:pt>
                <c:pt idx="2134">
                  <c:v>3.5127631869886744</c:v>
                </c:pt>
                <c:pt idx="2135">
                  <c:v>3.4906702208682407</c:v>
                </c:pt>
                <c:pt idx="2136">
                  <c:v>3.4736997272928285</c:v>
                </c:pt>
                <c:pt idx="2137">
                  <c:v>3.4663538314129179</c:v>
                </c:pt>
                <c:pt idx="2138">
                  <c:v>3.4890302926074246</c:v>
                </c:pt>
                <c:pt idx="2139">
                  <c:v>3.4915731027197014</c:v>
                </c:pt>
                <c:pt idx="2140">
                  <c:v>3.4984583445937649</c:v>
                </c:pt>
                <c:pt idx="2141">
                  <c:v>3.4898594698179495</c:v>
                </c:pt>
                <c:pt idx="2142">
                  <c:v>3.4779684544136802</c:v>
                </c:pt>
                <c:pt idx="2143">
                  <c:v>3.497137803110336</c:v>
                </c:pt>
                <c:pt idx="2144">
                  <c:v>3.5002518241898635</c:v>
                </c:pt>
                <c:pt idx="2145">
                  <c:v>3.4972790703387964</c:v>
                </c:pt>
                <c:pt idx="2146">
                  <c:v>3.4876176203228271</c:v>
                </c:pt>
                <c:pt idx="2147">
                  <c:v>3.4972606441785627</c:v>
                </c:pt>
                <c:pt idx="2148">
                  <c:v>3.5140591602584581</c:v>
                </c:pt>
                <c:pt idx="2149">
                  <c:v>3.4971685133773929</c:v>
                </c:pt>
                <c:pt idx="2150">
                  <c:v>3.4741542392452649</c:v>
                </c:pt>
                <c:pt idx="2151">
                  <c:v>3.481764243421861</c:v>
                </c:pt>
                <c:pt idx="2152">
                  <c:v>3.4758310198265483</c:v>
                </c:pt>
                <c:pt idx="2153">
                  <c:v>3.4751553939513058</c:v>
                </c:pt>
                <c:pt idx="2154">
                  <c:v>3.4830110802643537</c:v>
                </c:pt>
                <c:pt idx="2155">
                  <c:v>3.4942019015797352</c:v>
                </c:pt>
                <c:pt idx="2156">
                  <c:v>3.4914011252241846</c:v>
                </c:pt>
                <c:pt idx="2157">
                  <c:v>3.4988882883325552</c:v>
                </c:pt>
                <c:pt idx="2158">
                  <c:v>3.4771208510429208</c:v>
                </c:pt>
                <c:pt idx="2159">
                  <c:v>3.4627852983809544</c:v>
                </c:pt>
                <c:pt idx="2160">
                  <c:v>3.4514163575166452</c:v>
                </c:pt>
                <c:pt idx="2161">
                  <c:v>3.4514163575166457</c:v>
                </c:pt>
                <c:pt idx="2162">
                  <c:v>3.4509004250300968</c:v>
                </c:pt>
                <c:pt idx="2163">
                  <c:v>3.4639829987961583</c:v>
                </c:pt>
                <c:pt idx="2164">
                  <c:v>3.4430385966636377</c:v>
                </c:pt>
                <c:pt idx="2165">
                  <c:v>3.4610962336928499</c:v>
                </c:pt>
                <c:pt idx="2166">
                  <c:v>3.4896260717883214</c:v>
                </c:pt>
                <c:pt idx="2167">
                  <c:v>3.4781527160160191</c:v>
                </c:pt>
                <c:pt idx="2168">
                  <c:v>3.4689150676854288</c:v>
                </c:pt>
                <c:pt idx="2169">
                  <c:v>3.4465579932683097</c:v>
                </c:pt>
                <c:pt idx="2170">
                  <c:v>3.4406984743139324</c:v>
                </c:pt>
                <c:pt idx="2171">
                  <c:v>3.4446416726039844</c:v>
                </c:pt>
                <c:pt idx="2172">
                  <c:v>3.4275974743876367</c:v>
                </c:pt>
                <c:pt idx="2173">
                  <c:v>3.4259084096995305</c:v>
                </c:pt>
                <c:pt idx="2174">
                  <c:v>3.4082315799818192</c:v>
                </c:pt>
                <c:pt idx="2175">
                  <c:v>3.4006338599120456</c:v>
                </c:pt>
                <c:pt idx="2176">
                  <c:v>3.4130530919096866</c:v>
                </c:pt>
                <c:pt idx="2177">
                  <c:v>3.4284082254379276</c:v>
                </c:pt>
                <c:pt idx="2178">
                  <c:v>3.4152150947104629</c:v>
                </c:pt>
                <c:pt idx="2179">
                  <c:v>3.388116355059823</c:v>
                </c:pt>
                <c:pt idx="2180">
                  <c:v>3.3669631231113177</c:v>
                </c:pt>
                <c:pt idx="2181">
                  <c:v>3.3642790457705818</c:v>
                </c:pt>
                <c:pt idx="2182">
                  <c:v>3.3613861386138608</c:v>
                </c:pt>
                <c:pt idx="2183">
                  <c:v>3.3546237378080237</c:v>
                </c:pt>
                <c:pt idx="2184">
                  <c:v>3.3773001990025309</c:v>
                </c:pt>
                <c:pt idx="2185">
                  <c:v>3.3649239613787678</c:v>
                </c:pt>
                <c:pt idx="2186">
                  <c:v>3.3590767265312143</c:v>
                </c:pt>
                <c:pt idx="2187">
                  <c:v>3.3485615310910752</c:v>
                </c:pt>
                <c:pt idx="2188">
                  <c:v>3.3520747856423365</c:v>
                </c:pt>
                <c:pt idx="2189">
                  <c:v>3.3752426111097469</c:v>
                </c:pt>
                <c:pt idx="2190">
                  <c:v>3.3846952313097325</c:v>
                </c:pt>
                <c:pt idx="2191">
                  <c:v>3.3793700710021386</c:v>
                </c:pt>
                <c:pt idx="2192">
                  <c:v>3.3729024887600429</c:v>
                </c:pt>
                <c:pt idx="2193">
                  <c:v>3.3648686828980674</c:v>
                </c:pt>
                <c:pt idx="2194">
                  <c:v>3.3438628602314338</c:v>
                </c:pt>
                <c:pt idx="2195">
                  <c:v>3.3380279094907013</c:v>
                </c:pt>
                <c:pt idx="2196">
                  <c:v>3.3371004594255953</c:v>
                </c:pt>
                <c:pt idx="2197">
                  <c:v>3.3438567181780212</c:v>
                </c:pt>
                <c:pt idx="2198">
                  <c:v>3.3558091541164039</c:v>
                </c:pt>
                <c:pt idx="2199">
                  <c:v>3.3494337026754786</c:v>
                </c:pt>
                <c:pt idx="2200">
                  <c:v>3.3687381765471831</c:v>
                </c:pt>
                <c:pt idx="2201">
                  <c:v>3.3866484042945233</c:v>
                </c:pt>
                <c:pt idx="2202">
                  <c:v>3.3942584084711198</c:v>
                </c:pt>
                <c:pt idx="2203">
                  <c:v>3.4044787853475169</c:v>
                </c:pt>
                <c:pt idx="2204">
                  <c:v>3.4106638331326922</c:v>
                </c:pt>
                <c:pt idx="2205">
                  <c:v>3.4080718865931252</c:v>
                </c:pt>
                <c:pt idx="2206">
                  <c:v>3.4401763997739723</c:v>
                </c:pt>
                <c:pt idx="2207">
                  <c:v>3.4424980959634421</c:v>
                </c:pt>
                <c:pt idx="2208">
                  <c:v>3.4277203154558631</c:v>
                </c:pt>
                <c:pt idx="2209">
                  <c:v>3.4258039947915391</c:v>
                </c:pt>
                <c:pt idx="2210">
                  <c:v>3.4344274377809993</c:v>
                </c:pt>
                <c:pt idx="2211">
                  <c:v>3.4607522787018161</c:v>
                </c:pt>
                <c:pt idx="2212">
                  <c:v>3.4632705206004473</c:v>
                </c:pt>
                <c:pt idx="2213">
                  <c:v>3.4551015895634234</c:v>
                </c:pt>
                <c:pt idx="2214">
                  <c:v>3.4613050635088332</c:v>
                </c:pt>
                <c:pt idx="2215">
                  <c:v>3.4351890524040005</c:v>
                </c:pt>
                <c:pt idx="2216">
                  <c:v>3.4389111367712455</c:v>
                </c:pt>
                <c:pt idx="2217">
                  <c:v>3.451096970739258</c:v>
                </c:pt>
                <c:pt idx="2218">
                  <c:v>3.4762793897255735</c:v>
                </c:pt>
                <c:pt idx="2219">
                  <c:v>3.4898963221384176</c:v>
                </c:pt>
                <c:pt idx="2220">
                  <c:v>3.4883239564651256</c:v>
                </c:pt>
                <c:pt idx="2221">
                  <c:v>3.5061789057317641</c:v>
                </c:pt>
                <c:pt idx="2222">
                  <c:v>3.5046126821118837</c:v>
                </c:pt>
                <c:pt idx="2223">
                  <c:v>3.5472508168931038</c:v>
                </c:pt>
                <c:pt idx="2224">
                  <c:v>3.5871311696926518</c:v>
                </c:pt>
                <c:pt idx="2225">
                  <c:v>3.6523106404933294</c:v>
                </c:pt>
                <c:pt idx="2226">
                  <c:v>3.709407169004741</c:v>
                </c:pt>
                <c:pt idx="2227">
                  <c:v>3.7485873277154012</c:v>
                </c:pt>
                <c:pt idx="2228">
                  <c:v>3.7778419281134066</c:v>
                </c:pt>
                <c:pt idx="2229">
                  <c:v>3.8374198462029825</c:v>
                </c:pt>
                <c:pt idx="2230">
                  <c:v>3.897237304375599</c:v>
                </c:pt>
                <c:pt idx="2231">
                  <c:v>3.9299805911112204</c:v>
                </c:pt>
                <c:pt idx="2232">
                  <c:v>3.9687860845637917</c:v>
                </c:pt>
                <c:pt idx="2233">
                  <c:v>3.9933788664226224</c:v>
                </c:pt>
                <c:pt idx="2234">
                  <c:v>4.0330872417266548</c:v>
                </c:pt>
                <c:pt idx="2235">
                  <c:v>4.0816340318895419</c:v>
                </c:pt>
                <c:pt idx="2236">
                  <c:v>4.1313600963073975</c:v>
                </c:pt>
                <c:pt idx="2237">
                  <c:v>4.1717870918605513</c:v>
                </c:pt>
                <c:pt idx="2238">
                  <c:v>4.2211262069134952</c:v>
                </c:pt>
                <c:pt idx="2239">
                  <c:v>4.2667493796526053</c:v>
                </c:pt>
                <c:pt idx="2240">
                  <c:v>4.309092695870083</c:v>
                </c:pt>
                <c:pt idx="2241">
                  <c:v>4.3477139277203154</c:v>
                </c:pt>
                <c:pt idx="2242">
                  <c:v>4.376372748937424</c:v>
                </c:pt>
                <c:pt idx="2243">
                  <c:v>4.4155221973810272</c:v>
                </c:pt>
                <c:pt idx="2244">
                  <c:v>4.4641242660246165</c:v>
                </c:pt>
                <c:pt idx="2245">
                  <c:v>4.5198388325184862</c:v>
                </c:pt>
                <c:pt idx="2246">
                  <c:v>4.5620961599882071</c:v>
                </c:pt>
                <c:pt idx="2247">
                  <c:v>4.6132226125838383</c:v>
                </c:pt>
                <c:pt idx="2248">
                  <c:v>4.6295236223374188</c:v>
                </c:pt>
                <c:pt idx="2249">
                  <c:v>4.6484902832715029</c:v>
                </c:pt>
                <c:pt idx="2250">
                  <c:v>4.6584035574773353</c:v>
                </c:pt>
                <c:pt idx="2251">
                  <c:v>4.6872220720831388</c:v>
                </c:pt>
                <c:pt idx="2252">
                  <c:v>4.6983883251848759</c:v>
                </c:pt>
                <c:pt idx="2253">
                  <c:v>4.7414932560253549</c:v>
                </c:pt>
                <c:pt idx="2254">
                  <c:v>4.7367515907918341</c:v>
                </c:pt>
                <c:pt idx="2255">
                  <c:v>4.7450802152175511</c:v>
                </c:pt>
                <c:pt idx="2256">
                  <c:v>4.7429366385770093</c:v>
                </c:pt>
                <c:pt idx="2257">
                  <c:v>4.7429366385770102</c:v>
                </c:pt>
                <c:pt idx="2258">
                  <c:v>4.742801513401961</c:v>
                </c:pt>
                <c:pt idx="2259">
                  <c:v>4.7372552391715601</c:v>
                </c:pt>
                <c:pt idx="2260">
                  <c:v>4.734374616121662</c:v>
                </c:pt>
                <c:pt idx="2261">
                  <c:v>4.7398103333906594</c:v>
                </c:pt>
                <c:pt idx="2262">
                  <c:v>4.7570142249956993</c:v>
                </c:pt>
                <c:pt idx="2263">
                  <c:v>4.7563508832272801</c:v>
                </c:pt>
                <c:pt idx="2264">
                  <c:v>4.772295653883007</c:v>
                </c:pt>
                <c:pt idx="2265">
                  <c:v>4.792601282460752</c:v>
                </c:pt>
                <c:pt idx="2266">
                  <c:v>4.8540463847873614</c:v>
                </c:pt>
                <c:pt idx="2267">
                  <c:v>4.9228650222342321</c:v>
                </c:pt>
                <c:pt idx="2268">
                  <c:v>4.994333955728079</c:v>
                </c:pt>
                <c:pt idx="2269">
                  <c:v>5.0619641058398637</c:v>
                </c:pt>
                <c:pt idx="2270">
                  <c:v>5.1338691251259103</c:v>
                </c:pt>
                <c:pt idx="2271">
                  <c:v>5.2181672726826021</c:v>
                </c:pt>
                <c:pt idx="2272">
                  <c:v>5.2824745718988773</c:v>
                </c:pt>
                <c:pt idx="2273">
                  <c:v>5.3777884922487278</c:v>
                </c:pt>
                <c:pt idx="2274">
                  <c:v>5.4826333439795585</c:v>
                </c:pt>
                <c:pt idx="2275">
                  <c:v>5.3301691521509458</c:v>
                </c:pt>
                <c:pt idx="2276">
                  <c:v>5.1684181755644536</c:v>
                </c:pt>
                <c:pt idx="2277">
                  <c:v>5.0234657150578572</c:v>
                </c:pt>
                <c:pt idx="2278">
                  <c:v>4.8505177751025705</c:v>
                </c:pt>
                <c:pt idx="2279">
                  <c:v>4.7028750952018266</c:v>
                </c:pt>
                <c:pt idx="2280">
                  <c:v>4.5559571776036147</c:v>
                </c:pt>
                <c:pt idx="2281">
                  <c:v>4.4175030096061709</c:v>
                </c:pt>
                <c:pt idx="2282">
                  <c:v>4.272157457681252</c:v>
                </c:pt>
                <c:pt idx="2283">
                  <c:v>4.1371674078077776</c:v>
                </c:pt>
                <c:pt idx="2284">
                  <c:v>3.9818471611429138</c:v>
                </c:pt>
                <c:pt idx="2285">
                  <c:v>3.8313668525661506</c:v>
                </c:pt>
                <c:pt idx="2286">
                  <c:v>3.6696527283001252</c:v>
                </c:pt>
                <c:pt idx="2287">
                  <c:v>3.5060099992629543</c:v>
                </c:pt>
                <c:pt idx="2288">
                  <c:v>3.353072869321672</c:v>
                </c:pt>
                <c:pt idx="2289">
                  <c:v>3.1966593371495962</c:v>
                </c:pt>
                <c:pt idx="2290">
                  <c:v>3.0433536840036362</c:v>
                </c:pt>
                <c:pt idx="2291">
                  <c:v>2.9914226224111244</c:v>
                </c:pt>
                <c:pt idx="2292">
                  <c:v>2.9323974891285656</c:v>
                </c:pt>
                <c:pt idx="2293">
                  <c:v>2.8945931503820361</c:v>
                </c:pt>
                <c:pt idx="2294">
                  <c:v>2.8582444782939835</c:v>
                </c:pt>
                <c:pt idx="2295">
                  <c:v>2.8132600791096478</c:v>
                </c:pt>
                <c:pt idx="2296">
                  <c:v>2.7487685182910346</c:v>
                </c:pt>
                <c:pt idx="2297">
                  <c:v>2.6452564921504558</c:v>
                </c:pt>
                <c:pt idx="2298">
                  <c:v>2.5260238803036641</c:v>
                </c:pt>
                <c:pt idx="2299">
                  <c:v>2.3867159668820488</c:v>
                </c:pt>
                <c:pt idx="2300">
                  <c:v>2.276472250202688</c:v>
                </c:pt>
                <c:pt idx="2301">
                  <c:v>2.1531336756504431</c:v>
                </c:pt>
                <c:pt idx="2302">
                  <c:v>2.0441813257008081</c:v>
                </c:pt>
                <c:pt idx="2303">
                  <c:v>1.9250869100557697</c:v>
                </c:pt>
                <c:pt idx="2304">
                  <c:v>1.7815640124806524</c:v>
                </c:pt>
                <c:pt idx="2305">
                  <c:v>1.656769771269931</c:v>
                </c:pt>
                <c:pt idx="2306">
                  <c:v>1.7900523302950642</c:v>
                </c:pt>
                <c:pt idx="2307">
                  <c:v>1.8991536250399232</c:v>
                </c:pt>
                <c:pt idx="2308">
                  <c:v>2.0166818170650811</c:v>
                </c:pt>
                <c:pt idx="2309">
                  <c:v>2.1331167235830284</c:v>
                </c:pt>
                <c:pt idx="2310">
                  <c:v>2.2473589170331425</c:v>
                </c:pt>
                <c:pt idx="2311">
                  <c:v>2.3635174311475815</c:v>
                </c:pt>
                <c:pt idx="2312">
                  <c:v>2.4740743925509179</c:v>
                </c:pt>
                <c:pt idx="2313">
                  <c:v>2.5723963835589516</c:v>
                </c:pt>
                <c:pt idx="2314">
                  <c:v>2.6831498906714493</c:v>
                </c:pt>
                <c:pt idx="2315">
                  <c:v>2.7987310517652264</c:v>
                </c:pt>
                <c:pt idx="2316">
                  <c:v>2.9136980075178736</c:v>
                </c:pt>
                <c:pt idx="2317">
                  <c:v>3.0488231825663954</c:v>
                </c:pt>
                <c:pt idx="2318">
                  <c:v>3.1530783971697414</c:v>
                </c:pt>
                <c:pt idx="2319">
                  <c:v>3.2792607424514162</c:v>
                </c:pt>
                <c:pt idx="2320">
                  <c:v>3.3832395646512539</c:v>
                </c:pt>
                <c:pt idx="2321">
                  <c:v>3.4946809817458169</c:v>
                </c:pt>
                <c:pt idx="2322">
                  <c:v>3.4998648748249512</c:v>
                </c:pt>
                <c:pt idx="2323">
                  <c:v>3.5131501363535858</c:v>
                </c:pt>
                <c:pt idx="2324">
                  <c:v>3.4895646512542076</c:v>
                </c:pt>
                <c:pt idx="2325">
                  <c:v>3.4810026287988598</c:v>
                </c:pt>
                <c:pt idx="2326">
                  <c:v>3.4669741788074586</c:v>
                </c:pt>
                <c:pt idx="2327">
                  <c:v>3.473730437559885</c:v>
                </c:pt>
                <c:pt idx="2328">
                  <c:v>3.4682824361840652</c:v>
                </c:pt>
                <c:pt idx="2329">
                  <c:v>3.4892268383165868</c:v>
                </c:pt>
                <c:pt idx="2330">
                  <c:v>3.4967999901727151</c:v>
                </c:pt>
                <c:pt idx="2331">
                  <c:v>3.4879370071002143</c:v>
                </c:pt>
                <c:pt idx="2332">
                  <c:v>3.4754747807286934</c:v>
                </c:pt>
                <c:pt idx="2333">
                  <c:v>3.4650455740363126</c:v>
                </c:pt>
                <c:pt idx="2334">
                  <c:v>3.4622693658944059</c:v>
                </c:pt>
                <c:pt idx="2335">
                  <c:v>3.457005626120925</c:v>
                </c:pt>
                <c:pt idx="2336">
                  <c:v>3.4354347345404519</c:v>
                </c:pt>
                <c:pt idx="2337">
                  <c:v>3.3941908458835957</c:v>
                </c:pt>
                <c:pt idx="2338">
                  <c:v>3.394184703830184</c:v>
                </c:pt>
                <c:pt idx="2339">
                  <c:v>3.39605803012063</c:v>
                </c:pt>
                <c:pt idx="2340">
                  <c:v>3.3745547011276806</c:v>
                </c:pt>
                <c:pt idx="2341">
                  <c:v>3.3498636464142693</c:v>
                </c:pt>
                <c:pt idx="2342">
                  <c:v>3.3429968307004398</c:v>
                </c:pt>
                <c:pt idx="2343">
                  <c:v>3.3356755030341736</c:v>
                </c:pt>
                <c:pt idx="2344">
                  <c:v>3.3393423089207181</c:v>
                </c:pt>
                <c:pt idx="2345">
                  <c:v>3.3455703510797727</c:v>
                </c:pt>
                <c:pt idx="2346">
                  <c:v>3.3411235044099952</c:v>
                </c:pt>
                <c:pt idx="2347">
                  <c:v>3.3289745227624503</c:v>
                </c:pt>
                <c:pt idx="2348">
                  <c:v>3.3194420558681186</c:v>
                </c:pt>
                <c:pt idx="2349">
                  <c:v>3.319595607203401</c:v>
                </c:pt>
                <c:pt idx="2350">
                  <c:v>3.3197184482716264</c:v>
                </c:pt>
                <c:pt idx="2351">
                  <c:v>3.3323649362454857</c:v>
                </c:pt>
                <c:pt idx="2352">
                  <c:v>3.3407181288848489</c:v>
                </c:pt>
                <c:pt idx="2353">
                  <c:v>3.3191595214111986</c:v>
                </c:pt>
                <c:pt idx="2354">
                  <c:v>3.3244601135051477</c:v>
                </c:pt>
                <c:pt idx="2355">
                  <c:v>3.3330098518536726</c:v>
                </c:pt>
                <c:pt idx="2356">
                  <c:v>3.3440901162076511</c:v>
                </c:pt>
                <c:pt idx="2357">
                  <c:v>3.361410706827507</c:v>
                </c:pt>
                <c:pt idx="2358">
                  <c:v>3.3523204677787874</c:v>
                </c:pt>
                <c:pt idx="2359">
                  <c:v>3.3665086111588822</c:v>
                </c:pt>
                <c:pt idx="2360">
                  <c:v>3.3369039137164331</c:v>
                </c:pt>
                <c:pt idx="2361">
                  <c:v>3.3511043412033508</c:v>
                </c:pt>
                <c:pt idx="2362">
                  <c:v>3.3397538264992748</c:v>
                </c:pt>
                <c:pt idx="2363">
                  <c:v>3.3353622583101981</c:v>
                </c:pt>
                <c:pt idx="2364">
                  <c:v>3.327752254133602</c:v>
                </c:pt>
                <c:pt idx="2365">
                  <c:v>3.3458958799105716</c:v>
                </c:pt>
                <c:pt idx="2366">
                  <c:v>3.3665331793725275</c:v>
                </c:pt>
                <c:pt idx="2367">
                  <c:v>3.3712748446060492</c:v>
                </c:pt>
                <c:pt idx="2368">
                  <c:v>3.4073286981303594</c:v>
                </c:pt>
                <c:pt idx="2369">
                  <c:v>3.4047367515907925</c:v>
                </c:pt>
                <c:pt idx="2370">
                  <c:v>3.4063951060118427</c:v>
                </c:pt>
                <c:pt idx="2371">
                  <c:v>3.4217379554332616</c:v>
                </c:pt>
                <c:pt idx="2372">
                  <c:v>3.4384566248188113</c:v>
                </c:pt>
                <c:pt idx="2373">
                  <c:v>3.4416566346460966</c:v>
                </c:pt>
                <c:pt idx="2374">
                  <c:v>3.4515207724246388</c:v>
                </c:pt>
                <c:pt idx="2375">
                  <c:v>3.4760091393754773</c:v>
                </c:pt>
                <c:pt idx="2376">
                  <c:v>3.4523868019556314</c:v>
                </c:pt>
                <c:pt idx="2377">
                  <c:v>3.4472213350367307</c:v>
                </c:pt>
                <c:pt idx="2378">
                  <c:v>3.4419146008893704</c:v>
                </c:pt>
                <c:pt idx="2379">
                  <c:v>3.4123836080878571</c:v>
                </c:pt>
                <c:pt idx="2380">
                  <c:v>3.4096135419993625</c:v>
                </c:pt>
                <c:pt idx="2381">
                  <c:v>3.4044050807065833</c:v>
                </c:pt>
                <c:pt idx="2382">
                  <c:v>3.3978883620371967</c:v>
                </c:pt>
                <c:pt idx="2383">
                  <c:v>3.3800518389307923</c:v>
                </c:pt>
                <c:pt idx="2384">
                  <c:v>3.3855919711077811</c:v>
                </c:pt>
                <c:pt idx="2385">
                  <c:v>3.3883620371962762</c:v>
                </c:pt>
                <c:pt idx="2386">
                  <c:v>3.4026177431638955</c:v>
                </c:pt>
                <c:pt idx="2387">
                  <c:v>3.4056027811217855</c:v>
                </c:pt>
                <c:pt idx="2388">
                  <c:v>3.4029924084219845</c:v>
                </c:pt>
                <c:pt idx="2389">
                  <c:v>3.3956833648625415</c:v>
                </c:pt>
                <c:pt idx="2390">
                  <c:v>3.3906775913323353</c:v>
                </c:pt>
                <c:pt idx="2391">
                  <c:v>3.3978453676633178</c:v>
                </c:pt>
                <c:pt idx="2392">
                  <c:v>3.3851681694224021</c:v>
                </c:pt>
                <c:pt idx="2393">
                  <c:v>3.3871152003537834</c:v>
                </c:pt>
                <c:pt idx="2394">
                  <c:v>3.4104058668894197</c:v>
                </c:pt>
                <c:pt idx="2395">
                  <c:v>3.4144043436601739</c:v>
                </c:pt>
                <c:pt idx="2396">
                  <c:v>3.4203068569884296</c:v>
                </c:pt>
                <c:pt idx="2397">
                  <c:v>3.4299867331646321</c:v>
                </c:pt>
                <c:pt idx="2398">
                  <c:v>3.4377257204628662</c:v>
                </c:pt>
                <c:pt idx="2399">
                  <c:v>3.4294278063042043</c:v>
                </c:pt>
                <c:pt idx="2400">
                  <c:v>3.4123528978208002</c:v>
                </c:pt>
                <c:pt idx="2401">
                  <c:v>3.4116772719455573</c:v>
                </c:pt>
                <c:pt idx="2402">
                  <c:v>3.4180281551728373</c:v>
                </c:pt>
                <c:pt idx="2403">
                  <c:v>3.4261848021030392</c:v>
                </c:pt>
                <c:pt idx="2404">
                  <c:v>3.434617841436749</c:v>
                </c:pt>
                <c:pt idx="2405">
                  <c:v>3.4220143478367686</c:v>
                </c:pt>
                <c:pt idx="2406">
                  <c:v>3.3967029457288156</c:v>
                </c:pt>
                <c:pt idx="2407">
                  <c:v>3.4317126501732051</c:v>
                </c:pt>
                <c:pt idx="2408">
                  <c:v>3.4528843082819436</c:v>
                </c:pt>
                <c:pt idx="2409">
                  <c:v>3.4702663194359129</c:v>
                </c:pt>
                <c:pt idx="2410">
                  <c:v>3.4862356583052843</c:v>
                </c:pt>
                <c:pt idx="2411">
                  <c:v>3.4838156892612333</c:v>
                </c:pt>
                <c:pt idx="2412">
                  <c:v>3.4605495909392423</c:v>
                </c:pt>
                <c:pt idx="2413">
                  <c:v>3.4465027147876079</c:v>
                </c:pt>
                <c:pt idx="2414">
                  <c:v>3.4570547625482146</c:v>
                </c:pt>
                <c:pt idx="2415">
                  <c:v>3.4860636808097683</c:v>
                </c:pt>
                <c:pt idx="2416">
                  <c:v>3.4725450212515052</c:v>
                </c:pt>
                <c:pt idx="2417">
                  <c:v>3.4668390536324107</c:v>
                </c:pt>
                <c:pt idx="2418">
                  <c:v>3.4369333955728076</c:v>
                </c:pt>
                <c:pt idx="2419">
                  <c:v>3.4468159595115835</c:v>
                </c:pt>
                <c:pt idx="2420">
                  <c:v>3.4558939144534802</c:v>
                </c:pt>
                <c:pt idx="2421">
                  <c:v>3.437308060830897</c:v>
                </c:pt>
                <c:pt idx="2422">
                  <c:v>3.4461710439033975</c:v>
                </c:pt>
                <c:pt idx="2423">
                  <c:v>3.4437547600913936</c:v>
                </c:pt>
                <c:pt idx="2424">
                  <c:v>3.4540601938177899</c:v>
                </c:pt>
                <c:pt idx="2425">
                  <c:v>3.4520794799260139</c:v>
                </c:pt>
                <c:pt idx="2426">
                  <c:v>3.4576951284872073</c:v>
                </c:pt>
                <c:pt idx="2427">
                  <c:v>3.4469799050911005</c:v>
                </c:pt>
                <c:pt idx="2428">
                  <c:v>3.43110434120335</c:v>
                </c:pt>
                <c:pt idx="2429">
                  <c:v>3.4354531607006855</c:v>
                </c:pt>
                <c:pt idx="2430">
                  <c:v>3.423358389350641</c:v>
                </c:pt>
                <c:pt idx="2431">
                  <c:v>3.4529529876064529</c:v>
                </c:pt>
                <c:pt idx="2432">
                  <c:v>3.4396692416494394</c:v>
                </c:pt>
                <c:pt idx="2433">
                  <c:v>3.4308834729626803</c:v>
                </c:pt>
                <c:pt idx="2434">
                  <c:v>3.4247604922435566</c:v>
                </c:pt>
                <c:pt idx="2435">
                  <c:v>3.4067656765676566</c:v>
                </c:pt>
                <c:pt idx="2436">
                  <c:v>3.4239057389901895</c:v>
                </c:pt>
                <c:pt idx="2437">
                  <c:v>3.4418911843107391</c:v>
                </c:pt>
                <c:pt idx="2438">
                  <c:v>3.406054836252856</c:v>
                </c:pt>
                <c:pt idx="2439">
                  <c:v>3.3678190621259927</c:v>
                </c:pt>
                <c:pt idx="2440">
                  <c:v>3.3529058527154496</c:v>
                </c:pt>
                <c:pt idx="2441">
                  <c:v>3.34290111703478</c:v>
                </c:pt>
                <c:pt idx="2442">
                  <c:v>3.3671847954026166</c:v>
                </c:pt>
                <c:pt idx="2443">
                  <c:v>3.4006283320639752</c:v>
                </c:pt>
                <c:pt idx="2444">
                  <c:v>3.447596682745198</c:v>
                </c:pt>
                <c:pt idx="2445">
                  <c:v>3.442569497334349</c:v>
                </c:pt>
                <c:pt idx="2446">
                  <c:v>3.355402023718856</c:v>
                </c:pt>
                <c:pt idx="2447">
                  <c:v>3.3657654226961156</c:v>
                </c:pt>
                <c:pt idx="2448">
                  <c:v>3.302284843869002</c:v>
                </c:pt>
                <c:pt idx="2449">
                  <c:v>3.3700019040365579</c:v>
                </c:pt>
                <c:pt idx="2450">
                  <c:v>3.1414699162223916</c:v>
                </c:pt>
                <c:pt idx="2451">
                  <c:v>3.1701256664127953</c:v>
                </c:pt>
              </c:numCache>
            </c:numRef>
          </c:val>
          <c:smooth val="0"/>
          <c:extLst>
            <c:ext xmlns:c16="http://schemas.microsoft.com/office/drawing/2014/chart" uri="{C3380CC4-5D6E-409C-BE32-E72D297353CC}">
              <c16:uniqueId val="{00000006-A317-4990-AD5E-DF35E9825BF6}"/>
            </c:ext>
          </c:extLst>
        </c:ser>
        <c:ser>
          <c:idx val="7"/>
          <c:order val="7"/>
          <c:tx>
            <c:strRef>
              <c:f>'DRT Rolling Mean'!$J$1</c:f>
              <c:strCache>
                <c:ptCount val="1"/>
                <c:pt idx="0">
                  <c:v>PUMP FAILURE (1 or 0)</c:v>
                </c:pt>
              </c:strCache>
            </c:strRef>
          </c:tx>
          <c:spPr>
            <a:ln w="28575" cap="rnd">
              <a:solidFill>
                <a:schemeClr val="accent2">
                  <a:lumMod val="60000"/>
                </a:schemeClr>
              </a:solidFill>
              <a:round/>
            </a:ln>
            <a:effectLst/>
          </c:spPr>
          <c:marker>
            <c:symbol val="none"/>
          </c:marker>
          <c:cat>
            <c:numRef>
              <c:f>'DRT Rolling Mean'!$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Mean'!$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A317-4990-AD5E-DF35E9825BF6}"/>
            </c:ext>
          </c:extLst>
        </c:ser>
        <c:dLbls>
          <c:showLegendKey val="0"/>
          <c:showVal val="0"/>
          <c:showCatName val="0"/>
          <c:showSerName val="0"/>
          <c:showPercent val="0"/>
          <c:showBubbleSize val="0"/>
        </c:dLbls>
        <c:marker val="1"/>
        <c:smooth val="0"/>
        <c:axId val="974075823"/>
        <c:axId val="974079151"/>
      </c:lineChart>
      <c:catAx>
        <c:axId val="1119609887"/>
        <c:scaling>
          <c:orientation val="minMax"/>
        </c:scaling>
        <c:delete val="0"/>
        <c:axPos val="b"/>
        <c:numFmt formatCode="[$-F400]h:mm:ss\ AM/P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9616127"/>
        <c:crosses val="autoZero"/>
        <c:auto val="1"/>
        <c:lblAlgn val="ctr"/>
        <c:lblOffset val="100"/>
        <c:noMultiLvlLbl val="0"/>
      </c:catAx>
      <c:valAx>
        <c:axId val="111961612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9609887"/>
        <c:crosses val="autoZero"/>
        <c:crossBetween val="between"/>
      </c:valAx>
      <c:valAx>
        <c:axId val="974079151"/>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4075823"/>
        <c:crosses val="max"/>
        <c:crossBetween val="between"/>
      </c:valAx>
      <c:catAx>
        <c:axId val="974075823"/>
        <c:scaling>
          <c:orientation val="minMax"/>
        </c:scaling>
        <c:delete val="1"/>
        <c:axPos val="b"/>
        <c:numFmt formatCode="[$-F400]h:mm:ss\ AM/PM" sourceLinked="1"/>
        <c:majorTickMark val="out"/>
        <c:minorTickMark val="none"/>
        <c:tickLblPos val="nextTo"/>
        <c:crossAx val="97407915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Variables</a:t>
            </a:r>
            <a:r>
              <a:rPr lang="en-US" baseline="0"/>
              <a:t> Across time (Rolling Standard Dev)</a:t>
            </a:r>
            <a:endParaRPr lang="en-US"/>
          </a:p>
        </c:rich>
      </c:tx>
      <c:layout>
        <c:manualLayout>
          <c:xMode val="edge"/>
          <c:yMode val="edge"/>
          <c:x val="0.24278465557926102"/>
          <c:y val="2.28187915443500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RT Rolling Stdev'!$C$1</c:f>
              <c:strCache>
                <c:ptCount val="1"/>
                <c:pt idx="0">
                  <c:v>Volumetric Flow Meter 1</c:v>
                </c:pt>
              </c:strCache>
            </c:strRef>
          </c:tx>
          <c:spPr>
            <a:ln w="28575" cap="rnd">
              <a:solidFill>
                <a:schemeClr val="accent1"/>
              </a:solidFill>
              <a:round/>
            </a:ln>
            <a:effectLst/>
          </c:spPr>
          <c:marker>
            <c:symbol val="none"/>
          </c:marker>
          <c:cat>
            <c:numRef>
              <c:f>'DRT Rolling Stdev'!$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C$2:$C$2453</c:f>
              <c:numCache>
                <c:formatCode>#,##0.00</c:formatCode>
                <c:ptCount val="2452"/>
                <c:pt idx="0">
                  <c:v>1.035714479361286</c:v>
                </c:pt>
                <c:pt idx="1">
                  <c:v>1.0632503300577032</c:v>
                </c:pt>
                <c:pt idx="2">
                  <c:v>1.0588301938036824</c:v>
                </c:pt>
                <c:pt idx="3">
                  <c:v>1.0622622249156548</c:v>
                </c:pt>
                <c:pt idx="4">
                  <c:v>1.0743136809412184</c:v>
                </c:pt>
                <c:pt idx="5">
                  <c:v>1.0459997142919537</c:v>
                </c:pt>
                <c:pt idx="6">
                  <c:v>1.0955039254036067</c:v>
                </c:pt>
                <c:pt idx="7">
                  <c:v>1.0826218176260807</c:v>
                </c:pt>
                <c:pt idx="8">
                  <c:v>1.074511436694001</c:v>
                </c:pt>
                <c:pt idx="9">
                  <c:v>1.0586970955990593</c:v>
                </c:pt>
                <c:pt idx="10">
                  <c:v>1.0198510145869457</c:v>
                </c:pt>
                <c:pt idx="11">
                  <c:v>0.98293625335568902</c:v>
                </c:pt>
                <c:pt idx="12">
                  <c:v>1.0166716600593406</c:v>
                </c:pt>
                <c:pt idx="13">
                  <c:v>1.0142322842607512</c:v>
                </c:pt>
                <c:pt idx="14">
                  <c:v>0.99284225692021999</c:v>
                </c:pt>
                <c:pt idx="15">
                  <c:v>0.98532939821589893</c:v>
                </c:pt>
                <c:pt idx="16">
                  <c:v>0.96924760486690387</c:v>
                </c:pt>
                <c:pt idx="17">
                  <c:v>1.0048926287928965</c:v>
                </c:pt>
                <c:pt idx="18">
                  <c:v>1.0151014331288424</c:v>
                </c:pt>
                <c:pt idx="19">
                  <c:v>1.0095350016419589</c:v>
                </c:pt>
                <c:pt idx="20">
                  <c:v>1.0146923547128182</c:v>
                </c:pt>
                <c:pt idx="21">
                  <c:v>1.0681622417557379</c:v>
                </c:pt>
                <c:pt idx="22">
                  <c:v>1.0763241510627359</c:v>
                </c:pt>
                <c:pt idx="23">
                  <c:v>1.0423034283650847</c:v>
                </c:pt>
                <c:pt idx="24">
                  <c:v>1.0690268966434506</c:v>
                </c:pt>
                <c:pt idx="25">
                  <c:v>1.0957019478949053</c:v>
                </c:pt>
                <c:pt idx="26">
                  <c:v>1.1234862101369187</c:v>
                </c:pt>
                <c:pt idx="27">
                  <c:v>1.0895843877052545</c:v>
                </c:pt>
                <c:pt idx="28">
                  <c:v>1.1090298649627566</c:v>
                </c:pt>
                <c:pt idx="29">
                  <c:v>1.1045313667931231</c:v>
                </c:pt>
                <c:pt idx="30">
                  <c:v>1.1122327135970251</c:v>
                </c:pt>
                <c:pt idx="31">
                  <c:v>1.1191343124019575</c:v>
                </c:pt>
                <c:pt idx="32">
                  <c:v>1.1597939273952889</c:v>
                </c:pt>
                <c:pt idx="33">
                  <c:v>1.1594489872447984</c:v>
                </c:pt>
                <c:pt idx="34">
                  <c:v>1.1603785054291849</c:v>
                </c:pt>
                <c:pt idx="35">
                  <c:v>1.2071115424276537</c:v>
                </c:pt>
                <c:pt idx="36">
                  <c:v>1.1818575385296273</c:v>
                </c:pt>
                <c:pt idx="37">
                  <c:v>1.1862892981269675</c:v>
                </c:pt>
                <c:pt idx="38">
                  <c:v>1.2371978442218226</c:v>
                </c:pt>
                <c:pt idx="39">
                  <c:v>1.2466304469506457</c:v>
                </c:pt>
                <c:pt idx="40">
                  <c:v>1.2427914445765398</c:v>
                </c:pt>
                <c:pt idx="41">
                  <c:v>1.2342278054970515</c:v>
                </c:pt>
                <c:pt idx="42">
                  <c:v>1.182278192363341</c:v>
                </c:pt>
                <c:pt idx="43">
                  <c:v>1.1779126775198863</c:v>
                </c:pt>
                <c:pt idx="44">
                  <c:v>1.1732998950303197</c:v>
                </c:pt>
                <c:pt idx="45">
                  <c:v>1.2101192588706511</c:v>
                </c:pt>
                <c:pt idx="46">
                  <c:v>1.1845288116998782</c:v>
                </c:pt>
                <c:pt idx="47">
                  <c:v>1.1635223967831863</c:v>
                </c:pt>
                <c:pt idx="48">
                  <c:v>1.1621401185624789</c:v>
                </c:pt>
                <c:pt idx="49">
                  <c:v>1.1584857337931691</c:v>
                </c:pt>
                <c:pt idx="50">
                  <c:v>1.1613666147229744</c:v>
                </c:pt>
                <c:pt idx="51">
                  <c:v>1.1138170881015992</c:v>
                </c:pt>
                <c:pt idx="52">
                  <c:v>1.0915516742102795</c:v>
                </c:pt>
                <c:pt idx="53">
                  <c:v>1.0910644912826784</c:v>
                </c:pt>
                <c:pt idx="54">
                  <c:v>1.0676656241808433</c:v>
                </c:pt>
                <c:pt idx="55">
                  <c:v>1.1041291882600581</c:v>
                </c:pt>
                <c:pt idx="56">
                  <c:v>1.0767477639291552</c:v>
                </c:pt>
                <c:pt idx="57">
                  <c:v>1.0988586032265737</c:v>
                </c:pt>
                <c:pt idx="58">
                  <c:v>1.074979229951716</c:v>
                </c:pt>
                <c:pt idx="59">
                  <c:v>1.1171466115618562</c:v>
                </c:pt>
                <c:pt idx="60">
                  <c:v>1.1044647634909419</c:v>
                </c:pt>
                <c:pt idx="61">
                  <c:v>1.0934150340934627</c:v>
                </c:pt>
                <c:pt idx="62">
                  <c:v>1.0363985497978023</c:v>
                </c:pt>
                <c:pt idx="63">
                  <c:v>1.0676423698435056</c:v>
                </c:pt>
                <c:pt idx="64">
                  <c:v>1.0830718871079967</c:v>
                </c:pt>
                <c:pt idx="65">
                  <c:v>1.0356518853293353</c:v>
                </c:pt>
                <c:pt idx="66">
                  <c:v>1.0037882842214434</c:v>
                </c:pt>
                <c:pt idx="67">
                  <c:v>1.0150139572110981</c:v>
                </c:pt>
                <c:pt idx="68">
                  <c:v>0.99562283400201634</c:v>
                </c:pt>
                <c:pt idx="69">
                  <c:v>0.99760955668347828</c:v>
                </c:pt>
                <c:pt idx="70">
                  <c:v>1.0436424388792767</c:v>
                </c:pt>
                <c:pt idx="71">
                  <c:v>1.0804232886968976</c:v>
                </c:pt>
                <c:pt idx="72">
                  <c:v>1.092777963797275</c:v>
                </c:pt>
                <c:pt idx="73">
                  <c:v>1.0973575890114027</c:v>
                </c:pt>
                <c:pt idx="74">
                  <c:v>1.0868258116310934</c:v>
                </c:pt>
                <c:pt idx="75">
                  <c:v>1.0772688433810469</c:v>
                </c:pt>
                <c:pt idx="76">
                  <c:v>1.0778346214815917</c:v>
                </c:pt>
                <c:pt idx="77">
                  <c:v>1.0639499707363516</c:v>
                </c:pt>
                <c:pt idx="78">
                  <c:v>1.0429655442231924</c:v>
                </c:pt>
                <c:pt idx="79">
                  <c:v>1.0416391260727083</c:v>
                </c:pt>
                <c:pt idx="80">
                  <c:v>1.0455412171605707</c:v>
                </c:pt>
                <c:pt idx="81">
                  <c:v>1.1058743874959482</c:v>
                </c:pt>
                <c:pt idx="82">
                  <c:v>1.1279288312104891</c:v>
                </c:pt>
                <c:pt idx="83">
                  <c:v>1.1607278731047588</c:v>
                </c:pt>
                <c:pt idx="84">
                  <c:v>1.2079406337699887</c:v>
                </c:pt>
                <c:pt idx="85">
                  <c:v>1.1840948334963051</c:v>
                </c:pt>
                <c:pt idx="86">
                  <c:v>1.2006301027702742</c:v>
                </c:pt>
                <c:pt idx="87">
                  <c:v>1.19643358918635</c:v>
                </c:pt>
                <c:pt idx="88">
                  <c:v>1.2027919627878818</c:v>
                </c:pt>
                <c:pt idx="89">
                  <c:v>1.1814330378775197</c:v>
                </c:pt>
                <c:pt idx="90">
                  <c:v>1.184898511585958</c:v>
                </c:pt>
                <c:pt idx="91">
                  <c:v>1.1972835153345895</c:v>
                </c:pt>
                <c:pt idx="92">
                  <c:v>1.2335149757511243</c:v>
                </c:pt>
                <c:pt idx="93">
                  <c:v>1.2338997146231636</c:v>
                </c:pt>
                <c:pt idx="94">
                  <c:v>1.2290691740023247</c:v>
                </c:pt>
                <c:pt idx="95">
                  <c:v>1.2319755184908985</c:v>
                </c:pt>
                <c:pt idx="96">
                  <c:v>1.2579304295219351</c:v>
                </c:pt>
                <c:pt idx="97">
                  <c:v>1.2510615722142788</c:v>
                </c:pt>
                <c:pt idx="98">
                  <c:v>1.2155961594989122</c:v>
                </c:pt>
                <c:pt idx="99">
                  <c:v>1.2403461233652187</c:v>
                </c:pt>
                <c:pt idx="100">
                  <c:v>1.2531780290181409</c:v>
                </c:pt>
                <c:pt idx="101">
                  <c:v>1.2610880633200348</c:v>
                </c:pt>
                <c:pt idx="102">
                  <c:v>1.2897578851469955</c:v>
                </c:pt>
                <c:pt idx="103">
                  <c:v>1.313252564760707</c:v>
                </c:pt>
                <c:pt idx="104">
                  <c:v>1.3630056796501695</c:v>
                </c:pt>
                <c:pt idx="105">
                  <c:v>1.3183698136400279</c:v>
                </c:pt>
                <c:pt idx="106">
                  <c:v>1.3198068911341001</c:v>
                </c:pt>
                <c:pt idx="107">
                  <c:v>1.3235556430425908</c:v>
                </c:pt>
                <c:pt idx="108">
                  <c:v>1.319201953115386</c:v>
                </c:pt>
                <c:pt idx="109">
                  <c:v>1.3191000066659875</c:v>
                </c:pt>
                <c:pt idx="110">
                  <c:v>1.3224185871123524</c:v>
                </c:pt>
                <c:pt idx="111">
                  <c:v>1.2922887563873091</c:v>
                </c:pt>
                <c:pt idx="112">
                  <c:v>1.3106108078507415</c:v>
                </c:pt>
                <c:pt idx="113">
                  <c:v>1.2710216724958008</c:v>
                </c:pt>
                <c:pt idx="114">
                  <c:v>1.2341745345003663</c:v>
                </c:pt>
                <c:pt idx="115">
                  <c:v>1.2182454407971282</c:v>
                </c:pt>
                <c:pt idx="116">
                  <c:v>1.2116245387860494</c:v>
                </c:pt>
                <c:pt idx="117">
                  <c:v>1.2039324455023768</c:v>
                </c:pt>
                <c:pt idx="118">
                  <c:v>1.2005364701215682</c:v>
                </c:pt>
                <c:pt idx="119">
                  <c:v>1.2090182680231893</c:v>
                </c:pt>
                <c:pt idx="120">
                  <c:v>1.1980501399904071</c:v>
                </c:pt>
                <c:pt idx="121">
                  <c:v>1.1588988035120278</c:v>
                </c:pt>
                <c:pt idx="122">
                  <c:v>1.1450029363010086</c:v>
                </c:pt>
                <c:pt idx="123">
                  <c:v>1.1169056186265431</c:v>
                </c:pt>
                <c:pt idx="124">
                  <c:v>1.1333091106268782</c:v>
                </c:pt>
                <c:pt idx="125">
                  <c:v>1.123774683924623</c:v>
                </c:pt>
                <c:pt idx="126">
                  <c:v>1.0904781720319583</c:v>
                </c:pt>
                <c:pt idx="127">
                  <c:v>1.0920298509666753</c:v>
                </c:pt>
                <c:pt idx="128">
                  <c:v>1.097091295355509</c:v>
                </c:pt>
                <c:pt idx="129">
                  <c:v>1.1054290788087049</c:v>
                </c:pt>
                <c:pt idx="130">
                  <c:v>1.0807928124521722</c:v>
                </c:pt>
                <c:pt idx="131">
                  <c:v>1.0802620478171132</c:v>
                </c:pt>
                <c:pt idx="132">
                  <c:v>1.035176091411449</c:v>
                </c:pt>
                <c:pt idx="133">
                  <c:v>1.036841190912289</c:v>
                </c:pt>
                <c:pt idx="134">
                  <c:v>1.0536502505930099</c:v>
                </c:pt>
                <c:pt idx="135">
                  <c:v>1.0583173046120804</c:v>
                </c:pt>
                <c:pt idx="136">
                  <c:v>1.1080780191627859</c:v>
                </c:pt>
                <c:pt idx="137">
                  <c:v>1.1198113552131748</c:v>
                </c:pt>
                <c:pt idx="138">
                  <c:v>1.1195146731723866</c:v>
                </c:pt>
                <c:pt idx="139">
                  <c:v>1.133684664948869</c:v>
                </c:pt>
                <c:pt idx="140">
                  <c:v>1.137721053423157</c:v>
                </c:pt>
                <c:pt idx="141">
                  <c:v>1.137721053423157</c:v>
                </c:pt>
                <c:pt idx="142">
                  <c:v>1.093818630030728</c:v>
                </c:pt>
                <c:pt idx="143">
                  <c:v>1.1219469940559865</c:v>
                </c:pt>
                <c:pt idx="144">
                  <c:v>1.1243839181535364</c:v>
                </c:pt>
                <c:pt idx="145">
                  <c:v>1.1368774031904483</c:v>
                </c:pt>
                <c:pt idx="146">
                  <c:v>1.1904548053908475</c:v>
                </c:pt>
                <c:pt idx="147">
                  <c:v>1.1877133928049624</c:v>
                </c:pt>
                <c:pt idx="148">
                  <c:v>1.2335848609623097</c:v>
                </c:pt>
                <c:pt idx="149">
                  <c:v>1.2095474597845526</c:v>
                </c:pt>
                <c:pt idx="150">
                  <c:v>1.2332857244616591</c:v>
                </c:pt>
                <c:pt idx="151">
                  <c:v>1.2274281588172364</c:v>
                </c:pt>
                <c:pt idx="152">
                  <c:v>1.2167235067812334</c:v>
                </c:pt>
                <c:pt idx="153">
                  <c:v>1.2402217080254123</c:v>
                </c:pt>
                <c:pt idx="154">
                  <c:v>1.2399260267145527</c:v>
                </c:pt>
                <c:pt idx="155">
                  <c:v>1.2539501264166086</c:v>
                </c:pt>
                <c:pt idx="156">
                  <c:v>1.2462350196242804</c:v>
                </c:pt>
                <c:pt idx="157">
                  <c:v>1.2539138268068786</c:v>
                </c:pt>
                <c:pt idx="158">
                  <c:v>1.253946597334</c:v>
                </c:pt>
                <c:pt idx="159">
                  <c:v>1.2218230678766058</c:v>
                </c:pt>
                <c:pt idx="160">
                  <c:v>1.251946576290321</c:v>
                </c:pt>
                <c:pt idx="161">
                  <c:v>1.2652302048498398</c:v>
                </c:pt>
                <c:pt idx="162">
                  <c:v>1.2842368815043785</c:v>
                </c:pt>
                <c:pt idx="163">
                  <c:v>1.2763084789083448</c:v>
                </c:pt>
                <c:pt idx="164">
                  <c:v>1.2676422135639045</c:v>
                </c:pt>
                <c:pt idx="165">
                  <c:v>1.264386680632519</c:v>
                </c:pt>
                <c:pt idx="166">
                  <c:v>1.2176255865271215</c:v>
                </c:pt>
                <c:pt idx="167">
                  <c:v>1.211869269532313</c:v>
                </c:pt>
                <c:pt idx="168">
                  <c:v>1.2197454039981925</c:v>
                </c:pt>
                <c:pt idx="169">
                  <c:v>1.253958147021965</c:v>
                </c:pt>
                <c:pt idx="170">
                  <c:v>1.299717962332289</c:v>
                </c:pt>
                <c:pt idx="171">
                  <c:v>1.3258343718614318</c:v>
                </c:pt>
                <c:pt idx="172">
                  <c:v>1.334437071896077</c:v>
                </c:pt>
                <c:pt idx="173">
                  <c:v>1.296207553977567</c:v>
                </c:pt>
                <c:pt idx="174">
                  <c:v>1.2969597074537906</c:v>
                </c:pt>
                <c:pt idx="175">
                  <c:v>1.2747242658798768</c:v>
                </c:pt>
                <c:pt idx="176">
                  <c:v>1.2545122695624622</c:v>
                </c:pt>
                <c:pt idx="177">
                  <c:v>1.2971589202437062</c:v>
                </c:pt>
                <c:pt idx="178">
                  <c:v>1.2727568051507221</c:v>
                </c:pt>
                <c:pt idx="179">
                  <c:v>1.2710222603113204</c:v>
                </c:pt>
                <c:pt idx="180">
                  <c:v>1.2316618527583907</c:v>
                </c:pt>
                <c:pt idx="181">
                  <c:v>1.2885463608803265</c:v>
                </c:pt>
                <c:pt idx="182">
                  <c:v>1.2889192211386602</c:v>
                </c:pt>
                <c:pt idx="183">
                  <c:v>1.3030795090463789</c:v>
                </c:pt>
                <c:pt idx="184">
                  <c:v>1.3202317804169799</c:v>
                </c:pt>
                <c:pt idx="185">
                  <c:v>1.3122675382535467</c:v>
                </c:pt>
                <c:pt idx="186">
                  <c:v>1.3135817928232647</c:v>
                </c:pt>
                <c:pt idx="187">
                  <c:v>1.300599154589738</c:v>
                </c:pt>
                <c:pt idx="188">
                  <c:v>1.299269511828788</c:v>
                </c:pt>
                <c:pt idx="189">
                  <c:v>1.2784178889747186</c:v>
                </c:pt>
                <c:pt idx="190">
                  <c:v>1.2585834492994796</c:v>
                </c:pt>
                <c:pt idx="191">
                  <c:v>1.21702109465185</c:v>
                </c:pt>
                <c:pt idx="192">
                  <c:v>1.1633386358275892</c:v>
                </c:pt>
                <c:pt idx="193">
                  <c:v>1.1781066048595918</c:v>
                </c:pt>
                <c:pt idx="194">
                  <c:v>1.1800214297683937</c:v>
                </c:pt>
                <c:pt idx="195">
                  <c:v>1.1995342007840275</c:v>
                </c:pt>
                <c:pt idx="196">
                  <c:v>1.1939089185306921</c:v>
                </c:pt>
                <c:pt idx="197">
                  <c:v>1.185229790029096</c:v>
                </c:pt>
                <c:pt idx="198">
                  <c:v>1.1886523326086953</c:v>
                </c:pt>
                <c:pt idx="199">
                  <c:v>1.135874213936146</c:v>
                </c:pt>
                <c:pt idx="200">
                  <c:v>1.132624913818471</c:v>
                </c:pt>
                <c:pt idx="201">
                  <c:v>1.0946538843108271</c:v>
                </c:pt>
                <c:pt idx="202">
                  <c:v>1.0739761764518831</c:v>
                </c:pt>
                <c:pt idx="203">
                  <c:v>1.1185530472625023</c:v>
                </c:pt>
                <c:pt idx="204">
                  <c:v>1.1215127817105919</c:v>
                </c:pt>
                <c:pt idx="205">
                  <c:v>1.1251648155132496</c:v>
                </c:pt>
                <c:pt idx="206">
                  <c:v>1.1167345664722763</c:v>
                </c:pt>
                <c:pt idx="207">
                  <c:v>1.0728038781247673</c:v>
                </c:pt>
                <c:pt idx="208">
                  <c:v>1.0466052950745859</c:v>
                </c:pt>
                <c:pt idx="209">
                  <c:v>1.0872183212956446</c:v>
                </c:pt>
                <c:pt idx="210">
                  <c:v>1.0964404266513532</c:v>
                </c:pt>
                <c:pt idx="211">
                  <c:v>1.0251495545506528</c:v>
                </c:pt>
                <c:pt idx="212">
                  <c:v>1.0417946496090404</c:v>
                </c:pt>
                <c:pt idx="213">
                  <c:v>0.98297554371420159</c:v>
                </c:pt>
                <c:pt idx="214">
                  <c:v>0.9545453271632498</c:v>
                </c:pt>
                <c:pt idx="215">
                  <c:v>0.97041933109399636</c:v>
                </c:pt>
                <c:pt idx="216">
                  <c:v>0.95221828126349972</c:v>
                </c:pt>
                <c:pt idx="217">
                  <c:v>0.94440329637655163</c:v>
                </c:pt>
                <c:pt idx="218">
                  <c:v>0.9741618265810954</c:v>
                </c:pt>
                <c:pt idx="219">
                  <c:v>0.99180990948453629</c:v>
                </c:pt>
                <c:pt idx="220">
                  <c:v>0.9948326839049455</c:v>
                </c:pt>
                <c:pt idx="221">
                  <c:v>1.0003479854300819</c:v>
                </c:pt>
                <c:pt idx="222">
                  <c:v>1.0004300224828611</c:v>
                </c:pt>
                <c:pt idx="223">
                  <c:v>1.0093895389686336</c:v>
                </c:pt>
                <c:pt idx="224">
                  <c:v>0.97023850604925443</c:v>
                </c:pt>
                <c:pt idx="225">
                  <c:v>0.97591595643425566</c:v>
                </c:pt>
                <c:pt idx="226">
                  <c:v>0.92832341768162441</c:v>
                </c:pt>
                <c:pt idx="227">
                  <c:v>0.92710425457473467</c:v>
                </c:pt>
                <c:pt idx="228">
                  <c:v>0.98450997204572321</c:v>
                </c:pt>
                <c:pt idx="229">
                  <c:v>0.99272439485384401</c:v>
                </c:pt>
                <c:pt idx="230">
                  <c:v>0.9882045137113773</c:v>
                </c:pt>
                <c:pt idx="231">
                  <c:v>0.9854621997450923</c:v>
                </c:pt>
                <c:pt idx="232">
                  <c:v>0.98830192231684544</c:v>
                </c:pt>
                <c:pt idx="233">
                  <c:v>0.98252571549511869</c:v>
                </c:pt>
                <c:pt idx="234">
                  <c:v>0.96245352179167298</c:v>
                </c:pt>
                <c:pt idx="235">
                  <c:v>0.96567104891502398</c:v>
                </c:pt>
                <c:pt idx="236">
                  <c:v>0.96729038538340262</c:v>
                </c:pt>
                <c:pt idx="237">
                  <c:v>0.97600310909623433</c:v>
                </c:pt>
                <c:pt idx="238">
                  <c:v>0.95765332195814479</c:v>
                </c:pt>
                <c:pt idx="239">
                  <c:v>0.9918486165544208</c:v>
                </c:pt>
                <c:pt idx="240">
                  <c:v>0.94959156374255638</c:v>
                </c:pt>
                <c:pt idx="241">
                  <c:v>0.90443994228218438</c:v>
                </c:pt>
                <c:pt idx="242">
                  <c:v>0.82065323013921643</c:v>
                </c:pt>
                <c:pt idx="243">
                  <c:v>0.81794422708439518</c:v>
                </c:pt>
                <c:pt idx="244">
                  <c:v>0.836921630794636</c:v>
                </c:pt>
                <c:pt idx="245">
                  <c:v>0.88830000368778739</c:v>
                </c:pt>
                <c:pt idx="246">
                  <c:v>0.87055069108416971</c:v>
                </c:pt>
                <c:pt idx="247">
                  <c:v>0.89104974898846845</c:v>
                </c:pt>
                <c:pt idx="248">
                  <c:v>0.8867297531787306</c:v>
                </c:pt>
                <c:pt idx="249">
                  <c:v>0.85706267961077864</c:v>
                </c:pt>
                <c:pt idx="250">
                  <c:v>0.88931046516291179</c:v>
                </c:pt>
                <c:pt idx="251">
                  <c:v>0.85340938957038392</c:v>
                </c:pt>
                <c:pt idx="252">
                  <c:v>0.85731309748914697</c:v>
                </c:pt>
                <c:pt idx="253">
                  <c:v>0.85774959505446047</c:v>
                </c:pt>
                <c:pt idx="254">
                  <c:v>0.84865979536906366</c:v>
                </c:pt>
                <c:pt idx="255">
                  <c:v>0.87671251136630057</c:v>
                </c:pt>
                <c:pt idx="256">
                  <c:v>0.87280338400262591</c:v>
                </c:pt>
                <c:pt idx="257">
                  <c:v>0.89461119789677168</c:v>
                </c:pt>
                <c:pt idx="258">
                  <c:v>0.86176036085458707</c:v>
                </c:pt>
                <c:pt idx="259">
                  <c:v>0.92318097004231736</c:v>
                </c:pt>
                <c:pt idx="260">
                  <c:v>0.94870759033224816</c:v>
                </c:pt>
                <c:pt idx="261">
                  <c:v>0.93926824048628677</c:v>
                </c:pt>
                <c:pt idx="262">
                  <c:v>1.0177121061648431</c:v>
                </c:pt>
                <c:pt idx="263">
                  <c:v>1.0158039112973012</c:v>
                </c:pt>
                <c:pt idx="264">
                  <c:v>1.1496278258336623</c:v>
                </c:pt>
                <c:pt idx="265">
                  <c:v>1.1740545719561051</c:v>
                </c:pt>
                <c:pt idx="266">
                  <c:v>1.1797547475504453</c:v>
                </c:pt>
                <c:pt idx="267">
                  <c:v>1.1995342007840266</c:v>
                </c:pt>
                <c:pt idx="268">
                  <c:v>1.2064548617057054</c:v>
                </c:pt>
                <c:pt idx="269">
                  <c:v>1.1702451359270496</c:v>
                </c:pt>
                <c:pt idx="270">
                  <c:v>1.189179375118361</c:v>
                </c:pt>
                <c:pt idx="271">
                  <c:v>1.1927946996035397</c:v>
                </c:pt>
                <c:pt idx="272">
                  <c:v>1.2067132143177992</c:v>
                </c:pt>
                <c:pt idx="273">
                  <c:v>1.3090563856036357</c:v>
                </c:pt>
                <c:pt idx="274">
                  <c:v>1.2845948867205199</c:v>
                </c:pt>
                <c:pt idx="275">
                  <c:v>1.2511688328422592</c:v>
                </c:pt>
                <c:pt idx="276">
                  <c:v>1.2244520238133827</c:v>
                </c:pt>
                <c:pt idx="277">
                  <c:v>1.1525584234823976</c:v>
                </c:pt>
                <c:pt idx="278">
                  <c:v>1.1427291892657683</c:v>
                </c:pt>
                <c:pt idx="279">
                  <c:v>1.1326157802834667</c:v>
                </c:pt>
                <c:pt idx="280">
                  <c:v>1.0634721380956569</c:v>
                </c:pt>
                <c:pt idx="281">
                  <c:v>1.0893180403828113</c:v>
                </c:pt>
                <c:pt idx="282">
                  <c:v>1.115907187258292</c:v>
                </c:pt>
                <c:pt idx="283">
                  <c:v>1.0890670899613035</c:v>
                </c:pt>
                <c:pt idx="284">
                  <c:v>1.0936201614231811</c:v>
                </c:pt>
                <c:pt idx="285">
                  <c:v>1.1380950003778494</c:v>
                </c:pt>
                <c:pt idx="286">
                  <c:v>1.1211742612716058</c:v>
                </c:pt>
                <c:pt idx="287">
                  <c:v>1.1610914900540188</c:v>
                </c:pt>
                <c:pt idx="288">
                  <c:v>1.1578807434671132</c:v>
                </c:pt>
                <c:pt idx="289">
                  <c:v>1.1706583274124989</c:v>
                </c:pt>
                <c:pt idx="290">
                  <c:v>1.1755940049046762</c:v>
                </c:pt>
                <c:pt idx="291">
                  <c:v>1.1671982368637861</c:v>
                </c:pt>
                <c:pt idx="292">
                  <c:v>1.1427593646596126</c:v>
                </c:pt>
                <c:pt idx="293">
                  <c:v>1.1712985720249069</c:v>
                </c:pt>
                <c:pt idx="294">
                  <c:v>1.1295510246294229</c:v>
                </c:pt>
                <c:pt idx="295">
                  <c:v>1.1484222560369157</c:v>
                </c:pt>
                <c:pt idx="296">
                  <c:v>1.1752842160540344</c:v>
                </c:pt>
                <c:pt idx="297">
                  <c:v>1.2110290105393082</c:v>
                </c:pt>
                <c:pt idx="298">
                  <c:v>1.2129841609487912</c:v>
                </c:pt>
                <c:pt idx="299">
                  <c:v>1.2484178492943703</c:v>
                </c:pt>
                <c:pt idx="300">
                  <c:v>1.248373148237889</c:v>
                </c:pt>
                <c:pt idx="301">
                  <c:v>1.2671045824984237</c:v>
                </c:pt>
                <c:pt idx="302">
                  <c:v>1.2092229860059132</c:v>
                </c:pt>
                <c:pt idx="303">
                  <c:v>1.2037709428120533</c:v>
                </c:pt>
                <c:pt idx="304">
                  <c:v>1.1919372813863236</c:v>
                </c:pt>
                <c:pt idx="305">
                  <c:v>1.1900859140241176</c:v>
                </c:pt>
                <c:pt idx="306">
                  <c:v>1.1827616718569267</c:v>
                </c:pt>
                <c:pt idx="307">
                  <c:v>1.1665676148427913</c:v>
                </c:pt>
                <c:pt idx="308">
                  <c:v>1.1551038168001202</c:v>
                </c:pt>
                <c:pt idx="309">
                  <c:v>1.1420391623214421</c:v>
                </c:pt>
                <c:pt idx="310">
                  <c:v>1.1637869220780923</c:v>
                </c:pt>
                <c:pt idx="311">
                  <c:v>1.1768672617267155</c:v>
                </c:pt>
                <c:pt idx="312">
                  <c:v>1.1717947723495556</c:v>
                </c:pt>
                <c:pt idx="313">
                  <c:v>1.2022492808620568</c:v>
                </c:pt>
                <c:pt idx="314">
                  <c:v>1.2248028694306348</c:v>
                </c:pt>
                <c:pt idx="315">
                  <c:v>1.2044198298088511</c:v>
                </c:pt>
                <c:pt idx="316">
                  <c:v>1.2273281418659363</c:v>
                </c:pt>
                <c:pt idx="317">
                  <c:v>1.2049197998779555</c:v>
                </c:pt>
                <c:pt idx="318">
                  <c:v>1.1899915966089847</c:v>
                </c:pt>
                <c:pt idx="319">
                  <c:v>1.1922356088988608</c:v>
                </c:pt>
                <c:pt idx="320">
                  <c:v>1.1925477893506233</c:v>
                </c:pt>
                <c:pt idx="321">
                  <c:v>1.175102294397748</c:v>
                </c:pt>
                <c:pt idx="322">
                  <c:v>1.212939859782123</c:v>
                </c:pt>
                <c:pt idx="323">
                  <c:v>1.2358667208579321</c:v>
                </c:pt>
                <c:pt idx="324">
                  <c:v>1.2493301193545432</c:v>
                </c:pt>
                <c:pt idx="325">
                  <c:v>1.2291490842303743</c:v>
                </c:pt>
                <c:pt idx="326">
                  <c:v>1.2161327438132372</c:v>
                </c:pt>
                <c:pt idx="327">
                  <c:v>1.172537478262863</c:v>
                </c:pt>
                <c:pt idx="328">
                  <c:v>1.1382568342380621</c:v>
                </c:pt>
                <c:pt idx="329">
                  <c:v>1.1051833987296344</c:v>
                </c:pt>
                <c:pt idx="330">
                  <c:v>1.1054309504473341</c:v>
                </c:pt>
                <c:pt idx="331">
                  <c:v>1.110833796811175</c:v>
                </c:pt>
                <c:pt idx="332">
                  <c:v>1.1664608521250208</c:v>
                </c:pt>
                <c:pt idx="333">
                  <c:v>1.1150053347637954</c:v>
                </c:pt>
                <c:pt idx="334">
                  <c:v>1.1091739185579488</c:v>
                </c:pt>
                <c:pt idx="335">
                  <c:v>1.1611912234732329</c:v>
                </c:pt>
                <c:pt idx="336">
                  <c:v>1.2081809733511846</c:v>
                </c:pt>
                <c:pt idx="337">
                  <c:v>1.2253780087661992</c:v>
                </c:pt>
                <c:pt idx="338">
                  <c:v>1.2253275424174941</c:v>
                </c:pt>
                <c:pt idx="339">
                  <c:v>1.222723030451051</c:v>
                </c:pt>
                <c:pt idx="340">
                  <c:v>1.2356479058074901</c:v>
                </c:pt>
                <c:pt idx="341">
                  <c:v>1.2416243069222788</c:v>
                </c:pt>
                <c:pt idx="342">
                  <c:v>1.2859516803278148</c:v>
                </c:pt>
                <c:pt idx="343">
                  <c:v>1.2939687235289974</c:v>
                </c:pt>
                <c:pt idx="344">
                  <c:v>1.2977260837733615</c:v>
                </c:pt>
                <c:pt idx="345">
                  <c:v>1.3102713591019064</c:v>
                </c:pt>
                <c:pt idx="346">
                  <c:v>1.3085510544372976</c:v>
                </c:pt>
                <c:pt idx="347">
                  <c:v>1.3309949609998131</c:v>
                </c:pt>
                <c:pt idx="348">
                  <c:v>1.3717140883689585</c:v>
                </c:pt>
                <c:pt idx="349">
                  <c:v>1.3593735879897535</c:v>
                </c:pt>
                <c:pt idx="350">
                  <c:v>1.3540361121858775</c:v>
                </c:pt>
                <c:pt idx="351">
                  <c:v>1.3727594493381297</c:v>
                </c:pt>
                <c:pt idx="352">
                  <c:v>1.3506349719988022</c:v>
                </c:pt>
                <c:pt idx="353">
                  <c:v>1.3291368299177013</c:v>
                </c:pt>
                <c:pt idx="354">
                  <c:v>1.2954241306077783</c:v>
                </c:pt>
                <c:pt idx="355">
                  <c:v>1.324154902908474</c:v>
                </c:pt>
                <c:pt idx="356">
                  <c:v>1.2842288709974741</c:v>
                </c:pt>
                <c:pt idx="357">
                  <c:v>1.2842163404954015</c:v>
                </c:pt>
                <c:pt idx="358">
                  <c:v>1.3171335997309566</c:v>
                </c:pt>
                <c:pt idx="359">
                  <c:v>1.3124426643196403</c:v>
                </c:pt>
                <c:pt idx="360">
                  <c:v>1.3222784237387586</c:v>
                </c:pt>
                <c:pt idx="361">
                  <c:v>1.3166318924550944</c:v>
                </c:pt>
                <c:pt idx="362">
                  <c:v>1.2802740367575223</c:v>
                </c:pt>
                <c:pt idx="363">
                  <c:v>1.2948687414063491</c:v>
                </c:pt>
                <c:pt idx="364">
                  <c:v>1.3156262002752053</c:v>
                </c:pt>
                <c:pt idx="365">
                  <c:v>1.271254968683426</c:v>
                </c:pt>
                <c:pt idx="366">
                  <c:v>1.2808691822621716</c:v>
                </c:pt>
                <c:pt idx="367">
                  <c:v>1.2702909884755924</c:v>
                </c:pt>
                <c:pt idx="368">
                  <c:v>1.2794361635313123</c:v>
                </c:pt>
                <c:pt idx="369">
                  <c:v>1.2908386296575147</c:v>
                </c:pt>
                <c:pt idx="370">
                  <c:v>1.2739124728590054</c:v>
                </c:pt>
                <c:pt idx="371">
                  <c:v>1.249616998795295</c:v>
                </c:pt>
                <c:pt idx="372">
                  <c:v>1.2258384885456972</c:v>
                </c:pt>
                <c:pt idx="373">
                  <c:v>1.1769632168394659</c:v>
                </c:pt>
                <c:pt idx="374">
                  <c:v>1.1483983849582482</c:v>
                </c:pt>
                <c:pt idx="375">
                  <c:v>1.1551939678894954</c:v>
                </c:pt>
                <c:pt idx="376">
                  <c:v>1.1422782236521385</c:v>
                </c:pt>
                <c:pt idx="377">
                  <c:v>1.1071203197028094</c:v>
                </c:pt>
                <c:pt idx="378">
                  <c:v>1.068358715426418</c:v>
                </c:pt>
                <c:pt idx="379">
                  <c:v>1.0566614090300324</c:v>
                </c:pt>
                <c:pt idx="380">
                  <c:v>1.0684422542068956</c:v>
                </c:pt>
                <c:pt idx="381">
                  <c:v>1.0376822094534011</c:v>
                </c:pt>
                <c:pt idx="382">
                  <c:v>1.0739453527482929</c:v>
                </c:pt>
                <c:pt idx="383">
                  <c:v>1.0553694673637659</c:v>
                </c:pt>
                <c:pt idx="384">
                  <c:v>1.0777936701439192</c:v>
                </c:pt>
                <c:pt idx="385">
                  <c:v>1.0519169146858982</c:v>
                </c:pt>
                <c:pt idx="386">
                  <c:v>1.0578693072702168</c:v>
                </c:pt>
                <c:pt idx="387">
                  <c:v>1.0617121284407374</c:v>
                </c:pt>
                <c:pt idx="388">
                  <c:v>1.0735386217615988</c:v>
                </c:pt>
                <c:pt idx="389">
                  <c:v>1.0894539389333866</c:v>
                </c:pt>
                <c:pt idx="390">
                  <c:v>1.0783943470809236</c:v>
                </c:pt>
                <c:pt idx="391">
                  <c:v>1.0787698400567618</c:v>
                </c:pt>
                <c:pt idx="392">
                  <c:v>1.0582885772055173</c:v>
                </c:pt>
                <c:pt idx="393">
                  <c:v>1.0326742985552373</c:v>
                </c:pt>
                <c:pt idx="394">
                  <c:v>0.9957484910715475</c:v>
                </c:pt>
                <c:pt idx="395">
                  <c:v>1.0072786257461519</c:v>
                </c:pt>
                <c:pt idx="396">
                  <c:v>0.96605466159809095</c:v>
                </c:pt>
                <c:pt idx="397">
                  <c:v>0.9591914698651508</c:v>
                </c:pt>
                <c:pt idx="398">
                  <c:v>0.95289154621634398</c:v>
                </c:pt>
                <c:pt idx="399">
                  <c:v>0.95246136072712173</c:v>
                </c:pt>
                <c:pt idx="400">
                  <c:v>0.99026114052646785</c:v>
                </c:pt>
                <c:pt idx="401">
                  <c:v>1.0135439133889637</c:v>
                </c:pt>
                <c:pt idx="402">
                  <c:v>0.98050280322212002</c:v>
                </c:pt>
                <c:pt idx="403">
                  <c:v>1.0127522532370787</c:v>
                </c:pt>
                <c:pt idx="404">
                  <c:v>1.0326656166746657</c:v>
                </c:pt>
                <c:pt idx="405">
                  <c:v>1.0161749894557535</c:v>
                </c:pt>
                <c:pt idx="406">
                  <c:v>1.0423876217717607</c:v>
                </c:pt>
                <c:pt idx="407">
                  <c:v>1.072225958344194</c:v>
                </c:pt>
                <c:pt idx="408">
                  <c:v>1.1414658855244386</c:v>
                </c:pt>
                <c:pt idx="409">
                  <c:v>1.1350755202988072</c:v>
                </c:pt>
                <c:pt idx="410">
                  <c:v>1.1746007392095934</c:v>
                </c:pt>
                <c:pt idx="411">
                  <c:v>1.1786735677490796</c:v>
                </c:pt>
                <c:pt idx="412">
                  <c:v>1.1810408909969612</c:v>
                </c:pt>
                <c:pt idx="413">
                  <c:v>1.1845090160886924</c:v>
                </c:pt>
                <c:pt idx="414">
                  <c:v>1.1991489319177746</c:v>
                </c:pt>
                <c:pt idx="415">
                  <c:v>1.2243579598275594</c:v>
                </c:pt>
                <c:pt idx="416">
                  <c:v>1.251467919693904</c:v>
                </c:pt>
                <c:pt idx="417">
                  <c:v>1.2584175887145752</c:v>
                </c:pt>
                <c:pt idx="418">
                  <c:v>1.2279683248750968</c:v>
                </c:pt>
                <c:pt idx="419">
                  <c:v>1.2222638220019082</c:v>
                </c:pt>
                <c:pt idx="420">
                  <c:v>1.2580793608357621</c:v>
                </c:pt>
                <c:pt idx="421">
                  <c:v>1.2439601667865912</c:v>
                </c:pt>
                <c:pt idx="422">
                  <c:v>1.2772527990353661</c:v>
                </c:pt>
                <c:pt idx="423">
                  <c:v>1.3321698228009855</c:v>
                </c:pt>
                <c:pt idx="424">
                  <c:v>1.3375625885022799</c:v>
                </c:pt>
                <c:pt idx="425">
                  <c:v>1.3612683825004539</c:v>
                </c:pt>
                <c:pt idx="426">
                  <c:v>1.3394474757264225</c:v>
                </c:pt>
                <c:pt idx="427">
                  <c:v>1.3634447583952207</c:v>
                </c:pt>
                <c:pt idx="428">
                  <c:v>1.3926178111083067</c:v>
                </c:pt>
                <c:pt idx="429">
                  <c:v>1.4245257730771037</c:v>
                </c:pt>
                <c:pt idx="430">
                  <c:v>1.4175193242008235</c:v>
                </c:pt>
                <c:pt idx="431">
                  <c:v>1.4077088256919592</c:v>
                </c:pt>
                <c:pt idx="432">
                  <c:v>1.4329891594267152</c:v>
                </c:pt>
                <c:pt idx="433">
                  <c:v>1.4027415275464861</c:v>
                </c:pt>
                <c:pt idx="434">
                  <c:v>1.4015679233195093</c:v>
                </c:pt>
                <c:pt idx="435">
                  <c:v>1.3763206406020101</c:v>
                </c:pt>
                <c:pt idx="436">
                  <c:v>1.3347553910821972</c:v>
                </c:pt>
                <c:pt idx="437">
                  <c:v>1.3175224484990193</c:v>
                </c:pt>
                <c:pt idx="438">
                  <c:v>1.3154958420097074</c:v>
                </c:pt>
                <c:pt idx="439">
                  <c:v>1.3136638682024753</c:v>
                </c:pt>
                <c:pt idx="440">
                  <c:v>1.2660295887301489</c:v>
                </c:pt>
                <c:pt idx="441">
                  <c:v>1.2711560943062634</c:v>
                </c:pt>
                <c:pt idx="442">
                  <c:v>1.2542193615538517</c:v>
                </c:pt>
                <c:pt idx="443">
                  <c:v>1.2701016340905713</c:v>
                </c:pt>
                <c:pt idx="444">
                  <c:v>1.2446034774545482</c:v>
                </c:pt>
                <c:pt idx="445">
                  <c:v>1.2553325794615031</c:v>
                </c:pt>
                <c:pt idx="446">
                  <c:v>1.273040346626112</c:v>
                </c:pt>
                <c:pt idx="447">
                  <c:v>1.2606360828301453</c:v>
                </c:pt>
                <c:pt idx="448">
                  <c:v>1.2387574419554459</c:v>
                </c:pt>
                <c:pt idx="449">
                  <c:v>1.2352348187576578</c:v>
                </c:pt>
                <c:pt idx="450">
                  <c:v>1.2330547526320579</c:v>
                </c:pt>
                <c:pt idx="451">
                  <c:v>1.2332237913453621</c:v>
                </c:pt>
                <c:pt idx="452">
                  <c:v>1.1955490250359322</c:v>
                </c:pt>
                <c:pt idx="453">
                  <c:v>1.127055771753855</c:v>
                </c:pt>
                <c:pt idx="454">
                  <c:v>1.164309276761988</c:v>
                </c:pt>
                <c:pt idx="455">
                  <c:v>1.145660277422748</c:v>
                </c:pt>
                <c:pt idx="456">
                  <c:v>1.1647278306712816</c:v>
                </c:pt>
                <c:pt idx="457">
                  <c:v>1.139468518980286</c:v>
                </c:pt>
                <c:pt idx="458">
                  <c:v>1.1264147681405183</c:v>
                </c:pt>
                <c:pt idx="459">
                  <c:v>1.1020775052536944</c:v>
                </c:pt>
                <c:pt idx="460">
                  <c:v>1.1469670149282123</c:v>
                </c:pt>
                <c:pt idx="461">
                  <c:v>1.1674475547550083</c:v>
                </c:pt>
                <c:pt idx="462">
                  <c:v>1.1417729709716284</c:v>
                </c:pt>
                <c:pt idx="463">
                  <c:v>1.1926959705477835</c:v>
                </c:pt>
                <c:pt idx="464">
                  <c:v>1.1767620195157187</c:v>
                </c:pt>
                <c:pt idx="465">
                  <c:v>1.2010677720692735</c:v>
                </c:pt>
                <c:pt idx="466">
                  <c:v>1.1960529435096765</c:v>
                </c:pt>
                <c:pt idx="467">
                  <c:v>1.1931440163191369</c:v>
                </c:pt>
                <c:pt idx="468">
                  <c:v>1.1530041221726515</c:v>
                </c:pt>
                <c:pt idx="469">
                  <c:v>1.1527727692269905</c:v>
                </c:pt>
                <c:pt idx="470">
                  <c:v>1.1899889403523547</c:v>
                </c:pt>
                <c:pt idx="471">
                  <c:v>1.2297763557076027</c:v>
                </c:pt>
                <c:pt idx="472">
                  <c:v>1.2392917888580699</c:v>
                </c:pt>
                <c:pt idx="473">
                  <c:v>1.2243688967800104</c:v>
                </c:pt>
                <c:pt idx="474">
                  <c:v>1.2518960791948543</c:v>
                </c:pt>
                <c:pt idx="475">
                  <c:v>1.2052807180053129</c:v>
                </c:pt>
                <c:pt idx="476">
                  <c:v>1.2061135456736534</c:v>
                </c:pt>
                <c:pt idx="477">
                  <c:v>1.2067102138582757</c:v>
                </c:pt>
                <c:pt idx="478">
                  <c:v>1.2087837527529648</c:v>
                </c:pt>
                <c:pt idx="479">
                  <c:v>1.1904866676057853</c:v>
                </c:pt>
                <c:pt idx="480">
                  <c:v>1.2126166729029826</c:v>
                </c:pt>
                <c:pt idx="481">
                  <c:v>1.2082336780150003</c:v>
                </c:pt>
                <c:pt idx="482">
                  <c:v>1.2178004007603029</c:v>
                </c:pt>
                <c:pt idx="483">
                  <c:v>1.2730132594049011</c:v>
                </c:pt>
                <c:pt idx="484">
                  <c:v>1.2559588542934683</c:v>
                </c:pt>
                <c:pt idx="485">
                  <c:v>1.2275423536013161</c:v>
                </c:pt>
                <c:pt idx="486">
                  <c:v>1.2499763675926958</c:v>
                </c:pt>
                <c:pt idx="487">
                  <c:v>1.2926282590489635</c:v>
                </c:pt>
                <c:pt idx="488">
                  <c:v>1.2935002854679807</c:v>
                </c:pt>
                <c:pt idx="489">
                  <c:v>1.2577449259888014</c:v>
                </c:pt>
                <c:pt idx="490">
                  <c:v>1.2160930469542923</c:v>
                </c:pt>
                <c:pt idx="491">
                  <c:v>1.2088366688490315</c:v>
                </c:pt>
                <c:pt idx="492">
                  <c:v>1.2088366688490317</c:v>
                </c:pt>
                <c:pt idx="493">
                  <c:v>1.1776198965241949</c:v>
                </c:pt>
                <c:pt idx="494">
                  <c:v>1.2126784262603345</c:v>
                </c:pt>
                <c:pt idx="495">
                  <c:v>1.1718530369589375</c:v>
                </c:pt>
                <c:pt idx="496">
                  <c:v>1.2300836809213289</c:v>
                </c:pt>
                <c:pt idx="497">
                  <c:v>1.2310625725247537</c:v>
                </c:pt>
                <c:pt idx="498">
                  <c:v>1.2598688583459328</c:v>
                </c:pt>
                <c:pt idx="499">
                  <c:v>1.2986489885270376</c:v>
                </c:pt>
                <c:pt idx="500">
                  <c:v>1.3105311724728212</c:v>
                </c:pt>
                <c:pt idx="501">
                  <c:v>1.2919451609300507</c:v>
                </c:pt>
                <c:pt idx="502">
                  <c:v>1.2709496856478133</c:v>
                </c:pt>
                <c:pt idx="503">
                  <c:v>1.2766753248408427</c:v>
                </c:pt>
                <c:pt idx="504">
                  <c:v>1.2470721573017503</c:v>
                </c:pt>
                <c:pt idx="505">
                  <c:v>1.2490126675411104</c:v>
                </c:pt>
                <c:pt idx="506">
                  <c:v>1.2165262869730977</c:v>
                </c:pt>
                <c:pt idx="507">
                  <c:v>1.2666211728067309</c:v>
                </c:pt>
                <c:pt idx="508">
                  <c:v>1.2845651350581242</c:v>
                </c:pt>
                <c:pt idx="509">
                  <c:v>1.270386130095976</c:v>
                </c:pt>
                <c:pt idx="510">
                  <c:v>1.2478431967511627</c:v>
                </c:pt>
                <c:pt idx="511">
                  <c:v>1.2739016454573135</c:v>
                </c:pt>
                <c:pt idx="512">
                  <c:v>1.258358217002953</c:v>
                </c:pt>
                <c:pt idx="513">
                  <c:v>1.2381045951395819</c:v>
                </c:pt>
                <c:pt idx="514">
                  <c:v>1.2394741191142409</c:v>
                </c:pt>
                <c:pt idx="515">
                  <c:v>1.2491229566858262</c:v>
                </c:pt>
                <c:pt idx="516">
                  <c:v>1.2273940247345281</c:v>
                </c:pt>
                <c:pt idx="517">
                  <c:v>1.1727060758049674</c:v>
                </c:pt>
                <c:pt idx="518">
                  <c:v>1.1254600081233708</c:v>
                </c:pt>
                <c:pt idx="519">
                  <c:v>1.1213949133664456</c:v>
                </c:pt>
                <c:pt idx="520">
                  <c:v>1.1196165702452854</c:v>
                </c:pt>
                <c:pt idx="521">
                  <c:v>1.1457692792963645</c:v>
                </c:pt>
                <c:pt idx="522">
                  <c:v>1.1464628761703461</c:v>
                </c:pt>
                <c:pt idx="523">
                  <c:v>1.1518977844180127</c:v>
                </c:pt>
                <c:pt idx="524">
                  <c:v>1.1263732869742584</c:v>
                </c:pt>
                <c:pt idx="525">
                  <c:v>1.1654067909986396</c:v>
                </c:pt>
                <c:pt idx="526">
                  <c:v>1.1576274289976964</c:v>
                </c:pt>
                <c:pt idx="527">
                  <c:v>1.1613349928066585</c:v>
                </c:pt>
                <c:pt idx="528">
                  <c:v>1.1073531142053246</c:v>
                </c:pt>
                <c:pt idx="529">
                  <c:v>1.0260654120888482</c:v>
                </c:pt>
                <c:pt idx="530">
                  <c:v>1.0646139011964337</c:v>
                </c:pt>
                <c:pt idx="531">
                  <c:v>1.0814284401958218</c:v>
                </c:pt>
                <c:pt idx="532">
                  <c:v>1.0810214943581686</c:v>
                </c:pt>
                <c:pt idx="533">
                  <c:v>1.0623191394411513</c:v>
                </c:pt>
                <c:pt idx="534">
                  <c:v>1.0449363946985086</c:v>
                </c:pt>
                <c:pt idx="535">
                  <c:v>1.0453971362184773</c:v>
                </c:pt>
                <c:pt idx="536">
                  <c:v>1.0665695896917242</c:v>
                </c:pt>
                <c:pt idx="537">
                  <c:v>1.0207770310535191</c:v>
                </c:pt>
                <c:pt idx="538">
                  <c:v>0.99487213988162515</c:v>
                </c:pt>
                <c:pt idx="539">
                  <c:v>1.0087442973674074</c:v>
                </c:pt>
                <c:pt idx="540">
                  <c:v>1.0483002662767296</c:v>
                </c:pt>
                <c:pt idx="541">
                  <c:v>1.0351927467812487</c:v>
                </c:pt>
                <c:pt idx="542">
                  <c:v>1.1020391235727784</c:v>
                </c:pt>
                <c:pt idx="543">
                  <c:v>1.116618921607526</c:v>
                </c:pt>
                <c:pt idx="544">
                  <c:v>1.1060915968805003</c:v>
                </c:pt>
                <c:pt idx="545">
                  <c:v>1.1027268187459707</c:v>
                </c:pt>
                <c:pt idx="546">
                  <c:v>1.0991921798647688</c:v>
                </c:pt>
                <c:pt idx="547">
                  <c:v>1.1214633297616112</c:v>
                </c:pt>
                <c:pt idx="548">
                  <c:v>1.1612837228935362</c:v>
                </c:pt>
                <c:pt idx="549">
                  <c:v>1.1423476532647758</c:v>
                </c:pt>
                <c:pt idx="550">
                  <c:v>1.1891743972716686</c:v>
                </c:pt>
                <c:pt idx="551">
                  <c:v>1.2315253601301428</c:v>
                </c:pt>
                <c:pt idx="552">
                  <c:v>1.2359832978821668</c:v>
                </c:pt>
                <c:pt idx="553">
                  <c:v>1.2418953349572199</c:v>
                </c:pt>
                <c:pt idx="554">
                  <c:v>1.2512623510936336</c:v>
                </c:pt>
                <c:pt idx="555">
                  <c:v>1.2066446305221001</c:v>
                </c:pt>
                <c:pt idx="556">
                  <c:v>1.1690658909878704</c:v>
                </c:pt>
                <c:pt idx="557">
                  <c:v>1.2082863328155975</c:v>
                </c:pt>
                <c:pt idx="558">
                  <c:v>1.2422114133279802</c:v>
                </c:pt>
                <c:pt idx="559">
                  <c:v>1.255775439329416</c:v>
                </c:pt>
                <c:pt idx="560">
                  <c:v>1.2274131755233344</c:v>
                </c:pt>
                <c:pt idx="561">
                  <c:v>1.2198292701340878</c:v>
                </c:pt>
                <c:pt idx="562">
                  <c:v>1.2508291043447386</c:v>
                </c:pt>
                <c:pt idx="563">
                  <c:v>1.2611882738389875</c:v>
                </c:pt>
                <c:pt idx="564">
                  <c:v>1.2593990995526489</c:v>
                </c:pt>
                <c:pt idx="565">
                  <c:v>1.2589934403159613</c:v>
                </c:pt>
                <c:pt idx="566">
                  <c:v>1.2082752978532243</c:v>
                </c:pt>
                <c:pt idx="567">
                  <c:v>1.2129434134113306</c:v>
                </c:pt>
                <c:pt idx="568">
                  <c:v>1.2691905738082352</c:v>
                </c:pt>
                <c:pt idx="569">
                  <c:v>1.2319363321360322</c:v>
                </c:pt>
                <c:pt idx="570">
                  <c:v>1.2179989241827529</c:v>
                </c:pt>
                <c:pt idx="571">
                  <c:v>1.1840418309634431</c:v>
                </c:pt>
                <c:pt idx="572">
                  <c:v>1.1499677156887649</c:v>
                </c:pt>
                <c:pt idx="573">
                  <c:v>1.1199142516436165</c:v>
                </c:pt>
                <c:pt idx="574">
                  <c:v>1.1211951751098708</c:v>
                </c:pt>
                <c:pt idx="575">
                  <c:v>1.1325021123524484</c:v>
                </c:pt>
                <c:pt idx="576">
                  <c:v>1.1883159628592921</c:v>
                </c:pt>
                <c:pt idx="577">
                  <c:v>1.1801500489052372</c:v>
                </c:pt>
                <c:pt idx="578">
                  <c:v>1.1319617799485844</c:v>
                </c:pt>
                <c:pt idx="579">
                  <c:v>1.1233800085804271</c:v>
                </c:pt>
                <c:pt idx="580">
                  <c:v>1.0645011783087373</c:v>
                </c:pt>
                <c:pt idx="581">
                  <c:v>0.98541758462692042</c:v>
                </c:pt>
                <c:pt idx="582">
                  <c:v>1.0289052881359015</c:v>
                </c:pt>
                <c:pt idx="583">
                  <c:v>1.007872745570773</c:v>
                </c:pt>
                <c:pt idx="584">
                  <c:v>0.99154332276484047</c:v>
                </c:pt>
                <c:pt idx="585">
                  <c:v>1.0106866335637215</c:v>
                </c:pt>
                <c:pt idx="586">
                  <c:v>1.0344203218705879</c:v>
                </c:pt>
                <c:pt idx="587">
                  <c:v>1.0040829864499055</c:v>
                </c:pt>
                <c:pt idx="588">
                  <c:v>1.060993949520703</c:v>
                </c:pt>
                <c:pt idx="589">
                  <c:v>1.0515309036729781</c:v>
                </c:pt>
                <c:pt idx="590">
                  <c:v>1.0861635532311955</c:v>
                </c:pt>
                <c:pt idx="591">
                  <c:v>1.0814154198756496</c:v>
                </c:pt>
                <c:pt idx="592">
                  <c:v>1.0506782155558752</c:v>
                </c:pt>
                <c:pt idx="593">
                  <c:v>1.0963454967645292</c:v>
                </c:pt>
                <c:pt idx="594">
                  <c:v>1.1324900852119848</c:v>
                </c:pt>
                <c:pt idx="595">
                  <c:v>1.1368247774888811</c:v>
                </c:pt>
                <c:pt idx="596">
                  <c:v>1.1602080669520831</c:v>
                </c:pt>
                <c:pt idx="597">
                  <c:v>1.1607866932069977</c:v>
                </c:pt>
                <c:pt idx="598">
                  <c:v>1.1478273329237705</c:v>
                </c:pt>
                <c:pt idx="599">
                  <c:v>1.1622811992830722</c:v>
                </c:pt>
                <c:pt idx="600">
                  <c:v>1.1557321409432184</c:v>
                </c:pt>
                <c:pt idx="601">
                  <c:v>1.1585685281772327</c:v>
                </c:pt>
                <c:pt idx="602">
                  <c:v>1.1980453429140989</c:v>
                </c:pt>
                <c:pt idx="603">
                  <c:v>1.2772076222544348</c:v>
                </c:pt>
                <c:pt idx="604">
                  <c:v>1.2941894902917461</c:v>
                </c:pt>
                <c:pt idx="605">
                  <c:v>1.293514147806166</c:v>
                </c:pt>
                <c:pt idx="606">
                  <c:v>1.3180972440710075</c:v>
                </c:pt>
                <c:pt idx="607">
                  <c:v>1.3433141808622979</c:v>
                </c:pt>
                <c:pt idx="608">
                  <c:v>1.3376889059850208</c:v>
                </c:pt>
                <c:pt idx="609">
                  <c:v>1.3237654843178468</c:v>
                </c:pt>
                <c:pt idx="610">
                  <c:v>1.3215428113757233</c:v>
                </c:pt>
                <c:pt idx="611">
                  <c:v>1.3665851811984731</c:v>
                </c:pt>
                <c:pt idx="612">
                  <c:v>1.2677058653013875</c:v>
                </c:pt>
                <c:pt idx="613">
                  <c:v>1.2112459624738463</c:v>
                </c:pt>
                <c:pt idx="614">
                  <c:v>1.211595129827076</c:v>
                </c:pt>
                <c:pt idx="615">
                  <c:v>1.1028223458185733</c:v>
                </c:pt>
                <c:pt idx="616">
                  <c:v>1.1055201615466839</c:v>
                </c:pt>
                <c:pt idx="617">
                  <c:v>1.0510903479436149</c:v>
                </c:pt>
                <c:pt idx="618">
                  <c:v>1.0404265813907136</c:v>
                </c:pt>
                <c:pt idx="619">
                  <c:v>1.0656540272279393</c:v>
                </c:pt>
                <c:pt idx="620">
                  <c:v>1.097267295257349</c:v>
                </c:pt>
                <c:pt idx="621">
                  <c:v>1.0849334425266108</c:v>
                </c:pt>
                <c:pt idx="622">
                  <c:v>1.1289218231386173</c:v>
                </c:pt>
                <c:pt idx="623">
                  <c:v>1.1332350701147267</c:v>
                </c:pt>
                <c:pt idx="624">
                  <c:v>1.1303847376766958</c:v>
                </c:pt>
                <c:pt idx="625">
                  <c:v>1.1047051408750936</c:v>
                </c:pt>
                <c:pt idx="626">
                  <c:v>1.1069316086402516</c:v>
                </c:pt>
                <c:pt idx="627">
                  <c:v>1.1091792554360425</c:v>
                </c:pt>
                <c:pt idx="628">
                  <c:v>0.99835894081870336</c:v>
                </c:pt>
                <c:pt idx="629">
                  <c:v>0.99755908994456755</c:v>
                </c:pt>
                <c:pt idx="630">
                  <c:v>0.89477467785914122</c:v>
                </c:pt>
                <c:pt idx="631">
                  <c:v>0.82075967053797716</c:v>
                </c:pt>
                <c:pt idx="632">
                  <c:v>0.83982216234618112</c:v>
                </c:pt>
                <c:pt idx="633">
                  <c:v>0.82021759097920055</c:v>
                </c:pt>
                <c:pt idx="634">
                  <c:v>0.83648147879544532</c:v>
                </c:pt>
                <c:pt idx="635">
                  <c:v>0.83380556734644695</c:v>
                </c:pt>
                <c:pt idx="636">
                  <c:v>0.8495570177667775</c:v>
                </c:pt>
                <c:pt idx="637">
                  <c:v>0.85582258608345574</c:v>
                </c:pt>
                <c:pt idx="638">
                  <c:v>0.88126998224675412</c:v>
                </c:pt>
                <c:pt idx="639">
                  <c:v>0.88146325576530249</c:v>
                </c:pt>
                <c:pt idx="640">
                  <c:v>0.91248051467150326</c:v>
                </c:pt>
                <c:pt idx="641">
                  <c:v>0.89924259317456134</c:v>
                </c:pt>
                <c:pt idx="642">
                  <c:v>0.90720462404303071</c:v>
                </c:pt>
                <c:pt idx="643">
                  <c:v>0.91123895701490321</c:v>
                </c:pt>
                <c:pt idx="644">
                  <c:v>0.90359562718688713</c:v>
                </c:pt>
                <c:pt idx="645">
                  <c:v>0.90348501504662082</c:v>
                </c:pt>
                <c:pt idx="646">
                  <c:v>0.92321085124800606</c:v>
                </c:pt>
                <c:pt idx="647">
                  <c:v>1.0743100432210042</c:v>
                </c:pt>
                <c:pt idx="648">
                  <c:v>1.1429335616897334</c:v>
                </c:pt>
                <c:pt idx="649">
                  <c:v>1.2313875922303457</c:v>
                </c:pt>
                <c:pt idx="650">
                  <c:v>1.2248940840911009</c:v>
                </c:pt>
                <c:pt idx="651">
                  <c:v>1.2239132641494319</c:v>
                </c:pt>
                <c:pt idx="652">
                  <c:v>1.1858008594030103</c:v>
                </c:pt>
                <c:pt idx="653">
                  <c:v>1.2241865232382523</c:v>
                </c:pt>
                <c:pt idx="654">
                  <c:v>1.2480922913855732</c:v>
                </c:pt>
                <c:pt idx="655">
                  <c:v>1.2102064039782154</c:v>
                </c:pt>
                <c:pt idx="656">
                  <c:v>1.2640888318123227</c:v>
                </c:pt>
                <c:pt idx="657">
                  <c:v>1.3231173569377299</c:v>
                </c:pt>
                <c:pt idx="658">
                  <c:v>1.3869960926114895</c:v>
                </c:pt>
                <c:pt idx="659">
                  <c:v>1.4118755765569995</c:v>
                </c:pt>
                <c:pt idx="660">
                  <c:v>1.3746259261273983</c:v>
                </c:pt>
                <c:pt idx="661">
                  <c:v>1.386658971574581</c:v>
                </c:pt>
                <c:pt idx="662">
                  <c:v>1.4492084244411716</c:v>
                </c:pt>
                <c:pt idx="663">
                  <c:v>1.4827884573314565</c:v>
                </c:pt>
                <c:pt idx="664">
                  <c:v>1.4386432385466836</c:v>
                </c:pt>
                <c:pt idx="665">
                  <c:v>1.4025545249302422</c:v>
                </c:pt>
                <c:pt idx="666">
                  <c:v>1.4057496466176032</c:v>
                </c:pt>
                <c:pt idx="667">
                  <c:v>1.3796319682495368</c:v>
                </c:pt>
                <c:pt idx="668">
                  <c:v>1.2958020637835652</c:v>
                </c:pt>
                <c:pt idx="669">
                  <c:v>1.2736626522451453</c:v>
                </c:pt>
                <c:pt idx="670">
                  <c:v>1.29505691527172</c:v>
                </c:pt>
                <c:pt idx="671">
                  <c:v>1.2644124981655478</c:v>
                </c:pt>
                <c:pt idx="672">
                  <c:v>1.1580294896290741</c:v>
                </c:pt>
                <c:pt idx="673">
                  <c:v>1.0975976378949814</c:v>
                </c:pt>
                <c:pt idx="674">
                  <c:v>1.0909894275539438</c:v>
                </c:pt>
                <c:pt idx="675">
                  <c:v>1.0743735945608743</c:v>
                </c:pt>
                <c:pt idx="676">
                  <c:v>1.0988284775107098</c:v>
                </c:pt>
                <c:pt idx="677">
                  <c:v>1.0636647233400947</c:v>
                </c:pt>
                <c:pt idx="678">
                  <c:v>1.078657957141997</c:v>
                </c:pt>
                <c:pt idx="679">
                  <c:v>1.0578649067435499</c:v>
                </c:pt>
                <c:pt idx="680">
                  <c:v>1.0609895619537035</c:v>
                </c:pt>
                <c:pt idx="681">
                  <c:v>1.0585861857419439</c:v>
                </c:pt>
                <c:pt idx="682">
                  <c:v>1.006374453287584</c:v>
                </c:pt>
                <c:pt idx="683">
                  <c:v>1.0041898432962311</c:v>
                </c:pt>
                <c:pt idx="684">
                  <c:v>1.008066545878564</c:v>
                </c:pt>
                <c:pt idx="685">
                  <c:v>1.0084815603030446</c:v>
                </c:pt>
                <c:pt idx="686">
                  <c:v>1.0434243469538607</c:v>
                </c:pt>
                <c:pt idx="687">
                  <c:v>1.0200241714512583</c:v>
                </c:pt>
                <c:pt idx="688">
                  <c:v>0.97170196698559641</c:v>
                </c:pt>
                <c:pt idx="689">
                  <c:v>0.96475975211984444</c:v>
                </c:pt>
                <c:pt idx="690">
                  <c:v>1.0173391030402361</c:v>
                </c:pt>
                <c:pt idx="691">
                  <c:v>1.0139393983114944</c:v>
                </c:pt>
                <c:pt idx="692">
                  <c:v>0.96783827137607492</c:v>
                </c:pt>
                <c:pt idx="693">
                  <c:v>0.95125229016293544</c:v>
                </c:pt>
                <c:pt idx="694">
                  <c:v>0.94448848894368542</c:v>
                </c:pt>
                <c:pt idx="695">
                  <c:v>0.95265364404763686</c:v>
                </c:pt>
                <c:pt idx="696">
                  <c:v>0.97227568106993179</c:v>
                </c:pt>
                <c:pt idx="697">
                  <c:v>0.92824491417386978</c:v>
                </c:pt>
                <c:pt idx="698">
                  <c:v>0.95593512019539717</c:v>
                </c:pt>
                <c:pt idx="699">
                  <c:v>1.0082408146022876</c:v>
                </c:pt>
                <c:pt idx="700">
                  <c:v>0.9918762552592566</c:v>
                </c:pt>
                <c:pt idx="701">
                  <c:v>0.95638808070758585</c:v>
                </c:pt>
                <c:pt idx="702">
                  <c:v>0.95808963418170656</c:v>
                </c:pt>
                <c:pt idx="703">
                  <c:v>0.94606893870457909</c:v>
                </c:pt>
                <c:pt idx="704">
                  <c:v>0.93793757604209671</c:v>
                </c:pt>
                <c:pt idx="705">
                  <c:v>0.9442505998951225</c:v>
                </c:pt>
                <c:pt idx="706">
                  <c:v>0.95139709731615685</c:v>
                </c:pt>
                <c:pt idx="707">
                  <c:v>0.95280620021723916</c:v>
                </c:pt>
                <c:pt idx="708">
                  <c:v>0.93712227639702406</c:v>
                </c:pt>
                <c:pt idx="709">
                  <c:v>0.93227098818009924</c:v>
                </c:pt>
                <c:pt idx="710">
                  <c:v>0.94542090608108087</c:v>
                </c:pt>
                <c:pt idx="711">
                  <c:v>0.94518355573030821</c:v>
                </c:pt>
                <c:pt idx="712">
                  <c:v>0.94003081387499343</c:v>
                </c:pt>
                <c:pt idx="713">
                  <c:v>0.98867268504845396</c:v>
                </c:pt>
                <c:pt idx="714">
                  <c:v>0.9884519418663259</c:v>
                </c:pt>
                <c:pt idx="715">
                  <c:v>0.97061918855718199</c:v>
                </c:pt>
                <c:pt idx="716">
                  <c:v>0.9368830690419544</c:v>
                </c:pt>
                <c:pt idx="717">
                  <c:v>0.94743477014418309</c:v>
                </c:pt>
                <c:pt idx="718">
                  <c:v>0.9670314809030115</c:v>
                </c:pt>
                <c:pt idx="719">
                  <c:v>1.0046544553788848</c:v>
                </c:pt>
                <c:pt idx="720">
                  <c:v>0.96986454795466692</c:v>
                </c:pt>
                <c:pt idx="721">
                  <c:v>0.97981472562506633</c:v>
                </c:pt>
                <c:pt idx="722">
                  <c:v>0.96603949135145328</c:v>
                </c:pt>
                <c:pt idx="723">
                  <c:v>0.94703414836051159</c:v>
                </c:pt>
                <c:pt idx="724">
                  <c:v>1.0076137738446111</c:v>
                </c:pt>
                <c:pt idx="725">
                  <c:v>1.0048540238240589</c:v>
                </c:pt>
                <c:pt idx="726">
                  <c:v>0.97690785927703616</c:v>
                </c:pt>
                <c:pt idx="727">
                  <c:v>0.98446327053602312</c:v>
                </c:pt>
                <c:pt idx="728">
                  <c:v>1.0157495392254834</c:v>
                </c:pt>
                <c:pt idx="729">
                  <c:v>0.95655806584510772</c:v>
                </c:pt>
                <c:pt idx="730">
                  <c:v>0.95594215426397555</c:v>
                </c:pt>
                <c:pt idx="731">
                  <c:v>0.97621041871575798</c:v>
                </c:pt>
                <c:pt idx="732">
                  <c:v>0.97883351877184122</c:v>
                </c:pt>
                <c:pt idx="733">
                  <c:v>0.99207874177660804</c:v>
                </c:pt>
                <c:pt idx="734">
                  <c:v>1.0487749284640211</c:v>
                </c:pt>
                <c:pt idx="735">
                  <c:v>1.0229012154415129</c:v>
                </c:pt>
                <c:pt idx="736">
                  <c:v>1.0220970104890117</c:v>
                </c:pt>
                <c:pt idx="737">
                  <c:v>1.0378191103208336</c:v>
                </c:pt>
                <c:pt idx="738">
                  <c:v>1.0575912775476297</c:v>
                </c:pt>
                <c:pt idx="739">
                  <c:v>1.0658004385027451</c:v>
                </c:pt>
                <c:pt idx="740">
                  <c:v>1.0477230923106162</c:v>
                </c:pt>
                <c:pt idx="741">
                  <c:v>1.0683292897156607</c:v>
                </c:pt>
                <c:pt idx="742">
                  <c:v>1.0946230128358736</c:v>
                </c:pt>
                <c:pt idx="743">
                  <c:v>1.0944869159544133</c:v>
                </c:pt>
                <c:pt idx="744">
                  <c:v>1.0872716565662941</c:v>
                </c:pt>
                <c:pt idx="745">
                  <c:v>1.1074122782518663</c:v>
                </c:pt>
                <c:pt idx="746">
                  <c:v>1.1164195643565915</c:v>
                </c:pt>
                <c:pt idx="747">
                  <c:v>1.1565498135680832</c:v>
                </c:pt>
                <c:pt idx="748">
                  <c:v>1.155226454388723</c:v>
                </c:pt>
                <c:pt idx="749">
                  <c:v>1.1201018529221081</c:v>
                </c:pt>
                <c:pt idx="750">
                  <c:v>1.1169939132774409</c:v>
                </c:pt>
                <c:pt idx="751">
                  <c:v>1.1068293745504845</c:v>
                </c:pt>
                <c:pt idx="752">
                  <c:v>1.1116341910505649</c:v>
                </c:pt>
                <c:pt idx="753">
                  <c:v>1.1704242771344702</c:v>
                </c:pt>
                <c:pt idx="754">
                  <c:v>1.1154764973283637</c:v>
                </c:pt>
                <c:pt idx="755">
                  <c:v>1.1411939704366301</c:v>
                </c:pt>
                <c:pt idx="756">
                  <c:v>1.1470817044925834</c:v>
                </c:pt>
                <c:pt idx="757">
                  <c:v>1.1445959483841763</c:v>
                </c:pt>
                <c:pt idx="758">
                  <c:v>1.1497500477989961</c:v>
                </c:pt>
                <c:pt idx="759">
                  <c:v>1.1698647136638762</c:v>
                </c:pt>
                <c:pt idx="760">
                  <c:v>1.2008328527442471</c:v>
                </c:pt>
                <c:pt idx="761">
                  <c:v>1.212838458508297</c:v>
                </c:pt>
                <c:pt idx="762">
                  <c:v>1.2257995279647573</c:v>
                </c:pt>
                <c:pt idx="763">
                  <c:v>1.26724812727893</c:v>
                </c:pt>
                <c:pt idx="764">
                  <c:v>1.2323179262123753</c:v>
                </c:pt>
                <c:pt idx="765">
                  <c:v>1.2645521218856572</c:v>
                </c:pt>
                <c:pt idx="766">
                  <c:v>1.2529445318927734</c:v>
                </c:pt>
                <c:pt idx="767">
                  <c:v>1.2635667906694761</c:v>
                </c:pt>
                <c:pt idx="768">
                  <c:v>1.2466852140731064</c:v>
                </c:pt>
                <c:pt idx="769">
                  <c:v>1.2414243302819925</c:v>
                </c:pt>
                <c:pt idx="770">
                  <c:v>1.2466582457149982</c:v>
                </c:pt>
                <c:pt idx="771">
                  <c:v>1.2244587826239104</c:v>
                </c:pt>
                <c:pt idx="772">
                  <c:v>1.2138475448214108</c:v>
                </c:pt>
                <c:pt idx="773">
                  <c:v>1.1764233736299994</c:v>
                </c:pt>
                <c:pt idx="774">
                  <c:v>1.2103317679486678</c:v>
                </c:pt>
                <c:pt idx="775">
                  <c:v>1.2401466357495472</c:v>
                </c:pt>
                <c:pt idx="776">
                  <c:v>1.2216544274998087</c:v>
                </c:pt>
                <c:pt idx="777">
                  <c:v>1.2196872125884264</c:v>
                </c:pt>
                <c:pt idx="778">
                  <c:v>1.2002088419803516</c:v>
                </c:pt>
                <c:pt idx="779">
                  <c:v>1.2188234386951393</c:v>
                </c:pt>
                <c:pt idx="780">
                  <c:v>1.225402819062172</c:v>
                </c:pt>
                <c:pt idx="781">
                  <c:v>1.2252028215862829</c:v>
                </c:pt>
                <c:pt idx="782">
                  <c:v>1.2352542201934578</c:v>
                </c:pt>
                <c:pt idx="783">
                  <c:v>1.1937132253467815</c:v>
                </c:pt>
                <c:pt idx="784">
                  <c:v>1.183092819980603</c:v>
                </c:pt>
                <c:pt idx="785">
                  <c:v>1.1551070508184837</c:v>
                </c:pt>
                <c:pt idx="786">
                  <c:v>1.154061344213078</c:v>
                </c:pt>
                <c:pt idx="787">
                  <c:v>1.1705603825499145</c:v>
                </c:pt>
                <c:pt idx="788">
                  <c:v>1.1503015596620392</c:v>
                </c:pt>
                <c:pt idx="789">
                  <c:v>1.1207083658915509</c:v>
                </c:pt>
                <c:pt idx="790">
                  <c:v>1.0898107502059096</c:v>
                </c:pt>
                <c:pt idx="791">
                  <c:v>1.0450298901296398</c:v>
                </c:pt>
                <c:pt idx="792">
                  <c:v>1.088319594710067</c:v>
                </c:pt>
                <c:pt idx="793">
                  <c:v>1.0487370072352873</c:v>
                </c:pt>
                <c:pt idx="794">
                  <c:v>1.0575139465399197</c:v>
                </c:pt>
                <c:pt idx="795">
                  <c:v>1.0717005500444221</c:v>
                </c:pt>
                <c:pt idx="796">
                  <c:v>1.0764452460836507</c:v>
                </c:pt>
                <c:pt idx="797">
                  <c:v>1.0380142957401495</c:v>
                </c:pt>
                <c:pt idx="798">
                  <c:v>1.068552356195537</c:v>
                </c:pt>
                <c:pt idx="799">
                  <c:v>1.0928171440569674</c:v>
                </c:pt>
                <c:pt idx="800">
                  <c:v>1.0847821434972893</c:v>
                </c:pt>
                <c:pt idx="801">
                  <c:v>1.1136158358630934</c:v>
                </c:pt>
                <c:pt idx="802">
                  <c:v>1.1111860185477906</c:v>
                </c:pt>
                <c:pt idx="803">
                  <c:v>1.1104472020342731</c:v>
                </c:pt>
                <c:pt idx="804">
                  <c:v>1.0598761584564331</c:v>
                </c:pt>
                <c:pt idx="805">
                  <c:v>1.0181439615480614</c:v>
                </c:pt>
                <c:pt idx="806">
                  <c:v>1.0314659247997422</c:v>
                </c:pt>
                <c:pt idx="807">
                  <c:v>0.97407214913687823</c:v>
                </c:pt>
                <c:pt idx="808">
                  <c:v>0.97414837549074795</c:v>
                </c:pt>
                <c:pt idx="809">
                  <c:v>0.95492004840749567</c:v>
                </c:pt>
                <c:pt idx="810">
                  <c:v>0.95993061291386828</c:v>
                </c:pt>
                <c:pt idx="811">
                  <c:v>0.97216336548720117</c:v>
                </c:pt>
                <c:pt idx="812">
                  <c:v>0.96526602848495913</c:v>
                </c:pt>
                <c:pt idx="813">
                  <c:v>0.99081854005178183</c:v>
                </c:pt>
                <c:pt idx="814">
                  <c:v>0.99146825987765608</c:v>
                </c:pt>
                <c:pt idx="815">
                  <c:v>0.99961492585895273</c:v>
                </c:pt>
                <c:pt idx="816">
                  <c:v>1.0743714548462764</c:v>
                </c:pt>
                <c:pt idx="817">
                  <c:v>1.0665165124199283</c:v>
                </c:pt>
                <c:pt idx="818">
                  <c:v>1.0571716767029786</c:v>
                </c:pt>
                <c:pt idx="819">
                  <c:v>1.069097212873886</c:v>
                </c:pt>
                <c:pt idx="820">
                  <c:v>1.0466632806153586</c:v>
                </c:pt>
                <c:pt idx="821">
                  <c:v>1.050520177663504</c:v>
                </c:pt>
                <c:pt idx="822">
                  <c:v>1.0265075820917997</c:v>
                </c:pt>
                <c:pt idx="823">
                  <c:v>1.0223417450530718</c:v>
                </c:pt>
                <c:pt idx="824">
                  <c:v>1.0446811095686828</c:v>
                </c:pt>
                <c:pt idx="825">
                  <c:v>0.9833559709063856</c:v>
                </c:pt>
                <c:pt idx="826">
                  <c:v>0.97839277071792718</c:v>
                </c:pt>
                <c:pt idx="827">
                  <c:v>1.045198325787926</c:v>
                </c:pt>
                <c:pt idx="828">
                  <c:v>0.98681823548465897</c:v>
                </c:pt>
                <c:pt idx="829">
                  <c:v>0.97966103685225525</c:v>
                </c:pt>
                <c:pt idx="830">
                  <c:v>0.98193241334004988</c:v>
                </c:pt>
                <c:pt idx="831">
                  <c:v>0.96404136173010502</c:v>
                </c:pt>
                <c:pt idx="832">
                  <c:v>0.96873712078943308</c:v>
                </c:pt>
                <c:pt idx="833">
                  <c:v>1.0110370230950816</c:v>
                </c:pt>
                <c:pt idx="834">
                  <c:v>1.0141937514682486</c:v>
                </c:pt>
                <c:pt idx="835">
                  <c:v>1.0627198352697953</c:v>
                </c:pt>
                <c:pt idx="836">
                  <c:v>1.0955047123187756</c:v>
                </c:pt>
                <c:pt idx="837">
                  <c:v>1.1047025916924218</c:v>
                </c:pt>
                <c:pt idx="838">
                  <c:v>1.1185216536371443</c:v>
                </c:pt>
                <c:pt idx="839">
                  <c:v>1.118032395229051</c:v>
                </c:pt>
                <c:pt idx="840">
                  <c:v>1.1263518569910229</c:v>
                </c:pt>
                <c:pt idx="841">
                  <c:v>1.1252639026356048</c:v>
                </c:pt>
                <c:pt idx="842">
                  <c:v>1.1266946878104243</c:v>
                </c:pt>
                <c:pt idx="843">
                  <c:v>1.1060382338385248</c:v>
                </c:pt>
                <c:pt idx="844">
                  <c:v>1.1810834690738583</c:v>
                </c:pt>
                <c:pt idx="845">
                  <c:v>1.1773192322869115</c:v>
                </c:pt>
                <c:pt idx="846">
                  <c:v>1.1561392351418935</c:v>
                </c:pt>
                <c:pt idx="847">
                  <c:v>1.1816947210650912</c:v>
                </c:pt>
                <c:pt idx="848">
                  <c:v>1.1957178866136513</c:v>
                </c:pt>
                <c:pt idx="849">
                  <c:v>1.1755906316968221</c:v>
                </c:pt>
                <c:pt idx="850">
                  <c:v>1.1727872292353254</c:v>
                </c:pt>
                <c:pt idx="851">
                  <c:v>1.1860443770651317</c:v>
                </c:pt>
                <c:pt idx="852">
                  <c:v>1.1726902463110638</c:v>
                </c:pt>
                <c:pt idx="853">
                  <c:v>1.2082684485155446</c:v>
                </c:pt>
                <c:pt idx="854">
                  <c:v>1.1609291265110071</c:v>
                </c:pt>
                <c:pt idx="855">
                  <c:v>1.1637495879476292</c:v>
                </c:pt>
                <c:pt idx="856">
                  <c:v>1.1634374850455853</c:v>
                </c:pt>
                <c:pt idx="857">
                  <c:v>1.1715468210972146</c:v>
                </c:pt>
                <c:pt idx="858">
                  <c:v>1.1868217482288426</c:v>
                </c:pt>
                <c:pt idx="859">
                  <c:v>1.2221375658595306</c:v>
                </c:pt>
                <c:pt idx="860">
                  <c:v>1.2226953925604311</c:v>
                </c:pt>
                <c:pt idx="861">
                  <c:v>1.2292571347965717</c:v>
                </c:pt>
                <c:pt idx="862">
                  <c:v>1.2345551574480624</c:v>
                </c:pt>
                <c:pt idx="863">
                  <c:v>1.1978776730285239</c:v>
                </c:pt>
                <c:pt idx="864">
                  <c:v>1.2473053253765276</c:v>
                </c:pt>
                <c:pt idx="865">
                  <c:v>1.2322046404157347</c:v>
                </c:pt>
                <c:pt idx="866">
                  <c:v>1.1910687270865938</c:v>
                </c:pt>
                <c:pt idx="867">
                  <c:v>1.1626328128309751</c:v>
                </c:pt>
                <c:pt idx="868">
                  <c:v>1.1379538503459803</c:v>
                </c:pt>
                <c:pt idx="869">
                  <c:v>1.1342350706102768</c:v>
                </c:pt>
                <c:pt idx="870">
                  <c:v>1.1508609470914504</c:v>
                </c:pt>
                <c:pt idx="871">
                  <c:v>1.172381847096883</c:v>
                </c:pt>
                <c:pt idx="872">
                  <c:v>1.1707862079934093</c:v>
                </c:pt>
                <c:pt idx="873">
                  <c:v>1.1810449298975809</c:v>
                </c:pt>
                <c:pt idx="874">
                  <c:v>1.1822161635975315</c:v>
                </c:pt>
                <c:pt idx="875">
                  <c:v>1.187854290766319</c:v>
                </c:pt>
                <c:pt idx="876">
                  <c:v>1.1679759484218648</c:v>
                </c:pt>
                <c:pt idx="877">
                  <c:v>1.1935601145842789</c:v>
                </c:pt>
                <c:pt idx="878">
                  <c:v>1.1822443102825249</c:v>
                </c:pt>
                <c:pt idx="879">
                  <c:v>1.2085583698495219</c:v>
                </c:pt>
                <c:pt idx="880">
                  <c:v>1.2091174705012184</c:v>
                </c:pt>
                <c:pt idx="881">
                  <c:v>1.1820977360063187</c:v>
                </c:pt>
                <c:pt idx="882">
                  <c:v>1.1792485431141231</c:v>
                </c:pt>
                <c:pt idx="883">
                  <c:v>1.1452478525097356</c:v>
                </c:pt>
                <c:pt idx="884">
                  <c:v>1.1496040797726341</c:v>
                </c:pt>
                <c:pt idx="885">
                  <c:v>1.1910519353259448</c:v>
                </c:pt>
                <c:pt idx="886">
                  <c:v>1.2135698266428394</c:v>
                </c:pt>
                <c:pt idx="887">
                  <c:v>1.1852614532851724</c:v>
                </c:pt>
                <c:pt idx="888">
                  <c:v>1.1464017169176453</c:v>
                </c:pt>
                <c:pt idx="889">
                  <c:v>1.1370672601139253</c:v>
                </c:pt>
                <c:pt idx="890">
                  <c:v>1.1778308525596448</c:v>
                </c:pt>
                <c:pt idx="891">
                  <c:v>1.184230678056676</c:v>
                </c:pt>
                <c:pt idx="892">
                  <c:v>1.1815964750645875</c:v>
                </c:pt>
                <c:pt idx="893">
                  <c:v>1.1349152583687299</c:v>
                </c:pt>
                <c:pt idx="894">
                  <c:v>1.0897234174031418</c:v>
                </c:pt>
                <c:pt idx="895">
                  <c:v>1.0982226497872587</c:v>
                </c:pt>
                <c:pt idx="896">
                  <c:v>1.1022639189987296</c:v>
                </c:pt>
                <c:pt idx="897">
                  <c:v>1.109667030933257</c:v>
                </c:pt>
                <c:pt idx="898">
                  <c:v>1.0961770559225528</c:v>
                </c:pt>
                <c:pt idx="899">
                  <c:v>1.0963629003187778</c:v>
                </c:pt>
                <c:pt idx="900">
                  <c:v>1.0665547175448815</c:v>
                </c:pt>
                <c:pt idx="901">
                  <c:v>1.0468988687448806</c:v>
                </c:pt>
                <c:pt idx="902">
                  <c:v>1.076051957896065</c:v>
                </c:pt>
                <c:pt idx="903">
                  <c:v>1.0800079288768127</c:v>
                </c:pt>
                <c:pt idx="904">
                  <c:v>1.100056686104711</c:v>
                </c:pt>
                <c:pt idx="905">
                  <c:v>1.107945234963426</c:v>
                </c:pt>
                <c:pt idx="906">
                  <c:v>1.1120109153520343</c:v>
                </c:pt>
                <c:pt idx="907">
                  <c:v>1.0690427558302351</c:v>
                </c:pt>
                <c:pt idx="908">
                  <c:v>1.0770039327989329</c:v>
                </c:pt>
                <c:pt idx="909">
                  <c:v>1.0784071374128552</c:v>
                </c:pt>
                <c:pt idx="910">
                  <c:v>1.0786249228243947</c:v>
                </c:pt>
                <c:pt idx="911">
                  <c:v>1.1314163639022319</c:v>
                </c:pt>
                <c:pt idx="912">
                  <c:v>1.124386984962928</c:v>
                </c:pt>
                <c:pt idx="913">
                  <c:v>1.1394400722113118</c:v>
                </c:pt>
                <c:pt idx="914">
                  <c:v>1.145944824251973</c:v>
                </c:pt>
                <c:pt idx="915">
                  <c:v>1.11538978290824</c:v>
                </c:pt>
                <c:pt idx="916">
                  <c:v>1.1226936000263961</c:v>
                </c:pt>
                <c:pt idx="917">
                  <c:v>1.1473225202693622</c:v>
                </c:pt>
                <c:pt idx="918">
                  <c:v>1.1941870701949044</c:v>
                </c:pt>
                <c:pt idx="919">
                  <c:v>1.1477696512862645</c:v>
                </c:pt>
                <c:pt idx="920">
                  <c:v>1.1415776540515699</c:v>
                </c:pt>
                <c:pt idx="921">
                  <c:v>1.1285338367499909</c:v>
                </c:pt>
                <c:pt idx="922">
                  <c:v>1.1509830381126336</c:v>
                </c:pt>
                <c:pt idx="923">
                  <c:v>1.2021071537909598</c:v>
                </c:pt>
                <c:pt idx="924">
                  <c:v>1.2072096162105668</c:v>
                </c:pt>
                <c:pt idx="925">
                  <c:v>1.2461861357989306</c:v>
                </c:pt>
                <c:pt idx="926">
                  <c:v>1.2442521180746822</c:v>
                </c:pt>
                <c:pt idx="927">
                  <c:v>1.2503397699145158</c:v>
                </c:pt>
                <c:pt idx="928">
                  <c:v>1.2460966180875361</c:v>
                </c:pt>
                <c:pt idx="929">
                  <c:v>1.290163003156052</c:v>
                </c:pt>
                <c:pt idx="930">
                  <c:v>1.2986649201055067</c:v>
                </c:pt>
                <c:pt idx="931">
                  <c:v>1.2861139900499869</c:v>
                </c:pt>
                <c:pt idx="932">
                  <c:v>1.2510051131404087</c:v>
                </c:pt>
                <c:pt idx="933">
                  <c:v>1.2829854282864637</c:v>
                </c:pt>
                <c:pt idx="934">
                  <c:v>1.2439102233192554</c:v>
                </c:pt>
                <c:pt idx="935">
                  <c:v>1.2334860887073198</c:v>
                </c:pt>
                <c:pt idx="936">
                  <c:v>1.2615637076682835</c:v>
                </c:pt>
                <c:pt idx="937">
                  <c:v>1.2746631288124803</c:v>
                </c:pt>
                <c:pt idx="938">
                  <c:v>1.2689222506367039</c:v>
                </c:pt>
                <c:pt idx="939">
                  <c:v>1.2328956663635127</c:v>
                </c:pt>
                <c:pt idx="940">
                  <c:v>1.274659341464067</c:v>
                </c:pt>
                <c:pt idx="941">
                  <c:v>1.2476142289857934</c:v>
                </c:pt>
                <c:pt idx="942">
                  <c:v>1.2693205712678248</c:v>
                </c:pt>
                <c:pt idx="943">
                  <c:v>1.2519281680396181</c:v>
                </c:pt>
                <c:pt idx="944">
                  <c:v>1.234782125134521</c:v>
                </c:pt>
                <c:pt idx="945">
                  <c:v>1.279010078775455</c:v>
                </c:pt>
                <c:pt idx="946">
                  <c:v>1.2926033607707592</c:v>
                </c:pt>
                <c:pt idx="947">
                  <c:v>1.2716039287939218</c:v>
                </c:pt>
                <c:pt idx="948">
                  <c:v>1.2210034030848675</c:v>
                </c:pt>
                <c:pt idx="949">
                  <c:v>1.2395848396590865</c:v>
                </c:pt>
                <c:pt idx="950">
                  <c:v>1.2061175959136046</c:v>
                </c:pt>
                <c:pt idx="951">
                  <c:v>1.2113727844839939</c:v>
                </c:pt>
                <c:pt idx="952">
                  <c:v>1.2315692260773201</c:v>
                </c:pt>
                <c:pt idx="953">
                  <c:v>1.1698297842583469</c:v>
                </c:pt>
                <c:pt idx="954">
                  <c:v>1.1635963375593827</c:v>
                </c:pt>
                <c:pt idx="955">
                  <c:v>1.1404939442108444</c:v>
                </c:pt>
                <c:pt idx="956">
                  <c:v>1.1384658461098516</c:v>
                </c:pt>
                <c:pt idx="957">
                  <c:v>1.1871157454534282</c:v>
                </c:pt>
                <c:pt idx="958">
                  <c:v>1.2200497446048442</c:v>
                </c:pt>
                <c:pt idx="959">
                  <c:v>1.2321147599185698</c:v>
                </c:pt>
                <c:pt idx="960">
                  <c:v>1.2233513419076003</c:v>
                </c:pt>
                <c:pt idx="961">
                  <c:v>1.2263280860816341</c:v>
                </c:pt>
                <c:pt idx="962">
                  <c:v>1.2478325576590892</c:v>
                </c:pt>
                <c:pt idx="963">
                  <c:v>1.1960463605361309</c:v>
                </c:pt>
                <c:pt idx="964">
                  <c:v>1.2323917965606093</c:v>
                </c:pt>
                <c:pt idx="965">
                  <c:v>1.2723794796482244</c:v>
                </c:pt>
                <c:pt idx="966">
                  <c:v>1.2252304029160741</c:v>
                </c:pt>
                <c:pt idx="967">
                  <c:v>1.227449650160104</c:v>
                </c:pt>
                <c:pt idx="968">
                  <c:v>1.2244468138714726</c:v>
                </c:pt>
                <c:pt idx="969">
                  <c:v>1.2934292386529307</c:v>
                </c:pt>
                <c:pt idx="970">
                  <c:v>1.2829377207808252</c:v>
                </c:pt>
                <c:pt idx="971">
                  <c:v>1.2985693277028278</c:v>
                </c:pt>
                <c:pt idx="972">
                  <c:v>1.3310728971289527</c:v>
                </c:pt>
                <c:pt idx="973">
                  <c:v>1.3265357614617035</c:v>
                </c:pt>
                <c:pt idx="974">
                  <c:v>1.336222372917419</c:v>
                </c:pt>
                <c:pt idx="975">
                  <c:v>1.2995817187380567</c:v>
                </c:pt>
                <c:pt idx="976">
                  <c:v>1.2547436886224737</c:v>
                </c:pt>
                <c:pt idx="977">
                  <c:v>1.2591796271117686</c:v>
                </c:pt>
                <c:pt idx="978">
                  <c:v>1.2588267206584385</c:v>
                </c:pt>
                <c:pt idx="979">
                  <c:v>1.2806870013404128</c:v>
                </c:pt>
                <c:pt idx="980">
                  <c:v>1.2853571443399483</c:v>
                </c:pt>
                <c:pt idx="981">
                  <c:v>1.2365385502308031</c:v>
                </c:pt>
                <c:pt idx="982">
                  <c:v>1.1969361749469145</c:v>
                </c:pt>
                <c:pt idx="983">
                  <c:v>1.21918966870453</c:v>
                </c:pt>
                <c:pt idx="984">
                  <c:v>1.2198104243136993</c:v>
                </c:pt>
                <c:pt idx="985">
                  <c:v>1.211862298235677</c:v>
                </c:pt>
                <c:pt idx="986">
                  <c:v>1.2367040456599645</c:v>
                </c:pt>
                <c:pt idx="987">
                  <c:v>1.2163975454207998</c:v>
                </c:pt>
                <c:pt idx="988">
                  <c:v>1.2227264146396242</c:v>
                </c:pt>
                <c:pt idx="989">
                  <c:v>1.1993015208574669</c:v>
                </c:pt>
                <c:pt idx="990">
                  <c:v>1.2386516584716147</c:v>
                </c:pt>
                <c:pt idx="991">
                  <c:v>1.2534575629310172</c:v>
                </c:pt>
                <c:pt idx="992">
                  <c:v>1.260082327177223</c:v>
                </c:pt>
                <c:pt idx="993">
                  <c:v>1.2765761049479722</c:v>
                </c:pt>
                <c:pt idx="994">
                  <c:v>1.2546815321532534</c:v>
                </c:pt>
                <c:pt idx="995">
                  <c:v>1.1946020354027966</c:v>
                </c:pt>
                <c:pt idx="996">
                  <c:v>1.2090946551273272</c:v>
                </c:pt>
                <c:pt idx="997">
                  <c:v>1.1623837971831947</c:v>
                </c:pt>
                <c:pt idx="998">
                  <c:v>1.1919318811053765</c:v>
                </c:pt>
                <c:pt idx="999">
                  <c:v>1.1535674302319538</c:v>
                </c:pt>
                <c:pt idx="1000">
                  <c:v>1.1728588218928797</c:v>
                </c:pt>
                <c:pt idx="1001">
                  <c:v>1.1479545026828739</c:v>
                </c:pt>
                <c:pt idx="1002">
                  <c:v>1.1182038656065678</c:v>
                </c:pt>
                <c:pt idx="1003">
                  <c:v>1.1288912778657556</c:v>
                </c:pt>
                <c:pt idx="1004">
                  <c:v>1.1052656101433342</c:v>
                </c:pt>
                <c:pt idx="1005">
                  <c:v>1.1030857450441192</c:v>
                </c:pt>
                <c:pt idx="1006">
                  <c:v>1.0994730190142137</c:v>
                </c:pt>
                <c:pt idx="1007">
                  <c:v>1.1336792406539227</c:v>
                </c:pt>
                <c:pt idx="1008">
                  <c:v>1.199107378739338</c:v>
                </c:pt>
                <c:pt idx="1009">
                  <c:v>1.1394231753013417</c:v>
                </c:pt>
                <c:pt idx="1010">
                  <c:v>1.1618982189780511</c:v>
                </c:pt>
                <c:pt idx="1011">
                  <c:v>1.174368061907163</c:v>
                </c:pt>
                <c:pt idx="1012">
                  <c:v>1.1604977628032138</c:v>
                </c:pt>
                <c:pt idx="1013">
                  <c:v>1.1609734322303968</c:v>
                </c:pt>
                <c:pt idx="1014">
                  <c:v>1.1667488969378748</c:v>
                </c:pt>
                <c:pt idx="1015">
                  <c:v>1.1825058139391962</c:v>
                </c:pt>
                <c:pt idx="1016">
                  <c:v>1.1732313174041731</c:v>
                </c:pt>
                <c:pt idx="1017">
                  <c:v>1.1941377883105722</c:v>
                </c:pt>
                <c:pt idx="1018">
                  <c:v>1.1839195083699108</c:v>
                </c:pt>
                <c:pt idx="1019">
                  <c:v>1.1417031540440026</c:v>
                </c:pt>
                <c:pt idx="1020">
                  <c:v>1.1216010723591709</c:v>
                </c:pt>
                <c:pt idx="1021">
                  <c:v>1.1057280329080121</c:v>
                </c:pt>
                <c:pt idx="1022">
                  <c:v>1.1269915195144424</c:v>
                </c:pt>
                <c:pt idx="1023">
                  <c:v>1.1138790561475418</c:v>
                </c:pt>
                <c:pt idx="1024">
                  <c:v>1.1477278403011313</c:v>
                </c:pt>
                <c:pt idx="1025">
                  <c:v>1.1466938482477331</c:v>
                </c:pt>
                <c:pt idx="1026">
                  <c:v>1.1154894807254774</c:v>
                </c:pt>
                <c:pt idx="1027">
                  <c:v>1.1671411678743604</c:v>
                </c:pt>
                <c:pt idx="1028">
                  <c:v>1.1467447180065236</c:v>
                </c:pt>
                <c:pt idx="1029">
                  <c:v>1.1424213547216882</c:v>
                </c:pt>
                <c:pt idx="1030">
                  <c:v>1.1206693915055728</c:v>
                </c:pt>
                <c:pt idx="1031">
                  <c:v>1.1317883316178012</c:v>
                </c:pt>
                <c:pt idx="1032">
                  <c:v>1.150269383741223</c:v>
                </c:pt>
                <c:pt idx="1033">
                  <c:v>1.1386007242204801</c:v>
                </c:pt>
                <c:pt idx="1034">
                  <c:v>1.1420383571471675</c:v>
                </c:pt>
                <c:pt idx="1035">
                  <c:v>1.171233213915704</c:v>
                </c:pt>
                <c:pt idx="1036">
                  <c:v>1.2004646609954202</c:v>
                </c:pt>
                <c:pt idx="1037">
                  <c:v>1.2069873676833265</c:v>
                </c:pt>
                <c:pt idx="1038">
                  <c:v>1.1441638517014201</c:v>
                </c:pt>
                <c:pt idx="1039">
                  <c:v>1.1466998625240359</c:v>
                </c:pt>
                <c:pt idx="1040">
                  <c:v>1.11878854842725</c:v>
                </c:pt>
                <c:pt idx="1041">
                  <c:v>1.1100844433034662</c:v>
                </c:pt>
                <c:pt idx="1042">
                  <c:v>1.1340885245910894</c:v>
                </c:pt>
                <c:pt idx="1043">
                  <c:v>1.1412991689751846</c:v>
                </c:pt>
                <c:pt idx="1044">
                  <c:v>1.1791659335524296</c:v>
                </c:pt>
                <c:pt idx="1045">
                  <c:v>1.1505720716035224</c:v>
                </c:pt>
                <c:pt idx="1046">
                  <c:v>1.114837032572654</c:v>
                </c:pt>
                <c:pt idx="1047">
                  <c:v>1.1104229804008456</c:v>
                </c:pt>
                <c:pt idx="1048">
                  <c:v>1.1036262589936088</c:v>
                </c:pt>
                <c:pt idx="1049">
                  <c:v>1.1460839872134696</c:v>
                </c:pt>
                <c:pt idx="1050">
                  <c:v>1.1516642630179341</c:v>
                </c:pt>
                <c:pt idx="1051">
                  <c:v>1.142827507825952</c:v>
                </c:pt>
                <c:pt idx="1052">
                  <c:v>1.139998185116522</c:v>
                </c:pt>
                <c:pt idx="1053">
                  <c:v>1.1969426569965371</c:v>
                </c:pt>
                <c:pt idx="1054">
                  <c:v>1.1133637548324948</c:v>
                </c:pt>
                <c:pt idx="1055">
                  <c:v>1.1367803394807126</c:v>
                </c:pt>
                <c:pt idx="1056">
                  <c:v>1.1506380538790129</c:v>
                </c:pt>
                <c:pt idx="1057">
                  <c:v>1.141311203996445</c:v>
                </c:pt>
                <c:pt idx="1058">
                  <c:v>1.0934978149335131</c:v>
                </c:pt>
                <c:pt idx="1059">
                  <c:v>1.088296200806405</c:v>
                </c:pt>
                <c:pt idx="1060">
                  <c:v>1.0876092097364052</c:v>
                </c:pt>
                <c:pt idx="1061">
                  <c:v>1.1507942784287586</c:v>
                </c:pt>
                <c:pt idx="1062">
                  <c:v>1.1971625457386896</c:v>
                </c:pt>
                <c:pt idx="1063">
                  <c:v>1.1864362264952253</c:v>
                </c:pt>
                <c:pt idx="1064">
                  <c:v>1.1257487929496466</c:v>
                </c:pt>
                <c:pt idx="1065">
                  <c:v>1.000533248627548</c:v>
                </c:pt>
                <c:pt idx="1066">
                  <c:v>1.0166055757036372</c:v>
                </c:pt>
                <c:pt idx="1067">
                  <c:v>1.0140380187390785</c:v>
                </c:pt>
                <c:pt idx="1068">
                  <c:v>0.94692490811531316</c:v>
                </c:pt>
                <c:pt idx="1069">
                  <c:v>0.8914874564779196</c:v>
                </c:pt>
                <c:pt idx="1070">
                  <c:v>0.84152051764005986</c:v>
                </c:pt>
                <c:pt idx="1071">
                  <c:v>0.81966638854215945</c:v>
                </c:pt>
                <c:pt idx="1072">
                  <c:v>0.82471869115488639</c:v>
                </c:pt>
                <c:pt idx="1073">
                  <c:v>0.82802048950160756</c:v>
                </c:pt>
                <c:pt idx="1074">
                  <c:v>0.8694567599778974</c:v>
                </c:pt>
                <c:pt idx="1075">
                  <c:v>0.879312754109838</c:v>
                </c:pt>
                <c:pt idx="1076">
                  <c:v>0.87815434718007468</c:v>
                </c:pt>
                <c:pt idx="1077">
                  <c:v>0.8741714632304326</c:v>
                </c:pt>
                <c:pt idx="1078">
                  <c:v>0.86813745667270903</c:v>
                </c:pt>
                <c:pt idx="1079">
                  <c:v>0.90420276690472456</c:v>
                </c:pt>
                <c:pt idx="1080">
                  <c:v>0.90256696507061462</c:v>
                </c:pt>
                <c:pt idx="1081">
                  <c:v>0.88972835839043407</c:v>
                </c:pt>
                <c:pt idx="1082">
                  <c:v>0.89131982726895365</c:v>
                </c:pt>
                <c:pt idx="1083">
                  <c:v>0.87723186622832816</c:v>
                </c:pt>
                <c:pt idx="1084">
                  <c:v>0.88484533358537554</c:v>
                </c:pt>
                <c:pt idx="1085">
                  <c:v>1.0084666863467837</c:v>
                </c:pt>
                <c:pt idx="1086">
                  <c:v>1.0256945502169863</c:v>
                </c:pt>
                <c:pt idx="1087">
                  <c:v>1.0242236196204928</c:v>
                </c:pt>
                <c:pt idx="1088">
                  <c:v>1.0820545060314597</c:v>
                </c:pt>
                <c:pt idx="1089">
                  <c:v>1.1780219637708096</c:v>
                </c:pt>
                <c:pt idx="1090">
                  <c:v>1.1712288958341062</c:v>
                </c:pt>
                <c:pt idx="1091">
                  <c:v>1.2209653708363752</c:v>
                </c:pt>
                <c:pt idx="1092">
                  <c:v>1.1929497874606025</c:v>
                </c:pt>
                <c:pt idx="1093">
                  <c:v>1.2622222694403957</c:v>
                </c:pt>
                <c:pt idx="1094">
                  <c:v>1.264654602793907</c:v>
                </c:pt>
                <c:pt idx="1095">
                  <c:v>1.2956906914136916</c:v>
                </c:pt>
                <c:pt idx="1096">
                  <c:v>1.3585250622743716</c:v>
                </c:pt>
                <c:pt idx="1097">
                  <c:v>1.3719674604901082</c:v>
                </c:pt>
                <c:pt idx="1098">
                  <c:v>1.3581233248557512</c:v>
                </c:pt>
                <c:pt idx="1099">
                  <c:v>1.3431110309201206</c:v>
                </c:pt>
                <c:pt idx="1100">
                  <c:v>1.2996912100107891</c:v>
                </c:pt>
                <c:pt idx="1101">
                  <c:v>1.3030287000306049</c:v>
                </c:pt>
                <c:pt idx="1102">
                  <c:v>1.332546650107471</c:v>
                </c:pt>
                <c:pt idx="1103">
                  <c:v>1.305365408831838</c:v>
                </c:pt>
                <c:pt idx="1104">
                  <c:v>1.2243600251822857</c:v>
                </c:pt>
                <c:pt idx="1105">
                  <c:v>1.2291199075462231</c:v>
                </c:pt>
                <c:pt idx="1106">
                  <c:v>1.2227878924347659</c:v>
                </c:pt>
                <c:pt idx="1107">
                  <c:v>1.2618698040205458</c:v>
                </c:pt>
                <c:pt idx="1108">
                  <c:v>1.2306262306404128</c:v>
                </c:pt>
                <c:pt idx="1109">
                  <c:v>1.1392637771925294</c:v>
                </c:pt>
                <c:pt idx="1110">
                  <c:v>1.16720754293136</c:v>
                </c:pt>
                <c:pt idx="1111">
                  <c:v>1.1389473361322549</c:v>
                </c:pt>
                <c:pt idx="1112">
                  <c:v>1.0890879871149812</c:v>
                </c:pt>
                <c:pt idx="1113">
                  <c:v>1.0298593252891666</c:v>
                </c:pt>
                <c:pt idx="1114">
                  <c:v>1.0275906985167591</c:v>
                </c:pt>
                <c:pt idx="1115">
                  <c:v>1.0828394453324166</c:v>
                </c:pt>
                <c:pt idx="1116">
                  <c:v>1.1050165651226238</c:v>
                </c:pt>
                <c:pt idx="1117">
                  <c:v>1.0742291542599598</c:v>
                </c:pt>
                <c:pt idx="1118">
                  <c:v>1.0943848847010218</c:v>
                </c:pt>
                <c:pt idx="1119">
                  <c:v>1.0771640074058242</c:v>
                </c:pt>
                <c:pt idx="1120">
                  <c:v>1.1051840227482168</c:v>
                </c:pt>
                <c:pt idx="1121">
                  <c:v>1.0755493651067853</c:v>
                </c:pt>
                <c:pt idx="1122">
                  <c:v>1.0831817754286164</c:v>
                </c:pt>
                <c:pt idx="1123">
                  <c:v>1.0643726769333657</c:v>
                </c:pt>
                <c:pt idx="1124">
                  <c:v>1.0689270590041513</c:v>
                </c:pt>
                <c:pt idx="1125">
                  <c:v>1.072409468890273</c:v>
                </c:pt>
                <c:pt idx="1126">
                  <c:v>1.1097379311630597</c:v>
                </c:pt>
                <c:pt idx="1127">
                  <c:v>1.1140294471850378</c:v>
                </c:pt>
                <c:pt idx="1128">
                  <c:v>1.1141382423148867</c:v>
                </c:pt>
                <c:pt idx="1129">
                  <c:v>1.1149323467955508</c:v>
                </c:pt>
                <c:pt idx="1130">
                  <c:v>1.115245450021251</c:v>
                </c:pt>
                <c:pt idx="1131">
                  <c:v>1.1504406452142233</c:v>
                </c:pt>
                <c:pt idx="1132">
                  <c:v>1.1405556218075383</c:v>
                </c:pt>
                <c:pt idx="1133">
                  <c:v>1.1262612342685383</c:v>
                </c:pt>
                <c:pt idx="1134">
                  <c:v>1.1666803283272356</c:v>
                </c:pt>
                <c:pt idx="1135">
                  <c:v>1.1664030572465169</c:v>
                </c:pt>
                <c:pt idx="1136">
                  <c:v>1.1389436525474643</c:v>
                </c:pt>
                <c:pt idx="1137">
                  <c:v>1.099462982812387</c:v>
                </c:pt>
                <c:pt idx="1138">
                  <c:v>1.1399604752172197</c:v>
                </c:pt>
                <c:pt idx="1139">
                  <c:v>1.1038946726367782</c:v>
                </c:pt>
                <c:pt idx="1140">
                  <c:v>1.0693281272266992</c:v>
                </c:pt>
                <c:pt idx="1141">
                  <c:v>1.016692236347005</c:v>
                </c:pt>
                <c:pt idx="1142">
                  <c:v>1.0054657524303567</c:v>
                </c:pt>
                <c:pt idx="1143">
                  <c:v>1.0035234478301072</c:v>
                </c:pt>
                <c:pt idx="1144">
                  <c:v>1.0020069515898986</c:v>
                </c:pt>
                <c:pt idx="1145">
                  <c:v>0.94924628297777658</c:v>
                </c:pt>
                <c:pt idx="1146">
                  <c:v>0.98362834070784932</c:v>
                </c:pt>
                <c:pt idx="1147">
                  <c:v>0.97230405348007898</c:v>
                </c:pt>
                <c:pt idx="1148">
                  <c:v>0.98520346227008582</c:v>
                </c:pt>
                <c:pt idx="1149">
                  <c:v>1.036242992849594</c:v>
                </c:pt>
                <c:pt idx="1150">
                  <c:v>1.0010592665633802</c:v>
                </c:pt>
                <c:pt idx="1151">
                  <c:v>1.0019936448739653</c:v>
                </c:pt>
                <c:pt idx="1152">
                  <c:v>1.0494119316545094</c:v>
                </c:pt>
                <c:pt idx="1153">
                  <c:v>1.051036106207452</c:v>
                </c:pt>
                <c:pt idx="1154">
                  <c:v>1.0505256483927616</c:v>
                </c:pt>
                <c:pt idx="1155">
                  <c:v>1.0534785837580087</c:v>
                </c:pt>
                <c:pt idx="1156">
                  <c:v>0.99225512338564215</c:v>
                </c:pt>
                <c:pt idx="1157">
                  <c:v>0.99462555768490013</c:v>
                </c:pt>
                <c:pt idx="1158">
                  <c:v>1.0222713048352934</c:v>
                </c:pt>
                <c:pt idx="1159">
                  <c:v>1.0099653459401459</c:v>
                </c:pt>
                <c:pt idx="1160">
                  <c:v>1.0756596479188563</c:v>
                </c:pt>
                <c:pt idx="1161">
                  <c:v>1.0517492817797101</c:v>
                </c:pt>
                <c:pt idx="1162">
                  <c:v>1.0342077872103048</c:v>
                </c:pt>
                <c:pt idx="1163">
                  <c:v>1.0335688089133781</c:v>
                </c:pt>
                <c:pt idx="1164">
                  <c:v>0.98415895594904357</c:v>
                </c:pt>
                <c:pt idx="1165">
                  <c:v>0.98349388909390612</c:v>
                </c:pt>
                <c:pt idx="1166">
                  <c:v>1.0044004330370713</c:v>
                </c:pt>
                <c:pt idx="1167">
                  <c:v>1.0285946220701927</c:v>
                </c:pt>
                <c:pt idx="1168">
                  <c:v>1.0385146333481101</c:v>
                </c:pt>
                <c:pt idx="1169">
                  <c:v>1.0547133401474811</c:v>
                </c:pt>
                <c:pt idx="1170">
                  <c:v>1.0507143164117649</c:v>
                </c:pt>
                <c:pt idx="1171">
                  <c:v>1.0670348322961776</c:v>
                </c:pt>
                <c:pt idx="1172">
                  <c:v>1.0892412206584947</c:v>
                </c:pt>
                <c:pt idx="1173">
                  <c:v>1.0845704165731911</c:v>
                </c:pt>
                <c:pt idx="1174">
                  <c:v>1.08059907820435</c:v>
                </c:pt>
                <c:pt idx="1175">
                  <c:v>1.0926555230053165</c:v>
                </c:pt>
                <c:pt idx="1176">
                  <c:v>1.0818581822201927</c:v>
                </c:pt>
                <c:pt idx="1177">
                  <c:v>1.1153139344658936</c:v>
                </c:pt>
                <c:pt idx="1178">
                  <c:v>1.0850192540269481</c:v>
                </c:pt>
                <c:pt idx="1179">
                  <c:v>1.0435098267964176</c:v>
                </c:pt>
                <c:pt idx="1180">
                  <c:v>1.1041355905407861</c:v>
                </c:pt>
                <c:pt idx="1181">
                  <c:v>1.1398290353755063</c:v>
                </c:pt>
                <c:pt idx="1182">
                  <c:v>1.0933962695650881</c:v>
                </c:pt>
                <c:pt idx="1183">
                  <c:v>1.1115152751521464</c:v>
                </c:pt>
                <c:pt idx="1184">
                  <c:v>1.1407549929862189</c:v>
                </c:pt>
                <c:pt idx="1185">
                  <c:v>1.1454267387280179</c:v>
                </c:pt>
                <c:pt idx="1186">
                  <c:v>1.1973142358254765</c:v>
                </c:pt>
                <c:pt idx="1187">
                  <c:v>1.2232228018592957</c:v>
                </c:pt>
                <c:pt idx="1188">
                  <c:v>1.2417046125498552</c:v>
                </c:pt>
                <c:pt idx="1189">
                  <c:v>1.2417333084021716</c:v>
                </c:pt>
                <c:pt idx="1190">
                  <c:v>1.1844582155432146</c:v>
                </c:pt>
                <c:pt idx="1191">
                  <c:v>1.1941326386213094</c:v>
                </c:pt>
                <c:pt idx="1192">
                  <c:v>1.2010354249371764</c:v>
                </c:pt>
                <c:pt idx="1193">
                  <c:v>1.2072496051750867</c:v>
                </c:pt>
                <c:pt idx="1194">
                  <c:v>1.1985920859515748</c:v>
                </c:pt>
                <c:pt idx="1195">
                  <c:v>1.1986081966995732</c:v>
                </c:pt>
                <c:pt idx="1196">
                  <c:v>1.2073634236556985</c:v>
                </c:pt>
                <c:pt idx="1197">
                  <c:v>1.2014098997121827</c:v>
                </c:pt>
                <c:pt idx="1198">
                  <c:v>1.1977201043131331</c:v>
                </c:pt>
                <c:pt idx="1199">
                  <c:v>1.1812754163172119</c:v>
                </c:pt>
                <c:pt idx="1200">
                  <c:v>1.1782802586040775</c:v>
                </c:pt>
                <c:pt idx="1201">
                  <c:v>1.1735401300260717</c:v>
                </c:pt>
                <c:pt idx="1202">
                  <c:v>1.1735401300260717</c:v>
                </c:pt>
                <c:pt idx="1203">
                  <c:v>1.2019315871670422</c:v>
                </c:pt>
                <c:pt idx="1204">
                  <c:v>1.1995779430196731</c:v>
                </c:pt>
                <c:pt idx="1205">
                  <c:v>1.2199319747381432</c:v>
                </c:pt>
                <c:pt idx="1206">
                  <c:v>1.1961377020639596</c:v>
                </c:pt>
                <c:pt idx="1207">
                  <c:v>1.2122374582450475</c:v>
                </c:pt>
                <c:pt idx="1208">
                  <c:v>1.2302354227554571</c:v>
                </c:pt>
                <c:pt idx="1209">
                  <c:v>1.224780346246511</c:v>
                </c:pt>
                <c:pt idx="1210">
                  <c:v>1.1758194012550631</c:v>
                </c:pt>
                <c:pt idx="1211">
                  <c:v>1.1753575635945215</c:v>
                </c:pt>
                <c:pt idx="1212">
                  <c:v>1.219079217250066</c:v>
                </c:pt>
                <c:pt idx="1213">
                  <c:v>1.2278371321101609</c:v>
                </c:pt>
                <c:pt idx="1214">
                  <c:v>1.2455685125838039</c:v>
                </c:pt>
                <c:pt idx="1215">
                  <c:v>1.2294639987156724</c:v>
                </c:pt>
                <c:pt idx="1216">
                  <c:v>1.2058991017818037</c:v>
                </c:pt>
                <c:pt idx="1217">
                  <c:v>1.155253318491255</c:v>
                </c:pt>
                <c:pt idx="1218">
                  <c:v>1.1617804410057211</c:v>
                </c:pt>
                <c:pt idx="1219">
                  <c:v>1.2194885398602866</c:v>
                </c:pt>
                <c:pt idx="1220">
                  <c:v>1.2199755509138639</c:v>
                </c:pt>
                <c:pt idx="1221">
                  <c:v>1.2125247242413455</c:v>
                </c:pt>
                <c:pt idx="1222">
                  <c:v>1.211034705312471</c:v>
                </c:pt>
                <c:pt idx="1223">
                  <c:v>1.2414354409404411</c:v>
                </c:pt>
                <c:pt idx="1224">
                  <c:v>1.2105135226447272</c:v>
                </c:pt>
                <c:pt idx="1225">
                  <c:v>1.2353611785139231</c:v>
                </c:pt>
                <c:pt idx="1226">
                  <c:v>1.2070151271800111</c:v>
                </c:pt>
                <c:pt idx="1227">
                  <c:v>1.1886913987151202</c:v>
                </c:pt>
                <c:pt idx="1228">
                  <c:v>1.1575650226268908</c:v>
                </c:pt>
                <c:pt idx="1229">
                  <c:v>1.1771905479602256</c:v>
                </c:pt>
                <c:pt idx="1230">
                  <c:v>1.1913906199040689</c:v>
                </c:pt>
                <c:pt idx="1231">
                  <c:v>1.1917205276791842</c:v>
                </c:pt>
                <c:pt idx="1232">
                  <c:v>1.1874768479291775</c:v>
                </c:pt>
                <c:pt idx="1233">
                  <c:v>1.1617487808838265</c:v>
                </c:pt>
                <c:pt idx="1234">
                  <c:v>1.2160322231816441</c:v>
                </c:pt>
                <c:pt idx="1235">
                  <c:v>1.2363102779837574</c:v>
                </c:pt>
                <c:pt idx="1236">
                  <c:v>1.3026602312809425</c:v>
                </c:pt>
                <c:pt idx="1237">
                  <c:v>1.2715905959380795</c:v>
                </c:pt>
                <c:pt idx="1238">
                  <c:v>1.3048211221924404</c:v>
                </c:pt>
                <c:pt idx="1239">
                  <c:v>1.3550586787990051</c:v>
                </c:pt>
                <c:pt idx="1240">
                  <c:v>1.367398066133036</c:v>
                </c:pt>
                <c:pt idx="1241">
                  <c:v>1.3042057961152791</c:v>
                </c:pt>
                <c:pt idx="1242">
                  <c:v>1.2905724026325609</c:v>
                </c:pt>
                <c:pt idx="1243">
                  <c:v>1.2738806671046496</c:v>
                </c:pt>
                <c:pt idx="1244">
                  <c:v>1.3225067194492832</c:v>
                </c:pt>
                <c:pt idx="1245">
                  <c:v>1.3216301324109367</c:v>
                </c:pt>
                <c:pt idx="1246">
                  <c:v>1.3164227476668391</c:v>
                </c:pt>
                <c:pt idx="1247">
                  <c:v>1.3452309975545491</c:v>
                </c:pt>
                <c:pt idx="1248">
                  <c:v>1.3003953863804421</c:v>
                </c:pt>
                <c:pt idx="1249">
                  <c:v>1.2080094770123802</c:v>
                </c:pt>
                <c:pt idx="1250">
                  <c:v>1.2419304587487239</c:v>
                </c:pt>
                <c:pt idx="1251">
                  <c:v>1.2242327646607751</c:v>
                </c:pt>
                <c:pt idx="1252">
                  <c:v>1.210370941526586</c:v>
                </c:pt>
                <c:pt idx="1253">
                  <c:v>1.1431877190206079</c:v>
                </c:pt>
                <c:pt idx="1254">
                  <c:v>1.1333368492169944</c:v>
                </c:pt>
                <c:pt idx="1255">
                  <c:v>1.1408978114151831</c:v>
                </c:pt>
                <c:pt idx="1256">
                  <c:v>1.0934528775408199</c:v>
                </c:pt>
                <c:pt idx="1257">
                  <c:v>1.0808487512082834</c:v>
                </c:pt>
                <c:pt idx="1258">
                  <c:v>1.0837544362820017</c:v>
                </c:pt>
                <c:pt idx="1259">
                  <c:v>0.98719712363820222</c:v>
                </c:pt>
                <c:pt idx="1260">
                  <c:v>1.002806922661551</c:v>
                </c:pt>
                <c:pt idx="1261">
                  <c:v>0.93783199485553492</c:v>
                </c:pt>
                <c:pt idx="1262">
                  <c:v>0.94117198887540088</c:v>
                </c:pt>
                <c:pt idx="1263">
                  <c:v>0.90531127561028768</c:v>
                </c:pt>
                <c:pt idx="1264">
                  <c:v>0.90596008640608405</c:v>
                </c:pt>
                <c:pt idx="1265">
                  <c:v>0.91546740778284574</c:v>
                </c:pt>
                <c:pt idx="1266">
                  <c:v>0.91330277237233204</c:v>
                </c:pt>
                <c:pt idx="1267">
                  <c:v>0.95044575144338539</c:v>
                </c:pt>
                <c:pt idx="1268">
                  <c:v>0.95489115947147674</c:v>
                </c:pt>
                <c:pt idx="1269">
                  <c:v>0.9375282371226471</c:v>
                </c:pt>
                <c:pt idx="1270">
                  <c:v>0.97217282414188033</c:v>
                </c:pt>
                <c:pt idx="1271">
                  <c:v>0.93857681453443575</c:v>
                </c:pt>
                <c:pt idx="1272">
                  <c:v>0.90378260024507351</c:v>
                </c:pt>
                <c:pt idx="1273">
                  <c:v>0.88107196987076686</c:v>
                </c:pt>
                <c:pt idx="1274">
                  <c:v>0.86130054028176162</c:v>
                </c:pt>
                <c:pt idx="1275">
                  <c:v>0.87665383933624996</c:v>
                </c:pt>
                <c:pt idx="1276">
                  <c:v>0.9059357263238289</c:v>
                </c:pt>
                <c:pt idx="1277">
                  <c:v>1.0705775109241509</c:v>
                </c:pt>
                <c:pt idx="1278">
                  <c:v>1.0994008817763303</c:v>
                </c:pt>
                <c:pt idx="1279">
                  <c:v>1.1347015405854066</c:v>
                </c:pt>
                <c:pt idx="1280">
                  <c:v>1.1527052139835345</c:v>
                </c:pt>
                <c:pt idx="1281">
                  <c:v>1.162383401642415</c:v>
                </c:pt>
                <c:pt idx="1282">
                  <c:v>1.1620148969310395</c:v>
                </c:pt>
                <c:pt idx="1283">
                  <c:v>1.1408035079180638</c:v>
                </c:pt>
                <c:pt idx="1284">
                  <c:v>1.153924886497453</c:v>
                </c:pt>
                <c:pt idx="1285">
                  <c:v>1.1755429657685059</c:v>
                </c:pt>
                <c:pt idx="1286">
                  <c:v>1.20536940491239</c:v>
                </c:pt>
                <c:pt idx="1287">
                  <c:v>1.2166469845676149</c:v>
                </c:pt>
                <c:pt idx="1288">
                  <c:v>1.2148618009478682</c:v>
                </c:pt>
                <c:pt idx="1289">
                  <c:v>1.1772913095687938</c:v>
                </c:pt>
                <c:pt idx="1290">
                  <c:v>1.1572162893037257</c:v>
                </c:pt>
                <c:pt idx="1291">
                  <c:v>1.2319051687640512</c:v>
                </c:pt>
                <c:pt idx="1292">
                  <c:v>1.2131785931389385</c:v>
                </c:pt>
                <c:pt idx="1293">
                  <c:v>1.197070370222389</c:v>
                </c:pt>
                <c:pt idx="1294">
                  <c:v>1.2136905341328479</c:v>
                </c:pt>
                <c:pt idx="1295">
                  <c:v>1.1807171500853821</c:v>
                </c:pt>
                <c:pt idx="1296">
                  <c:v>1.2319263020948545</c:v>
                </c:pt>
                <c:pt idx="1297">
                  <c:v>1.2129364482882876</c:v>
                </c:pt>
                <c:pt idx="1298">
                  <c:v>1.1495198397891901</c:v>
                </c:pt>
                <c:pt idx="1299">
                  <c:v>1.1329659986173408</c:v>
                </c:pt>
                <c:pt idx="1300">
                  <c:v>1.0660659227853304</c:v>
                </c:pt>
                <c:pt idx="1301">
                  <c:v>1.075708587637582</c:v>
                </c:pt>
                <c:pt idx="1302">
                  <c:v>1.0877510808053021</c:v>
                </c:pt>
                <c:pt idx="1303">
                  <c:v>1.072617434558818</c:v>
                </c:pt>
                <c:pt idx="1304">
                  <c:v>1.0118473488976802</c:v>
                </c:pt>
                <c:pt idx="1305">
                  <c:v>0.93582227657463524</c:v>
                </c:pt>
                <c:pt idx="1306">
                  <c:v>1.0109936502864592</c:v>
                </c:pt>
                <c:pt idx="1307">
                  <c:v>0.9749683755555012</c:v>
                </c:pt>
                <c:pt idx="1308">
                  <c:v>1.0053981312389884</c:v>
                </c:pt>
                <c:pt idx="1309">
                  <c:v>1.0052091907863652</c:v>
                </c:pt>
                <c:pt idx="1310">
                  <c:v>1.0490280668587806</c:v>
                </c:pt>
                <c:pt idx="1311">
                  <c:v>1.086272758448414</c:v>
                </c:pt>
                <c:pt idx="1312">
                  <c:v>1.1027976961440791</c:v>
                </c:pt>
                <c:pt idx="1313">
                  <c:v>1.1139327142848539</c:v>
                </c:pt>
                <c:pt idx="1314">
                  <c:v>1.1107460473074817</c:v>
                </c:pt>
                <c:pt idx="1315">
                  <c:v>1.1149810059719223</c:v>
                </c:pt>
                <c:pt idx="1316">
                  <c:v>1.129957836666341</c:v>
                </c:pt>
                <c:pt idx="1317">
                  <c:v>1.1661280858652181</c:v>
                </c:pt>
                <c:pt idx="1318">
                  <c:v>1.1489968138166959</c:v>
                </c:pt>
                <c:pt idx="1319">
                  <c:v>1.1371121417822012</c:v>
                </c:pt>
                <c:pt idx="1320">
                  <c:v>1.1593634797426211</c:v>
                </c:pt>
                <c:pt idx="1321">
                  <c:v>1.1668350453206764</c:v>
                </c:pt>
                <c:pt idx="1322">
                  <c:v>1.1772842311521627</c:v>
                </c:pt>
                <c:pt idx="1323">
                  <c:v>1.1983952871935932</c:v>
                </c:pt>
                <c:pt idx="1324">
                  <c:v>1.1937119254324047</c:v>
                </c:pt>
                <c:pt idx="1325">
                  <c:v>1.1999499989582891</c:v>
                </c:pt>
                <c:pt idx="1326">
                  <c:v>1.1945113943635561</c:v>
                </c:pt>
                <c:pt idx="1327">
                  <c:v>1.1931172828245813</c:v>
                </c:pt>
                <c:pt idx="1328">
                  <c:v>1.2142390834280277</c:v>
                </c:pt>
                <c:pt idx="1329">
                  <c:v>1.2254105106209219</c:v>
                </c:pt>
                <c:pt idx="1330">
                  <c:v>1.2504364755197857</c:v>
                </c:pt>
                <c:pt idx="1331">
                  <c:v>1.2417109534646225</c:v>
                </c:pt>
                <c:pt idx="1332">
                  <c:v>1.246665621734149</c:v>
                </c:pt>
                <c:pt idx="1333">
                  <c:v>1.2417787112912233</c:v>
                </c:pt>
                <c:pt idx="1334">
                  <c:v>1.2458436646632709</c:v>
                </c:pt>
                <c:pt idx="1335">
                  <c:v>1.2322766520252002</c:v>
                </c:pt>
                <c:pt idx="1336">
                  <c:v>1.2363872101139401</c:v>
                </c:pt>
                <c:pt idx="1337">
                  <c:v>1.2199417736246605</c:v>
                </c:pt>
                <c:pt idx="1338">
                  <c:v>1.2318774103063128</c:v>
                </c:pt>
                <c:pt idx="1339">
                  <c:v>1.2748445476565582</c:v>
                </c:pt>
                <c:pt idx="1340">
                  <c:v>1.2977566851274944</c:v>
                </c:pt>
                <c:pt idx="1341">
                  <c:v>1.2705489808124981</c:v>
                </c:pt>
                <c:pt idx="1342">
                  <c:v>1.243323503088932</c:v>
                </c:pt>
                <c:pt idx="1343">
                  <c:v>1.2620224600438665</c:v>
                </c:pt>
                <c:pt idx="1344">
                  <c:v>1.261106110004093</c:v>
                </c:pt>
                <c:pt idx="1345">
                  <c:v>1.2689329846529447</c:v>
                </c:pt>
                <c:pt idx="1346">
                  <c:v>1.2960566186014753</c:v>
                </c:pt>
                <c:pt idx="1347">
                  <c:v>1.2618634277705443</c:v>
                </c:pt>
                <c:pt idx="1348">
                  <c:v>1.3104348668399681</c:v>
                </c:pt>
                <c:pt idx="1349">
                  <c:v>1.3006543004178328</c:v>
                </c:pt>
                <c:pt idx="1350">
                  <c:v>1.314614099226483</c:v>
                </c:pt>
                <c:pt idx="1351">
                  <c:v>1.2662254524971939</c:v>
                </c:pt>
                <c:pt idx="1352">
                  <c:v>1.273945631204239</c:v>
                </c:pt>
                <c:pt idx="1353">
                  <c:v>1.2529507241872599</c:v>
                </c:pt>
                <c:pt idx="1354">
                  <c:v>1.2543824784725155</c:v>
                </c:pt>
                <c:pt idx="1355">
                  <c:v>1.2429273935943024</c:v>
                </c:pt>
                <c:pt idx="1356">
                  <c:v>1.2044404910794568</c:v>
                </c:pt>
                <c:pt idx="1357">
                  <c:v>1.220354951191067</c:v>
                </c:pt>
                <c:pt idx="1358">
                  <c:v>1.199717639193949</c:v>
                </c:pt>
                <c:pt idx="1359">
                  <c:v>1.19979308560929</c:v>
                </c:pt>
                <c:pt idx="1360">
                  <c:v>1.1894643341852877</c:v>
                </c:pt>
                <c:pt idx="1361">
                  <c:v>1.2185744450631317</c:v>
                </c:pt>
                <c:pt idx="1362">
                  <c:v>1.2157542949737525</c:v>
                </c:pt>
                <c:pt idx="1363">
                  <c:v>1.2364121713535756</c:v>
                </c:pt>
                <c:pt idx="1364">
                  <c:v>1.2374389570454745</c:v>
                </c:pt>
                <c:pt idx="1365">
                  <c:v>1.2956690012960641</c:v>
                </c:pt>
                <c:pt idx="1366">
                  <c:v>1.2570628053330208</c:v>
                </c:pt>
                <c:pt idx="1367">
                  <c:v>1.2910539221446395</c:v>
                </c:pt>
                <c:pt idx="1368">
                  <c:v>1.2900486046265274</c:v>
                </c:pt>
                <c:pt idx="1369">
                  <c:v>1.269623167914695</c:v>
                </c:pt>
                <c:pt idx="1370">
                  <c:v>1.2503211541463044</c:v>
                </c:pt>
                <c:pt idx="1371">
                  <c:v>1.2474017133557085</c:v>
                </c:pt>
                <c:pt idx="1372">
                  <c:v>1.248683398578301</c:v>
                </c:pt>
                <c:pt idx="1373">
                  <c:v>1.2409999675826862</c:v>
                </c:pt>
                <c:pt idx="1374">
                  <c:v>1.2519904152987746</c:v>
                </c:pt>
                <c:pt idx="1375">
                  <c:v>1.2395040257639574</c:v>
                </c:pt>
                <c:pt idx="1376">
                  <c:v>1.2195158734174969</c:v>
                </c:pt>
                <c:pt idx="1377">
                  <c:v>1.2634810516252672</c:v>
                </c:pt>
                <c:pt idx="1378">
                  <c:v>1.2299002856507018</c:v>
                </c:pt>
                <c:pt idx="1379">
                  <c:v>1.2692182859820702</c:v>
                </c:pt>
                <c:pt idx="1380">
                  <c:v>1.2728034493548699</c:v>
                </c:pt>
                <c:pt idx="1381">
                  <c:v>1.3180996857632563</c:v>
                </c:pt>
                <c:pt idx="1382">
                  <c:v>1.3315594521885392</c:v>
                </c:pt>
                <c:pt idx="1383">
                  <c:v>1.3164515610700143</c:v>
                </c:pt>
                <c:pt idx="1384">
                  <c:v>1.3131512068128413</c:v>
                </c:pt>
                <c:pt idx="1385">
                  <c:v>1.2904316305420629</c:v>
                </c:pt>
                <c:pt idx="1386">
                  <c:v>1.2932532710140368</c:v>
                </c:pt>
                <c:pt idx="1387">
                  <c:v>1.278594594830994</c:v>
                </c:pt>
                <c:pt idx="1388">
                  <c:v>1.2457146773925654</c:v>
                </c:pt>
                <c:pt idx="1389">
                  <c:v>1.2568965611844281</c:v>
                </c:pt>
                <c:pt idx="1390">
                  <c:v>1.2463406667004264</c:v>
                </c:pt>
                <c:pt idx="1391">
                  <c:v>1.2270034520181134</c:v>
                </c:pt>
                <c:pt idx="1392">
                  <c:v>1.2716943173505211</c:v>
                </c:pt>
                <c:pt idx="1393">
                  <c:v>1.2097532758813867</c:v>
                </c:pt>
                <c:pt idx="1394">
                  <c:v>1.2061942143612776</c:v>
                </c:pt>
                <c:pt idx="1395">
                  <c:v>1.1558568499045474</c:v>
                </c:pt>
                <c:pt idx="1396">
                  <c:v>1.2107461364367635</c:v>
                </c:pt>
                <c:pt idx="1397">
                  <c:v>1.1568975555436996</c:v>
                </c:pt>
                <c:pt idx="1398">
                  <c:v>1.1676637447012106</c:v>
                </c:pt>
                <c:pt idx="1399">
                  <c:v>1.1786132509870646</c:v>
                </c:pt>
                <c:pt idx="1400">
                  <c:v>1.2102569785062129</c:v>
                </c:pt>
                <c:pt idx="1401">
                  <c:v>1.176252768206155</c:v>
                </c:pt>
                <c:pt idx="1402">
                  <c:v>1.1989545733536016</c:v>
                </c:pt>
                <c:pt idx="1403">
                  <c:v>1.1727919336098067</c:v>
                </c:pt>
                <c:pt idx="1404">
                  <c:v>1.1657938935758971</c:v>
                </c:pt>
                <c:pt idx="1405">
                  <c:v>1.180733066663521</c:v>
                </c:pt>
                <c:pt idx="1406">
                  <c:v>1.1768811793655407</c:v>
                </c:pt>
                <c:pt idx="1407">
                  <c:v>1.1694494726004694</c:v>
                </c:pt>
                <c:pt idx="1408">
                  <c:v>1.1891861894183968</c:v>
                </c:pt>
                <c:pt idx="1409">
                  <c:v>1.1795783875664185</c:v>
                </c:pt>
                <c:pt idx="1410">
                  <c:v>1.1264696148158846</c:v>
                </c:pt>
                <c:pt idx="1411">
                  <c:v>1.0597720422851296</c:v>
                </c:pt>
                <c:pt idx="1412">
                  <c:v>1.0306132534374466</c:v>
                </c:pt>
                <c:pt idx="1413">
                  <c:v>1.0709218823802782</c:v>
                </c:pt>
                <c:pt idx="1414">
                  <c:v>1.0373179940064927</c:v>
                </c:pt>
                <c:pt idx="1415">
                  <c:v>1.0700426997603152</c:v>
                </c:pt>
                <c:pt idx="1416">
                  <c:v>1.0736721818241297</c:v>
                </c:pt>
                <c:pt idx="1417">
                  <c:v>1.0742300637596474</c:v>
                </c:pt>
                <c:pt idx="1418">
                  <c:v>1.0655020941526472</c:v>
                </c:pt>
                <c:pt idx="1419">
                  <c:v>1.0639149672183688</c:v>
                </c:pt>
                <c:pt idx="1420">
                  <c:v>1.1116224551342146</c:v>
                </c:pt>
                <c:pt idx="1421">
                  <c:v>1.1110118097389015</c:v>
                </c:pt>
                <c:pt idx="1422">
                  <c:v>1.0683823845141909</c:v>
                </c:pt>
                <c:pt idx="1423">
                  <c:v>1.0690225420459094</c:v>
                </c:pt>
                <c:pt idx="1424">
                  <c:v>1.1046239803349527</c:v>
                </c:pt>
                <c:pt idx="1425">
                  <c:v>1.1399836659446874</c:v>
                </c:pt>
                <c:pt idx="1426">
                  <c:v>1.0760966606158138</c:v>
                </c:pt>
                <c:pt idx="1427">
                  <c:v>1.0772073835276272</c:v>
                </c:pt>
                <c:pt idx="1428">
                  <c:v>1.0687980143143507</c:v>
                </c:pt>
                <c:pt idx="1429">
                  <c:v>1.0594523091684207</c:v>
                </c:pt>
                <c:pt idx="1430">
                  <c:v>1.0599412258700247</c:v>
                </c:pt>
                <c:pt idx="1431">
                  <c:v>1.0710500272720878</c:v>
                </c:pt>
                <c:pt idx="1432">
                  <c:v>1.0283042619635558</c:v>
                </c:pt>
                <c:pt idx="1433">
                  <c:v>1.0314560626587068</c:v>
                </c:pt>
                <c:pt idx="1434">
                  <c:v>1.0290172188946154</c:v>
                </c:pt>
                <c:pt idx="1435">
                  <c:v>1.0134903840790448</c:v>
                </c:pt>
                <c:pt idx="1436">
                  <c:v>1.0135677284867968</c:v>
                </c:pt>
                <c:pt idx="1437">
                  <c:v>1.0407389063854426</c:v>
                </c:pt>
                <c:pt idx="1438">
                  <c:v>1.0031857301593767</c:v>
                </c:pt>
                <c:pt idx="1439">
                  <c:v>0.97396358118323101</c:v>
                </c:pt>
                <c:pt idx="1440">
                  <c:v>1.0435300941857231</c:v>
                </c:pt>
                <c:pt idx="1441">
                  <c:v>1.0397570450079565</c:v>
                </c:pt>
                <c:pt idx="1442">
                  <c:v>1.0341971176525873</c:v>
                </c:pt>
                <c:pt idx="1443">
                  <c:v>0.99385034373748959</c:v>
                </c:pt>
                <c:pt idx="1444">
                  <c:v>1.0602136522917194</c:v>
                </c:pt>
                <c:pt idx="1445">
                  <c:v>1.0125500413346968</c:v>
                </c:pt>
                <c:pt idx="1446">
                  <c:v>1.0116973901297772</c:v>
                </c:pt>
                <c:pt idx="1447">
                  <c:v>1.0439934381262053</c:v>
                </c:pt>
                <c:pt idx="1448">
                  <c:v>1.0528508097476141</c:v>
                </c:pt>
                <c:pt idx="1449">
                  <c:v>1.0540174375316043</c:v>
                </c:pt>
                <c:pt idx="1450">
                  <c:v>1.0130142230452415</c:v>
                </c:pt>
                <c:pt idx="1451">
                  <c:v>1.0562036223920193</c:v>
                </c:pt>
                <c:pt idx="1452">
                  <c:v>1.055131086261514</c:v>
                </c:pt>
                <c:pt idx="1453">
                  <c:v>1.0513746338435483</c:v>
                </c:pt>
                <c:pt idx="1454">
                  <c:v>1.011801397985552</c:v>
                </c:pt>
                <c:pt idx="1455">
                  <c:v>0.9816547722870923</c:v>
                </c:pt>
                <c:pt idx="1456">
                  <c:v>0.98053797103614415</c:v>
                </c:pt>
                <c:pt idx="1457">
                  <c:v>1.0134933895071603</c:v>
                </c:pt>
                <c:pt idx="1458">
                  <c:v>1.0209916860525874</c:v>
                </c:pt>
                <c:pt idx="1459">
                  <c:v>1.0482662204638271</c:v>
                </c:pt>
                <c:pt idx="1460">
                  <c:v>0.99377146474324296</c:v>
                </c:pt>
                <c:pt idx="1461">
                  <c:v>1.038360555721451</c:v>
                </c:pt>
                <c:pt idx="1462">
                  <c:v>1.0389860773684683</c:v>
                </c:pt>
                <c:pt idx="1463">
                  <c:v>1.0678647725315191</c:v>
                </c:pt>
                <c:pt idx="1464">
                  <c:v>1.0671408249288772</c:v>
                </c:pt>
                <c:pt idx="1465">
                  <c:v>1.0301467365625998</c:v>
                </c:pt>
                <c:pt idx="1466">
                  <c:v>1.0528647291703879</c:v>
                </c:pt>
                <c:pt idx="1467">
                  <c:v>1.039868526172486</c:v>
                </c:pt>
                <c:pt idx="1468">
                  <c:v>1.0446054636620676</c:v>
                </c:pt>
                <c:pt idx="1469">
                  <c:v>1.0419378497581417</c:v>
                </c:pt>
                <c:pt idx="1470">
                  <c:v>1.0016026812236889</c:v>
                </c:pt>
                <c:pt idx="1471">
                  <c:v>1.0225272387682336</c:v>
                </c:pt>
                <c:pt idx="1472">
                  <c:v>1.0423332028421268</c:v>
                </c:pt>
                <c:pt idx="1473">
                  <c:v>1.0739742499963267</c:v>
                </c:pt>
                <c:pt idx="1474">
                  <c:v>1.0287251344741464</c:v>
                </c:pt>
                <c:pt idx="1475">
                  <c:v>1.0693107136369908</c:v>
                </c:pt>
                <c:pt idx="1476">
                  <c:v>1.0431528248976532</c:v>
                </c:pt>
                <c:pt idx="1477">
                  <c:v>0.99073431491930308</c:v>
                </c:pt>
                <c:pt idx="1478">
                  <c:v>0.96993239484755456</c:v>
                </c:pt>
                <c:pt idx="1479">
                  <c:v>0.98414143689618705</c:v>
                </c:pt>
                <c:pt idx="1480">
                  <c:v>0.9848195470388903</c:v>
                </c:pt>
                <c:pt idx="1481">
                  <c:v>1.0344644902601514</c:v>
                </c:pt>
                <c:pt idx="1482">
                  <c:v>1.0651978392681845</c:v>
                </c:pt>
                <c:pt idx="1483">
                  <c:v>1.1032089557286957</c:v>
                </c:pt>
                <c:pt idx="1484">
                  <c:v>1.1062723989550018</c:v>
                </c:pt>
                <c:pt idx="1485">
                  <c:v>1.1683176331606155</c:v>
                </c:pt>
                <c:pt idx="1486">
                  <c:v>1.1869954342454481</c:v>
                </c:pt>
                <c:pt idx="1487">
                  <c:v>1.152162434668857</c:v>
                </c:pt>
                <c:pt idx="1488">
                  <c:v>1.181298185175466</c:v>
                </c:pt>
                <c:pt idx="1489">
                  <c:v>1.1641919895385582</c:v>
                </c:pt>
                <c:pt idx="1490">
                  <c:v>1.1639127924830737</c:v>
                </c:pt>
                <c:pt idx="1491">
                  <c:v>1.1414733371000585</c:v>
                </c:pt>
                <c:pt idx="1492">
                  <c:v>1.1392003648456082</c:v>
                </c:pt>
                <c:pt idx="1493">
                  <c:v>1.1151176939069554</c:v>
                </c:pt>
                <c:pt idx="1494">
                  <c:v>1.1464538528792199</c:v>
                </c:pt>
                <c:pt idx="1495">
                  <c:v>1.1573940208676685</c:v>
                </c:pt>
                <c:pt idx="1496">
                  <c:v>1.1324789206634818</c:v>
                </c:pt>
                <c:pt idx="1497">
                  <c:v>1.1539053627602633</c:v>
                </c:pt>
                <c:pt idx="1498">
                  <c:v>1.1533294631520998</c:v>
                </c:pt>
                <c:pt idx="1499">
                  <c:v>1.1940787339989372</c:v>
                </c:pt>
                <c:pt idx="1500">
                  <c:v>1.2010328888086281</c:v>
                </c:pt>
                <c:pt idx="1501">
                  <c:v>1.2464568635310558</c:v>
                </c:pt>
                <c:pt idx="1502">
                  <c:v>1.264421361457621</c:v>
                </c:pt>
                <c:pt idx="1503">
                  <c:v>1.2232825633863404</c:v>
                </c:pt>
                <c:pt idx="1504">
                  <c:v>1.2238642400858513</c:v>
                </c:pt>
                <c:pt idx="1505">
                  <c:v>1.2073943160719109</c:v>
                </c:pt>
                <c:pt idx="1506">
                  <c:v>1.232751151814043</c:v>
                </c:pt>
                <c:pt idx="1507">
                  <c:v>1.2475568768274812</c:v>
                </c:pt>
                <c:pt idx="1508">
                  <c:v>1.2500981570656158</c:v>
                </c:pt>
                <c:pt idx="1509">
                  <c:v>1.2571354502319485</c:v>
                </c:pt>
                <c:pt idx="1510">
                  <c:v>1.2655501279826022</c:v>
                </c:pt>
                <c:pt idx="1511">
                  <c:v>1.2403874070387164</c:v>
                </c:pt>
                <c:pt idx="1512">
                  <c:v>1.2184303073188483</c:v>
                </c:pt>
                <c:pt idx="1513">
                  <c:v>1.2090125637520663</c:v>
                </c:pt>
                <c:pt idx="1514">
                  <c:v>1.2021460216925661</c:v>
                </c:pt>
                <c:pt idx="1515">
                  <c:v>1.1684162087122931</c:v>
                </c:pt>
                <c:pt idx="1516">
                  <c:v>1.2006050198933469</c:v>
                </c:pt>
                <c:pt idx="1517">
                  <c:v>1.2123199475272251</c:v>
                </c:pt>
                <c:pt idx="1518">
                  <c:v>1.2262136844775466</c:v>
                </c:pt>
                <c:pt idx="1519">
                  <c:v>1.2469800300735774</c:v>
                </c:pt>
                <c:pt idx="1520">
                  <c:v>1.2505026115963118</c:v>
                </c:pt>
                <c:pt idx="1521">
                  <c:v>1.2448795814912361</c:v>
                </c:pt>
                <c:pt idx="1522">
                  <c:v>1.2551085953840404</c:v>
                </c:pt>
                <c:pt idx="1523">
                  <c:v>1.2551678918700921</c:v>
                </c:pt>
                <c:pt idx="1524">
                  <c:v>1.247578850616565</c:v>
                </c:pt>
                <c:pt idx="1525">
                  <c:v>1.2597221459740529</c:v>
                </c:pt>
                <c:pt idx="1526">
                  <c:v>1.2706492593276431</c:v>
                </c:pt>
                <c:pt idx="1527">
                  <c:v>1.268679692010376</c:v>
                </c:pt>
                <c:pt idx="1528">
                  <c:v>1.2820934748141111</c:v>
                </c:pt>
                <c:pt idx="1529">
                  <c:v>1.255863306127766</c:v>
                </c:pt>
                <c:pt idx="1530">
                  <c:v>1.2560329814836531</c:v>
                </c:pt>
                <c:pt idx="1531">
                  <c:v>1.2213926477591068</c:v>
                </c:pt>
                <c:pt idx="1532">
                  <c:v>1.2198777025568603</c:v>
                </c:pt>
                <c:pt idx="1533">
                  <c:v>1.2129626028291518</c:v>
                </c:pt>
                <c:pt idx="1534">
                  <c:v>1.2395079205303503</c:v>
                </c:pt>
                <c:pt idx="1535">
                  <c:v>1.2515131531125809</c:v>
                </c:pt>
                <c:pt idx="1536">
                  <c:v>1.2253814325231209</c:v>
                </c:pt>
                <c:pt idx="1537">
                  <c:v>1.2295447713798746</c:v>
                </c:pt>
                <c:pt idx="1538">
                  <c:v>1.24739544744193</c:v>
                </c:pt>
                <c:pt idx="1539">
                  <c:v>1.2253099068464655</c:v>
                </c:pt>
                <c:pt idx="1540">
                  <c:v>1.217141223778363</c:v>
                </c:pt>
                <c:pt idx="1541">
                  <c:v>1.1884250661825655</c:v>
                </c:pt>
                <c:pt idx="1542">
                  <c:v>1.206130127746369</c:v>
                </c:pt>
                <c:pt idx="1543">
                  <c:v>1.1643221598655695</c:v>
                </c:pt>
                <c:pt idx="1544">
                  <c:v>1.1336907482394303</c:v>
                </c:pt>
                <c:pt idx="1545">
                  <c:v>1.1090403846175507</c:v>
                </c:pt>
                <c:pt idx="1546">
                  <c:v>1.1222717109075899</c:v>
                </c:pt>
                <c:pt idx="1547">
                  <c:v>1.1178754480000803</c:v>
                </c:pt>
                <c:pt idx="1548">
                  <c:v>1.1137811749832762</c:v>
                </c:pt>
                <c:pt idx="1549">
                  <c:v>1.0770316807686351</c:v>
                </c:pt>
                <c:pt idx="1550">
                  <c:v>1.1142651307517415</c:v>
                </c:pt>
                <c:pt idx="1551">
                  <c:v>1.1538290078301658</c:v>
                </c:pt>
                <c:pt idx="1552">
                  <c:v>1.181190515743654</c:v>
                </c:pt>
                <c:pt idx="1553">
                  <c:v>1.1919163069438312</c:v>
                </c:pt>
                <c:pt idx="1554">
                  <c:v>1.1872358024313088</c:v>
                </c:pt>
                <c:pt idx="1555">
                  <c:v>1.1524979866339911</c:v>
                </c:pt>
                <c:pt idx="1556">
                  <c:v>1.1515199350942824</c:v>
                </c:pt>
                <c:pt idx="1557">
                  <c:v>1.1409992092031875</c:v>
                </c:pt>
                <c:pt idx="1558">
                  <c:v>1.1498716070256185</c:v>
                </c:pt>
                <c:pt idx="1559">
                  <c:v>1.1448575678112596</c:v>
                </c:pt>
                <c:pt idx="1560">
                  <c:v>1.1324328403623036</c:v>
                </c:pt>
                <c:pt idx="1561">
                  <c:v>1.1217478664397222</c:v>
                </c:pt>
                <c:pt idx="1562">
                  <c:v>1.0948449740677351</c:v>
                </c:pt>
                <c:pt idx="1563">
                  <c:v>1.0969259030497953</c:v>
                </c:pt>
                <c:pt idx="1564">
                  <c:v>1.0698493287406861</c:v>
                </c:pt>
                <c:pt idx="1565">
                  <c:v>1.0508869269970644</c:v>
                </c:pt>
                <c:pt idx="1566">
                  <c:v>1.050740078536875</c:v>
                </c:pt>
                <c:pt idx="1567">
                  <c:v>1.0623701543377366</c:v>
                </c:pt>
                <c:pt idx="1568">
                  <c:v>1.0555066877173691</c:v>
                </c:pt>
                <c:pt idx="1569">
                  <c:v>1.0377919198786998</c:v>
                </c:pt>
                <c:pt idx="1570">
                  <c:v>1.0268723297514619</c:v>
                </c:pt>
                <c:pt idx="1571">
                  <c:v>1.0308115316550857</c:v>
                </c:pt>
                <c:pt idx="1572">
                  <c:v>1.012742719594643</c:v>
                </c:pt>
                <c:pt idx="1573">
                  <c:v>1.0108594840786349</c:v>
                </c:pt>
                <c:pt idx="1574">
                  <c:v>1.063184546214976</c:v>
                </c:pt>
                <c:pt idx="1575">
                  <c:v>1.0704112970384729</c:v>
                </c:pt>
                <c:pt idx="1576">
                  <c:v>1.0729602407176697</c:v>
                </c:pt>
                <c:pt idx="1577">
                  <c:v>1.0771183885666913</c:v>
                </c:pt>
                <c:pt idx="1578">
                  <c:v>1.0395675493469254</c:v>
                </c:pt>
                <c:pt idx="1579">
                  <c:v>1.0281041585946147</c:v>
                </c:pt>
                <c:pt idx="1580">
                  <c:v>0.9987419672975496</c:v>
                </c:pt>
                <c:pt idx="1581">
                  <c:v>0.95397950531011089</c:v>
                </c:pt>
                <c:pt idx="1582">
                  <c:v>0.9308864271380719</c:v>
                </c:pt>
                <c:pt idx="1583">
                  <c:v>0.93381949571355194</c:v>
                </c:pt>
                <c:pt idx="1584">
                  <c:v>0.94838786381410645</c:v>
                </c:pt>
                <c:pt idx="1585">
                  <c:v>0.97051923536161588</c:v>
                </c:pt>
                <c:pt idx="1586">
                  <c:v>1.0093847562782465</c:v>
                </c:pt>
                <c:pt idx="1587">
                  <c:v>1.0681162384546792</c:v>
                </c:pt>
                <c:pt idx="1588">
                  <c:v>1.0200476098872937</c:v>
                </c:pt>
                <c:pt idx="1589">
                  <c:v>1.0007572420278874</c:v>
                </c:pt>
                <c:pt idx="1590">
                  <c:v>1.057149496273476</c:v>
                </c:pt>
                <c:pt idx="1591">
                  <c:v>1.1060845824114336</c:v>
                </c:pt>
                <c:pt idx="1592">
                  <c:v>1.133045737681476</c:v>
                </c:pt>
                <c:pt idx="1593">
                  <c:v>1.1367728065858642</c:v>
                </c:pt>
                <c:pt idx="1594">
                  <c:v>1.1789859757581862</c:v>
                </c:pt>
                <c:pt idx="1595">
                  <c:v>1.1730140468140133</c:v>
                </c:pt>
                <c:pt idx="1596">
                  <c:v>1.1925634034567587</c:v>
                </c:pt>
                <c:pt idx="1597">
                  <c:v>1.1862304344764389</c:v>
                </c:pt>
                <c:pt idx="1598">
                  <c:v>1.170630491285118</c:v>
                </c:pt>
                <c:pt idx="1599">
                  <c:v>1.1707459553438668</c:v>
                </c:pt>
                <c:pt idx="1600">
                  <c:v>1.2071113519853727</c:v>
                </c:pt>
                <c:pt idx="1601">
                  <c:v>1.2181670798715416</c:v>
                </c:pt>
                <c:pt idx="1602">
                  <c:v>1.2361220878586201</c:v>
                </c:pt>
                <c:pt idx="1603">
                  <c:v>1.247418668023424</c:v>
                </c:pt>
                <c:pt idx="1604">
                  <c:v>1.1984931151769025</c:v>
                </c:pt>
                <c:pt idx="1605">
                  <c:v>1.1609790260166521</c:v>
                </c:pt>
                <c:pt idx="1606">
                  <c:v>1.1081476726356536</c:v>
                </c:pt>
                <c:pt idx="1607">
                  <c:v>1.1549637502397274</c:v>
                </c:pt>
                <c:pt idx="1608">
                  <c:v>1.1612268581513061</c:v>
                </c:pt>
                <c:pt idx="1609">
                  <c:v>1.1679759976277264</c:v>
                </c:pt>
                <c:pt idx="1610">
                  <c:v>1.1699582957495123</c:v>
                </c:pt>
                <c:pt idx="1611">
                  <c:v>1.1268950322869933</c:v>
                </c:pt>
                <c:pt idx="1612">
                  <c:v>1.1551369028681477</c:v>
                </c:pt>
                <c:pt idx="1613">
                  <c:v>1.1572564166134933</c:v>
                </c:pt>
                <c:pt idx="1614">
                  <c:v>1.1268368911738496</c:v>
                </c:pt>
                <c:pt idx="1615">
                  <c:v>1.0914106131226606</c:v>
                </c:pt>
                <c:pt idx="1616">
                  <c:v>1.0803247702405991</c:v>
                </c:pt>
                <c:pt idx="1617">
                  <c:v>1.0526042690044717</c:v>
                </c:pt>
                <c:pt idx="1618">
                  <c:v>1.0738841308245424</c:v>
                </c:pt>
                <c:pt idx="1619">
                  <c:v>1.0734756099033982</c:v>
                </c:pt>
                <c:pt idx="1620">
                  <c:v>1.0509919233697786</c:v>
                </c:pt>
                <c:pt idx="1621">
                  <c:v>1.0591842447694442</c:v>
                </c:pt>
                <c:pt idx="1622">
                  <c:v>1.0398996414884552</c:v>
                </c:pt>
                <c:pt idx="1623">
                  <c:v>1.0439364603908297</c:v>
                </c:pt>
                <c:pt idx="1624">
                  <c:v>1.0386419625822858</c:v>
                </c:pt>
                <c:pt idx="1625">
                  <c:v>1.1044945273379767</c:v>
                </c:pt>
                <c:pt idx="1626">
                  <c:v>1.0877229722534207</c:v>
                </c:pt>
                <c:pt idx="1627">
                  <c:v>1.0780732600445055</c:v>
                </c:pt>
                <c:pt idx="1628">
                  <c:v>1.1233795993064546</c:v>
                </c:pt>
                <c:pt idx="1629">
                  <c:v>1.1424237694330053</c:v>
                </c:pt>
                <c:pt idx="1630">
                  <c:v>1.0774503748873201</c:v>
                </c:pt>
                <c:pt idx="1631">
                  <c:v>1.1133022743275915</c:v>
                </c:pt>
                <c:pt idx="1632">
                  <c:v>1.1450949365852174</c:v>
                </c:pt>
                <c:pt idx="1633">
                  <c:v>1.1420850059954115</c:v>
                </c:pt>
                <c:pt idx="1634">
                  <c:v>1.1416984725832167</c:v>
                </c:pt>
                <c:pt idx="1635">
                  <c:v>1.1982679549892097</c:v>
                </c:pt>
                <c:pt idx="1636">
                  <c:v>1.2000940576165005</c:v>
                </c:pt>
                <c:pt idx="1637">
                  <c:v>1.1600741157456229</c:v>
                </c:pt>
                <c:pt idx="1638">
                  <c:v>1.1769473469409175</c:v>
                </c:pt>
                <c:pt idx="1639">
                  <c:v>1.2389170280123081</c:v>
                </c:pt>
                <c:pt idx="1640">
                  <c:v>1.2235289079158473</c:v>
                </c:pt>
                <c:pt idx="1641">
                  <c:v>1.2162654353369584</c:v>
                </c:pt>
                <c:pt idx="1642">
                  <c:v>1.2061735831312494</c:v>
                </c:pt>
                <c:pt idx="1643">
                  <c:v>1.2008581222963253</c:v>
                </c:pt>
                <c:pt idx="1644">
                  <c:v>1.1581688380677762</c:v>
                </c:pt>
                <c:pt idx="1645">
                  <c:v>1.1421325586853717</c:v>
                </c:pt>
                <c:pt idx="1646">
                  <c:v>1.1407793262784729</c:v>
                </c:pt>
                <c:pt idx="1647">
                  <c:v>1.1325558523184134</c:v>
                </c:pt>
                <c:pt idx="1648">
                  <c:v>1.1819635426238631</c:v>
                </c:pt>
                <c:pt idx="1649">
                  <c:v>1.2026670075438506</c:v>
                </c:pt>
                <c:pt idx="1650">
                  <c:v>1.2215763793454386</c:v>
                </c:pt>
                <c:pt idx="1651">
                  <c:v>1.2185887824404313</c:v>
                </c:pt>
                <c:pt idx="1652">
                  <c:v>1.2425411485126452</c:v>
                </c:pt>
                <c:pt idx="1653">
                  <c:v>1.2538678091244784</c:v>
                </c:pt>
                <c:pt idx="1654">
                  <c:v>1.2335727478093577</c:v>
                </c:pt>
                <c:pt idx="1655">
                  <c:v>1.2233543485306964</c:v>
                </c:pt>
                <c:pt idx="1656">
                  <c:v>1.206043212279335</c:v>
                </c:pt>
                <c:pt idx="1657">
                  <c:v>1.2214122220167742</c:v>
                </c:pt>
                <c:pt idx="1658">
                  <c:v>1.1678686747144602</c:v>
                </c:pt>
                <c:pt idx="1659">
                  <c:v>1.1983722676839708</c:v>
                </c:pt>
                <c:pt idx="1660">
                  <c:v>1.1933983158316777</c:v>
                </c:pt>
                <c:pt idx="1661">
                  <c:v>1.1281505565131451</c:v>
                </c:pt>
                <c:pt idx="1662">
                  <c:v>1.1652803421761084</c:v>
                </c:pt>
                <c:pt idx="1663">
                  <c:v>1.1673444172589968</c:v>
                </c:pt>
                <c:pt idx="1664">
                  <c:v>1.1788736100641777</c:v>
                </c:pt>
                <c:pt idx="1665">
                  <c:v>1.1748487307861744</c:v>
                </c:pt>
                <c:pt idx="1666">
                  <c:v>1.2055210158019767</c:v>
                </c:pt>
                <c:pt idx="1667">
                  <c:v>1.1927503713165895</c:v>
                </c:pt>
                <c:pt idx="1668">
                  <c:v>1.1979722330940594</c:v>
                </c:pt>
                <c:pt idx="1669">
                  <c:v>1.16504175841494</c:v>
                </c:pt>
                <c:pt idx="1670">
                  <c:v>1.1492214255997284</c:v>
                </c:pt>
                <c:pt idx="1671">
                  <c:v>1.1391303397919323</c:v>
                </c:pt>
                <c:pt idx="1672">
                  <c:v>1.1124479065680275</c:v>
                </c:pt>
                <c:pt idx="1673">
                  <c:v>1.126102218671357</c:v>
                </c:pt>
                <c:pt idx="1674">
                  <c:v>1.1491416586844889</c:v>
                </c:pt>
                <c:pt idx="1675">
                  <c:v>1.1515908037624933</c:v>
                </c:pt>
                <c:pt idx="1676">
                  <c:v>1.1649717573410523</c:v>
                </c:pt>
                <c:pt idx="1677">
                  <c:v>1.203891630285411</c:v>
                </c:pt>
                <c:pt idx="1678">
                  <c:v>1.2004380905300376</c:v>
                </c:pt>
                <c:pt idx="1679">
                  <c:v>1.2077965117490215</c:v>
                </c:pt>
                <c:pt idx="1680">
                  <c:v>1.2191339021060683</c:v>
                </c:pt>
                <c:pt idx="1681">
                  <c:v>1.2054190381237826</c:v>
                </c:pt>
                <c:pt idx="1682">
                  <c:v>1.1935006464612614</c:v>
                </c:pt>
                <c:pt idx="1683">
                  <c:v>1.2109168655082869</c:v>
                </c:pt>
                <c:pt idx="1684">
                  <c:v>1.210454697505299</c:v>
                </c:pt>
                <c:pt idx="1685">
                  <c:v>1.1885904430792427</c:v>
                </c:pt>
                <c:pt idx="1686">
                  <c:v>1.1737943190560582</c:v>
                </c:pt>
                <c:pt idx="1687">
                  <c:v>1.1774826547762181</c:v>
                </c:pt>
                <c:pt idx="1688">
                  <c:v>1.2040326875312308</c:v>
                </c:pt>
                <c:pt idx="1689">
                  <c:v>1.1826642920060648</c:v>
                </c:pt>
                <c:pt idx="1690">
                  <c:v>1.2279187138471717</c:v>
                </c:pt>
                <c:pt idx="1691">
                  <c:v>1.238619736067011</c:v>
                </c:pt>
                <c:pt idx="1692">
                  <c:v>1.1859258956128147</c:v>
                </c:pt>
                <c:pt idx="1693">
                  <c:v>1.186631279338046</c:v>
                </c:pt>
                <c:pt idx="1694">
                  <c:v>1.1969281083472487</c:v>
                </c:pt>
                <c:pt idx="1695">
                  <c:v>1.1581934009581418</c:v>
                </c:pt>
                <c:pt idx="1696">
                  <c:v>1.1680881324016055</c:v>
                </c:pt>
                <c:pt idx="1697">
                  <c:v>1.1654543290508845</c:v>
                </c:pt>
                <c:pt idx="1698">
                  <c:v>1.1142770451433219</c:v>
                </c:pt>
                <c:pt idx="1699">
                  <c:v>1.1087654934837343</c:v>
                </c:pt>
                <c:pt idx="1700">
                  <c:v>1.2204676416717548</c:v>
                </c:pt>
                <c:pt idx="1701">
                  <c:v>1.1580868091258374</c:v>
                </c:pt>
                <c:pt idx="1702">
                  <c:v>1.1592867902589783</c:v>
                </c:pt>
                <c:pt idx="1703">
                  <c:v>1.1803070416818149</c:v>
                </c:pt>
                <c:pt idx="1704">
                  <c:v>1.2210642145652919</c:v>
                </c:pt>
                <c:pt idx="1705">
                  <c:v>1.2303955069197363</c:v>
                </c:pt>
                <c:pt idx="1706">
                  <c:v>1.2654091156163909</c:v>
                </c:pt>
                <c:pt idx="1707">
                  <c:v>1.242672130124638</c:v>
                </c:pt>
                <c:pt idx="1708">
                  <c:v>1.3105805066335356</c:v>
                </c:pt>
                <c:pt idx="1709">
                  <c:v>1.3474475231288996</c:v>
                </c:pt>
                <c:pt idx="1710">
                  <c:v>1.3633090659111018</c:v>
                </c:pt>
                <c:pt idx="1711">
                  <c:v>1.3546495496248652</c:v>
                </c:pt>
                <c:pt idx="1712">
                  <c:v>1.3927168520144559</c:v>
                </c:pt>
                <c:pt idx="1713">
                  <c:v>1.4226898596607793</c:v>
                </c:pt>
                <c:pt idx="1714">
                  <c:v>1.4144133262491783</c:v>
                </c:pt>
                <c:pt idx="1715">
                  <c:v>1.3611670533503359</c:v>
                </c:pt>
                <c:pt idx="1716">
                  <c:v>1.3585106787831354</c:v>
                </c:pt>
                <c:pt idx="1717">
                  <c:v>1.3618939229878599</c:v>
                </c:pt>
                <c:pt idx="1718">
                  <c:v>1.2848149828788127</c:v>
                </c:pt>
                <c:pt idx="1719">
                  <c:v>1.288644302331343</c:v>
                </c:pt>
                <c:pt idx="1720">
                  <c:v>1.1550916767119372</c:v>
                </c:pt>
                <c:pt idx="1721">
                  <c:v>1.0895938819515305</c:v>
                </c:pt>
                <c:pt idx="1722">
                  <c:v>1.0227832210402059</c:v>
                </c:pt>
                <c:pt idx="1723">
                  <c:v>1.021122044559345</c:v>
                </c:pt>
                <c:pt idx="1724">
                  <c:v>1.0265319922118756</c:v>
                </c:pt>
                <c:pt idx="1725">
                  <c:v>0.9543220497885625</c:v>
                </c:pt>
                <c:pt idx="1726">
                  <c:v>0.954322832675357</c:v>
                </c:pt>
                <c:pt idx="1727">
                  <c:v>0.95608661176454202</c:v>
                </c:pt>
                <c:pt idx="1728">
                  <c:v>0.93960770733224652</c:v>
                </c:pt>
                <c:pt idx="1729">
                  <c:v>0.92585965024620387</c:v>
                </c:pt>
                <c:pt idx="1730">
                  <c:v>0.91372051110489627</c:v>
                </c:pt>
                <c:pt idx="1731">
                  <c:v>0.88570440828222963</c:v>
                </c:pt>
                <c:pt idx="1732">
                  <c:v>0.88231904464979327</c:v>
                </c:pt>
                <c:pt idx="1733">
                  <c:v>0.88142811235028073</c:v>
                </c:pt>
                <c:pt idx="1734">
                  <c:v>0.93288552475577102</c:v>
                </c:pt>
                <c:pt idx="1735">
                  <c:v>0.93397703582490466</c:v>
                </c:pt>
                <c:pt idx="1736">
                  <c:v>0.93752455906529431</c:v>
                </c:pt>
                <c:pt idx="1737">
                  <c:v>0.90004495417741737</c:v>
                </c:pt>
                <c:pt idx="1738">
                  <c:v>0.88149226921718082</c:v>
                </c:pt>
                <c:pt idx="1739">
                  <c:v>0.89416473578007072</c:v>
                </c:pt>
                <c:pt idx="1740">
                  <c:v>0.89260441612069152</c:v>
                </c:pt>
                <c:pt idx="1741">
                  <c:v>0.87992293288451784</c:v>
                </c:pt>
                <c:pt idx="1742">
                  <c:v>0.8622941866717041</c:v>
                </c:pt>
                <c:pt idx="1743">
                  <c:v>0.88216009702412201</c:v>
                </c:pt>
                <c:pt idx="1744">
                  <c:v>0.97658918526758653</c:v>
                </c:pt>
                <c:pt idx="1745">
                  <c:v>1.0541522169742485</c:v>
                </c:pt>
                <c:pt idx="1746">
                  <c:v>1.0460717981556289</c:v>
                </c:pt>
                <c:pt idx="1747">
                  <c:v>1.2026224218993973</c:v>
                </c:pt>
                <c:pt idx="1748">
                  <c:v>1.1899101192754109</c:v>
                </c:pt>
                <c:pt idx="1749">
                  <c:v>1.187232075038406</c:v>
                </c:pt>
                <c:pt idx="1750">
                  <c:v>1.1893205343108024</c:v>
                </c:pt>
                <c:pt idx="1751">
                  <c:v>1.176498848375928</c:v>
                </c:pt>
                <c:pt idx="1752">
                  <c:v>1.1821654103683055</c:v>
                </c:pt>
                <c:pt idx="1753">
                  <c:v>1.1509316565986529</c:v>
                </c:pt>
                <c:pt idx="1754">
                  <c:v>1.1505498935166889</c:v>
                </c:pt>
                <c:pt idx="1755">
                  <c:v>1.1261314106368703</c:v>
                </c:pt>
                <c:pt idx="1756">
                  <c:v>1.1255202628424621</c:v>
                </c:pt>
                <c:pt idx="1757">
                  <c:v>1.0925152356969143</c:v>
                </c:pt>
                <c:pt idx="1758">
                  <c:v>1.111860613111421</c:v>
                </c:pt>
                <c:pt idx="1759">
                  <c:v>1.1134088177315187</c:v>
                </c:pt>
                <c:pt idx="1760">
                  <c:v>1.1124883571649573</c:v>
                </c:pt>
                <c:pt idx="1761">
                  <c:v>1.081252147695694</c:v>
                </c:pt>
                <c:pt idx="1762">
                  <c:v>1.1828076863922152</c:v>
                </c:pt>
                <c:pt idx="1763">
                  <c:v>1.1845899431167448</c:v>
                </c:pt>
                <c:pt idx="1764">
                  <c:v>1.2034586651068198</c:v>
                </c:pt>
                <c:pt idx="1765">
                  <c:v>1.1931000863682617</c:v>
                </c:pt>
                <c:pt idx="1766">
                  <c:v>1.1900933992130929</c:v>
                </c:pt>
                <c:pt idx="1767">
                  <c:v>1.1656553087643768</c:v>
                </c:pt>
                <c:pt idx="1768">
                  <c:v>1.1702111510026874</c:v>
                </c:pt>
                <c:pt idx="1769">
                  <c:v>1.1881582386197553</c:v>
                </c:pt>
                <c:pt idx="1770">
                  <c:v>1.1949626551179062</c:v>
                </c:pt>
                <c:pt idx="1771">
                  <c:v>1.1956280992533326</c:v>
                </c:pt>
                <c:pt idx="1772">
                  <c:v>1.1742517304380615</c:v>
                </c:pt>
                <c:pt idx="1773">
                  <c:v>1.1975329045463696</c:v>
                </c:pt>
                <c:pt idx="1774">
                  <c:v>1.2185840662165175</c:v>
                </c:pt>
                <c:pt idx="1775">
                  <c:v>1.2223294136206893</c:v>
                </c:pt>
                <c:pt idx="1776">
                  <c:v>1.2475174888784009</c:v>
                </c:pt>
                <c:pt idx="1777">
                  <c:v>1.1759273181074008</c:v>
                </c:pt>
                <c:pt idx="1778">
                  <c:v>1.1806594689448755</c:v>
                </c:pt>
                <c:pt idx="1779">
                  <c:v>1.1684445402663155</c:v>
                </c:pt>
                <c:pt idx="1780">
                  <c:v>1.1925467773181706</c:v>
                </c:pt>
                <c:pt idx="1781">
                  <c:v>1.1852998553642184</c:v>
                </c:pt>
                <c:pt idx="1782">
                  <c:v>1.1815226879196885</c:v>
                </c:pt>
                <c:pt idx="1783">
                  <c:v>1.129869079996012</c:v>
                </c:pt>
                <c:pt idx="1784">
                  <c:v>1.1172748043815128</c:v>
                </c:pt>
                <c:pt idx="1785">
                  <c:v>1.1030286935753644</c:v>
                </c:pt>
                <c:pt idx="1786">
                  <c:v>1.0956017083996705</c:v>
                </c:pt>
                <c:pt idx="1787">
                  <c:v>1.1633918405733488</c:v>
                </c:pt>
                <c:pt idx="1788">
                  <c:v>1.163809094824148</c:v>
                </c:pt>
                <c:pt idx="1789">
                  <c:v>1.1793888929948173</c:v>
                </c:pt>
                <c:pt idx="1790">
                  <c:v>1.1650028858925334</c:v>
                </c:pt>
                <c:pt idx="1791">
                  <c:v>1.1111754674848746</c:v>
                </c:pt>
                <c:pt idx="1792">
                  <c:v>1.0958848836264323</c:v>
                </c:pt>
                <c:pt idx="1793">
                  <c:v>1.1163714312063848</c:v>
                </c:pt>
                <c:pt idx="1794">
                  <c:v>1.1171005676128352</c:v>
                </c:pt>
                <c:pt idx="1795">
                  <c:v>1.0568689389053822</c:v>
                </c:pt>
                <c:pt idx="1796">
                  <c:v>1.03721272161744</c:v>
                </c:pt>
                <c:pt idx="1797">
                  <c:v>1.1007556965322849</c:v>
                </c:pt>
                <c:pt idx="1798">
                  <c:v>1.117239825456561</c:v>
                </c:pt>
                <c:pt idx="1799">
                  <c:v>1.1345329688780599</c:v>
                </c:pt>
                <c:pt idx="1800">
                  <c:v>1.1383755819224344</c:v>
                </c:pt>
                <c:pt idx="1801">
                  <c:v>1.1445194243190799</c:v>
                </c:pt>
                <c:pt idx="1802">
                  <c:v>1.1620335425550281</c:v>
                </c:pt>
                <c:pt idx="1803">
                  <c:v>1.1581404040107999</c:v>
                </c:pt>
                <c:pt idx="1804">
                  <c:v>1.1524095695940542</c:v>
                </c:pt>
                <c:pt idx="1805">
                  <c:v>1.181561454713367</c:v>
                </c:pt>
                <c:pt idx="1806">
                  <c:v>1.104743169820193</c:v>
                </c:pt>
                <c:pt idx="1807">
                  <c:v>1.0931427328957359</c:v>
                </c:pt>
                <c:pt idx="1808">
                  <c:v>1.0936876878801778</c:v>
                </c:pt>
                <c:pt idx="1809">
                  <c:v>1.1187205849212021</c:v>
                </c:pt>
                <c:pt idx="1810">
                  <c:v>1.0918662711261797</c:v>
                </c:pt>
                <c:pt idx="1811">
                  <c:v>1.0849387397293528</c:v>
                </c:pt>
                <c:pt idx="1812">
                  <c:v>1.0849506053696423</c:v>
                </c:pt>
                <c:pt idx="1813">
                  <c:v>1.08449808296466</c:v>
                </c:pt>
                <c:pt idx="1814">
                  <c:v>1.0335509596565116</c:v>
                </c:pt>
                <c:pt idx="1815">
                  <c:v>1.0310035285400669</c:v>
                </c:pt>
                <c:pt idx="1816">
                  <c:v>1.0141153780512353</c:v>
                </c:pt>
                <c:pt idx="1817">
                  <c:v>0.89828988230062956</c:v>
                </c:pt>
                <c:pt idx="1818">
                  <c:v>0.89779992907310846</c:v>
                </c:pt>
                <c:pt idx="1819">
                  <c:v>0.90018618763775393</c:v>
                </c:pt>
                <c:pt idx="1820">
                  <c:v>0.97302118676062643</c:v>
                </c:pt>
                <c:pt idx="1821">
                  <c:v>1.0169544910081321</c:v>
                </c:pt>
                <c:pt idx="1822">
                  <c:v>1.0191651417738423</c:v>
                </c:pt>
                <c:pt idx="1823">
                  <c:v>0.98653119215940077</c:v>
                </c:pt>
                <c:pt idx="1824">
                  <c:v>1.0309525224025964</c:v>
                </c:pt>
                <c:pt idx="1825">
                  <c:v>1.0483101344216008</c:v>
                </c:pt>
                <c:pt idx="1826">
                  <c:v>1.0230774512539935</c:v>
                </c:pt>
                <c:pt idx="1827">
                  <c:v>0.98618625691769446</c:v>
                </c:pt>
                <c:pt idx="1828">
                  <c:v>0.9837785471766789</c:v>
                </c:pt>
                <c:pt idx="1829">
                  <c:v>0.99689408469102381</c:v>
                </c:pt>
                <c:pt idx="1830">
                  <c:v>0.99721451133103511</c:v>
                </c:pt>
                <c:pt idx="1831">
                  <c:v>1.0487378292417791</c:v>
                </c:pt>
                <c:pt idx="1832">
                  <c:v>1.0109656815121877</c:v>
                </c:pt>
                <c:pt idx="1833">
                  <c:v>1.0359117257026658</c:v>
                </c:pt>
                <c:pt idx="1834">
                  <c:v>1.0434316174191218</c:v>
                </c:pt>
                <c:pt idx="1835">
                  <c:v>0.98763947072701119</c:v>
                </c:pt>
                <c:pt idx="1836">
                  <c:v>0.98505971579298701</c:v>
                </c:pt>
                <c:pt idx="1837">
                  <c:v>0.99297654241835098</c:v>
                </c:pt>
                <c:pt idx="1838">
                  <c:v>0.99048716679531312</c:v>
                </c:pt>
                <c:pt idx="1839">
                  <c:v>1.0343667061340573</c:v>
                </c:pt>
                <c:pt idx="1840">
                  <c:v>1.0404458040976317</c:v>
                </c:pt>
                <c:pt idx="1841">
                  <c:v>0.99919070700518253</c:v>
                </c:pt>
                <c:pt idx="1842">
                  <c:v>0.99919070700518253</c:v>
                </c:pt>
                <c:pt idx="1843">
                  <c:v>1.000152861879841</c:v>
                </c:pt>
                <c:pt idx="1844">
                  <c:v>1.0007512120930691</c:v>
                </c:pt>
                <c:pt idx="1845">
                  <c:v>0.99992758358482758</c:v>
                </c:pt>
                <c:pt idx="1846">
                  <c:v>1.0288237341070958</c:v>
                </c:pt>
                <c:pt idx="1847">
                  <c:v>1.0235347811754427</c:v>
                </c:pt>
                <c:pt idx="1848">
                  <c:v>1.0334787254037059</c:v>
                </c:pt>
                <c:pt idx="1849">
                  <c:v>1.0489263805072961</c:v>
                </c:pt>
                <c:pt idx="1850">
                  <c:v>1.0444665360017935</c:v>
                </c:pt>
                <c:pt idx="1851">
                  <c:v>1.0066596635213507</c:v>
                </c:pt>
                <c:pt idx="1852">
                  <c:v>1.0158315205588568</c:v>
                </c:pt>
                <c:pt idx="1853">
                  <c:v>1.0343178106043291</c:v>
                </c:pt>
                <c:pt idx="1854">
                  <c:v>0.99882597750225377</c:v>
                </c:pt>
                <c:pt idx="1855">
                  <c:v>0.96267228641655733</c:v>
                </c:pt>
                <c:pt idx="1856">
                  <c:v>1.0131027225492888</c:v>
                </c:pt>
                <c:pt idx="1857">
                  <c:v>1.0472712764306968</c:v>
                </c:pt>
                <c:pt idx="1858">
                  <c:v>1.0832348850050728</c:v>
                </c:pt>
                <c:pt idx="1859">
                  <c:v>1.0744972628239178</c:v>
                </c:pt>
                <c:pt idx="1860">
                  <c:v>1.1208546103180663</c:v>
                </c:pt>
                <c:pt idx="1861">
                  <c:v>1.08289421692863</c:v>
                </c:pt>
                <c:pt idx="1862">
                  <c:v>1.1140802092505182</c:v>
                </c:pt>
                <c:pt idx="1863">
                  <c:v>1.1118507404168587</c:v>
                </c:pt>
                <c:pt idx="1864">
                  <c:v>1.1375851111268429</c:v>
                </c:pt>
                <c:pt idx="1865">
                  <c:v>1.1452532721940876</c:v>
                </c:pt>
                <c:pt idx="1866">
                  <c:v>1.1350849884631911</c:v>
                </c:pt>
                <c:pt idx="1867">
                  <c:v>1.156331148130989</c:v>
                </c:pt>
                <c:pt idx="1868">
                  <c:v>1.1493966933224968</c:v>
                </c:pt>
                <c:pt idx="1869">
                  <c:v>1.1410080237863487</c:v>
                </c:pt>
                <c:pt idx="1870">
                  <c:v>1.1475699462817925</c:v>
                </c:pt>
                <c:pt idx="1871">
                  <c:v>1.2106837148781944</c:v>
                </c:pt>
                <c:pt idx="1872">
                  <c:v>1.214752422626052</c:v>
                </c:pt>
                <c:pt idx="1873">
                  <c:v>1.2075844607666406</c:v>
                </c:pt>
                <c:pt idx="1874">
                  <c:v>1.2206180834917721</c:v>
                </c:pt>
                <c:pt idx="1875">
                  <c:v>1.2560576895748978</c:v>
                </c:pt>
                <c:pt idx="1876">
                  <c:v>1.2286019061022828</c:v>
                </c:pt>
                <c:pt idx="1877">
                  <c:v>1.2349640043151151</c:v>
                </c:pt>
                <c:pt idx="1878">
                  <c:v>1.2511715888828308</c:v>
                </c:pt>
                <c:pt idx="1879">
                  <c:v>1.2389692137594375</c:v>
                </c:pt>
                <c:pt idx="1880">
                  <c:v>1.2114610254118596</c:v>
                </c:pt>
                <c:pt idx="1881">
                  <c:v>1.2504750361730355</c:v>
                </c:pt>
                <c:pt idx="1882">
                  <c:v>1.2266898267428823</c:v>
                </c:pt>
                <c:pt idx="1883">
                  <c:v>1.2544248120933363</c:v>
                </c:pt>
                <c:pt idx="1884">
                  <c:v>1.2660003086923775</c:v>
                </c:pt>
                <c:pt idx="1885">
                  <c:v>1.2630816174791686</c:v>
                </c:pt>
                <c:pt idx="1886">
                  <c:v>1.2632762095476959</c:v>
                </c:pt>
                <c:pt idx="1887">
                  <c:v>1.2729486089074999</c:v>
                </c:pt>
                <c:pt idx="1888">
                  <c:v>1.2375495345943579</c:v>
                </c:pt>
                <c:pt idx="1889">
                  <c:v>1.2376453821487086</c:v>
                </c:pt>
                <c:pt idx="1890">
                  <c:v>1.1806908653581718</c:v>
                </c:pt>
                <c:pt idx="1891">
                  <c:v>1.1382433026782779</c:v>
                </c:pt>
                <c:pt idx="1892">
                  <c:v>1.1328440965668827</c:v>
                </c:pt>
                <c:pt idx="1893">
                  <c:v>1.1336080126907981</c:v>
                </c:pt>
                <c:pt idx="1894">
                  <c:v>1.1229374451620739</c:v>
                </c:pt>
                <c:pt idx="1895">
                  <c:v>1.1414101482100028</c:v>
                </c:pt>
                <c:pt idx="1896">
                  <c:v>1.231664092511269</c:v>
                </c:pt>
                <c:pt idx="1897">
                  <c:v>1.2193893327512688</c:v>
                </c:pt>
                <c:pt idx="1898">
                  <c:v>1.2113130047193821</c:v>
                </c:pt>
                <c:pt idx="1899">
                  <c:v>1.1470740388373852</c:v>
                </c:pt>
                <c:pt idx="1900">
                  <c:v>1.2178820885492956</c:v>
                </c:pt>
                <c:pt idx="1901">
                  <c:v>1.2080453005892871</c:v>
                </c:pt>
                <c:pt idx="1902">
                  <c:v>1.2246040880275519</c:v>
                </c:pt>
                <c:pt idx="1903">
                  <c:v>1.2236411182233522</c:v>
                </c:pt>
                <c:pt idx="1904">
                  <c:v>1.1851223807992419</c:v>
                </c:pt>
                <c:pt idx="1905">
                  <c:v>1.0900405982105095</c:v>
                </c:pt>
                <c:pt idx="1906">
                  <c:v>1.1267777779666845</c:v>
                </c:pt>
                <c:pt idx="1907">
                  <c:v>1.126494970934282</c:v>
                </c:pt>
                <c:pt idx="1908">
                  <c:v>1.1226215726603057</c:v>
                </c:pt>
                <c:pt idx="1909">
                  <c:v>1.1690178606936203</c:v>
                </c:pt>
                <c:pt idx="1910">
                  <c:v>1.1668937053306219</c:v>
                </c:pt>
                <c:pt idx="1911">
                  <c:v>1.1944046273324223</c:v>
                </c:pt>
                <c:pt idx="1912">
                  <c:v>1.1990793403139821</c:v>
                </c:pt>
                <c:pt idx="1913">
                  <c:v>1.2242767041301819</c:v>
                </c:pt>
                <c:pt idx="1914">
                  <c:v>1.1662408911078159</c:v>
                </c:pt>
                <c:pt idx="1915">
                  <c:v>1.1720262442630616</c:v>
                </c:pt>
                <c:pt idx="1916">
                  <c:v>1.040421499466309</c:v>
                </c:pt>
                <c:pt idx="1917">
                  <c:v>0.88903337666680782</c:v>
                </c:pt>
                <c:pt idx="1918">
                  <c:v>0.89128732934350396</c:v>
                </c:pt>
                <c:pt idx="1919">
                  <c:v>0.92389505300413688</c:v>
                </c:pt>
                <c:pt idx="1920">
                  <c:v>0.92646708757937857</c:v>
                </c:pt>
                <c:pt idx="1921">
                  <c:v>0.89044325782292189</c:v>
                </c:pt>
                <c:pt idx="1922">
                  <c:v>0.90518938134069682</c:v>
                </c:pt>
                <c:pt idx="1923">
                  <c:v>0.91392446681029527</c:v>
                </c:pt>
                <c:pt idx="1924">
                  <c:v>0.92201858759033073</c:v>
                </c:pt>
                <c:pt idx="1925">
                  <c:v>0.97343307629389109</c:v>
                </c:pt>
                <c:pt idx="1926">
                  <c:v>0.95072362035391278</c:v>
                </c:pt>
                <c:pt idx="1927">
                  <c:v>0.93047262740224013</c:v>
                </c:pt>
                <c:pt idx="1928">
                  <c:v>0.91300715712721392</c:v>
                </c:pt>
                <c:pt idx="1929">
                  <c:v>0.91708489936519955</c:v>
                </c:pt>
                <c:pt idx="1930">
                  <c:v>0.90998193742336531</c:v>
                </c:pt>
                <c:pt idx="1931">
                  <c:v>0.95890772391742951</c:v>
                </c:pt>
                <c:pt idx="1932">
                  <c:v>1.0825120317347858</c:v>
                </c:pt>
                <c:pt idx="1933">
                  <c:v>1.2033908509831228</c:v>
                </c:pt>
                <c:pt idx="1934">
                  <c:v>1.2080776503169826</c:v>
                </c:pt>
                <c:pt idx="1935">
                  <c:v>1.2772980192128445</c:v>
                </c:pt>
                <c:pt idx="1936">
                  <c:v>1.2466306313557682</c:v>
                </c:pt>
                <c:pt idx="1937">
                  <c:v>1.2644437239491844</c:v>
                </c:pt>
                <c:pt idx="1938">
                  <c:v>1.3503458901290823</c:v>
                </c:pt>
                <c:pt idx="1939">
                  <c:v>1.3379811949952503</c:v>
                </c:pt>
                <c:pt idx="1940">
                  <c:v>1.3449361818812562</c:v>
                </c:pt>
                <c:pt idx="1941">
                  <c:v>1.3779028292650213</c:v>
                </c:pt>
                <c:pt idx="1942">
                  <c:v>1.3363787490526551</c:v>
                </c:pt>
                <c:pt idx="1943">
                  <c:v>1.2962729952293686</c:v>
                </c:pt>
                <c:pt idx="1944">
                  <c:v>1.3034165537707725</c:v>
                </c:pt>
                <c:pt idx="1945">
                  <c:v>1.3048285658303531</c:v>
                </c:pt>
                <c:pt idx="1946">
                  <c:v>1.3047756666300472</c:v>
                </c:pt>
                <c:pt idx="1947">
                  <c:v>1.2842728610420737</c:v>
                </c:pt>
                <c:pt idx="1948">
                  <c:v>1.377918178175731</c:v>
                </c:pt>
                <c:pt idx="1949">
                  <c:v>1.3483391656950139</c:v>
                </c:pt>
                <c:pt idx="1950">
                  <c:v>1.3469754966241021</c:v>
                </c:pt>
                <c:pt idx="1951">
                  <c:v>1.3153594849745991</c:v>
                </c:pt>
                <c:pt idx="1952">
                  <c:v>1.2930415448784347</c:v>
                </c:pt>
                <c:pt idx="1953">
                  <c:v>1.3137978640514707</c:v>
                </c:pt>
                <c:pt idx="1954">
                  <c:v>1.2434472383188435</c:v>
                </c:pt>
                <c:pt idx="1955">
                  <c:v>1.3011611083509445</c:v>
                </c:pt>
                <c:pt idx="1956">
                  <c:v>1.2939879105477294</c:v>
                </c:pt>
                <c:pt idx="1957">
                  <c:v>1.2545162551688038</c:v>
                </c:pt>
                <c:pt idx="1958">
                  <c:v>1.1916042022050126</c:v>
                </c:pt>
                <c:pt idx="1959">
                  <c:v>1.1301807403009163</c:v>
                </c:pt>
                <c:pt idx="1960">
                  <c:v>1.1545064129190727</c:v>
                </c:pt>
                <c:pt idx="1961">
                  <c:v>1.1726884820198713</c:v>
                </c:pt>
                <c:pt idx="1962">
                  <c:v>1.2023155819587015</c:v>
                </c:pt>
                <c:pt idx="1963">
                  <c:v>1.1708826123715494</c:v>
                </c:pt>
                <c:pt idx="1964">
                  <c:v>1.1731547506469548</c:v>
                </c:pt>
                <c:pt idx="1965">
                  <c:v>1.1514576469170197</c:v>
                </c:pt>
                <c:pt idx="1966">
                  <c:v>1.1441374806869342</c:v>
                </c:pt>
                <c:pt idx="1967">
                  <c:v>1.1882636806334885</c:v>
                </c:pt>
                <c:pt idx="1968">
                  <c:v>1.1560619340685432</c:v>
                </c:pt>
                <c:pt idx="1969">
                  <c:v>1.1565893180272393</c:v>
                </c:pt>
                <c:pt idx="1970">
                  <c:v>1.1776069636850581</c:v>
                </c:pt>
                <c:pt idx="1971">
                  <c:v>1.1519074136644727</c:v>
                </c:pt>
                <c:pt idx="1972">
                  <c:v>1.1619323975824609</c:v>
                </c:pt>
                <c:pt idx="1973">
                  <c:v>1.1829614601042402</c:v>
                </c:pt>
                <c:pt idx="1974">
                  <c:v>1.1611928567532244</c:v>
                </c:pt>
                <c:pt idx="1975">
                  <c:v>1.1202175999618869</c:v>
                </c:pt>
                <c:pt idx="1976">
                  <c:v>1.1257165789362595</c:v>
                </c:pt>
                <c:pt idx="1977">
                  <c:v>1.1164756227038528</c:v>
                </c:pt>
                <c:pt idx="1978">
                  <c:v>1.1001588704500302</c:v>
                </c:pt>
                <c:pt idx="1979">
                  <c:v>1.0974073940455062</c:v>
                </c:pt>
                <c:pt idx="1980">
                  <c:v>1.1218849081463029</c:v>
                </c:pt>
                <c:pt idx="1981">
                  <c:v>1.1659995958280887</c:v>
                </c:pt>
                <c:pt idx="1982">
                  <c:v>1.1766541792180343</c:v>
                </c:pt>
                <c:pt idx="1983">
                  <c:v>1.1400494040514919</c:v>
                </c:pt>
                <c:pt idx="1984">
                  <c:v>1.1186159860014213</c:v>
                </c:pt>
                <c:pt idx="1985">
                  <c:v>1.1247083402263511</c:v>
                </c:pt>
                <c:pt idx="1986">
                  <c:v>1.1256681796047687</c:v>
                </c:pt>
                <c:pt idx="1987">
                  <c:v>1.1058172200404242</c:v>
                </c:pt>
                <c:pt idx="1988">
                  <c:v>1.107282268885629</c:v>
                </c:pt>
                <c:pt idx="1989">
                  <c:v>1.1095352656617667</c:v>
                </c:pt>
                <c:pt idx="1990">
                  <c:v>1.0599965300311893</c:v>
                </c:pt>
                <c:pt idx="1991">
                  <c:v>1.046617979686141</c:v>
                </c:pt>
                <c:pt idx="1992">
                  <c:v>1.0644023200137129</c:v>
                </c:pt>
                <c:pt idx="1993">
                  <c:v>1.0534054791239105</c:v>
                </c:pt>
                <c:pt idx="1994">
                  <c:v>1.0549995369612752</c:v>
                </c:pt>
                <c:pt idx="1995">
                  <c:v>1.0565320085342758</c:v>
                </c:pt>
                <c:pt idx="1996">
                  <c:v>1.0832699008838562</c:v>
                </c:pt>
                <c:pt idx="1997">
                  <c:v>1.0129656017579409</c:v>
                </c:pt>
                <c:pt idx="1998">
                  <c:v>1.0309242031515593</c:v>
                </c:pt>
                <c:pt idx="1999">
                  <c:v>1.0500084838190371</c:v>
                </c:pt>
                <c:pt idx="2000">
                  <c:v>1.0610526111735274</c:v>
                </c:pt>
                <c:pt idx="2001">
                  <c:v>1.070087760929894</c:v>
                </c:pt>
                <c:pt idx="2002">
                  <c:v>1.0790741561555248</c:v>
                </c:pt>
                <c:pt idx="2003">
                  <c:v>1.0671681292523467</c:v>
                </c:pt>
                <c:pt idx="2004">
                  <c:v>1.0721460378310321</c:v>
                </c:pt>
                <c:pt idx="2005">
                  <c:v>1.1270085008195547</c:v>
                </c:pt>
                <c:pt idx="2006">
                  <c:v>1.1338458611211706</c:v>
                </c:pt>
                <c:pt idx="2007">
                  <c:v>1.1516427048091911</c:v>
                </c:pt>
                <c:pt idx="2008">
                  <c:v>1.1310231356313334</c:v>
                </c:pt>
                <c:pt idx="2009">
                  <c:v>1.1275135904066631</c:v>
                </c:pt>
                <c:pt idx="2010">
                  <c:v>1.147004895318698</c:v>
                </c:pt>
                <c:pt idx="2011">
                  <c:v>1.1097379311630604</c:v>
                </c:pt>
                <c:pt idx="2012">
                  <c:v>1.1227495498659252</c:v>
                </c:pt>
                <c:pt idx="2013">
                  <c:v>1.1528001391913258</c:v>
                </c:pt>
                <c:pt idx="2014">
                  <c:v>1.163531287706207</c:v>
                </c:pt>
                <c:pt idx="2015">
                  <c:v>1.1278267169420468</c:v>
                </c:pt>
                <c:pt idx="2016">
                  <c:v>1.1301179370862748</c:v>
                </c:pt>
                <c:pt idx="2017">
                  <c:v>1.1702016723723259</c:v>
                </c:pt>
                <c:pt idx="2018">
                  <c:v>1.1877685540251663</c:v>
                </c:pt>
                <c:pt idx="2019">
                  <c:v>1.1874472281075188</c:v>
                </c:pt>
                <c:pt idx="2020">
                  <c:v>1.2376620989851665</c:v>
                </c:pt>
                <c:pt idx="2021">
                  <c:v>1.2577006935208228</c:v>
                </c:pt>
                <c:pt idx="2022">
                  <c:v>1.2198690809724804</c:v>
                </c:pt>
                <c:pt idx="2023">
                  <c:v>1.2166027695392503</c:v>
                </c:pt>
                <c:pt idx="2024">
                  <c:v>1.2641452066310563</c:v>
                </c:pt>
                <c:pt idx="2025">
                  <c:v>1.2982898123229689</c:v>
                </c:pt>
                <c:pt idx="2026">
                  <c:v>1.2875276584463604</c:v>
                </c:pt>
                <c:pt idx="2027">
                  <c:v>1.2967182272643276</c:v>
                </c:pt>
                <c:pt idx="2028">
                  <c:v>1.2692102712488893</c:v>
                </c:pt>
                <c:pt idx="2029">
                  <c:v>1.262843216122155</c:v>
                </c:pt>
                <c:pt idx="2030">
                  <c:v>1.2603026456453583</c:v>
                </c:pt>
                <c:pt idx="2031">
                  <c:v>1.2481969064379945</c:v>
                </c:pt>
                <c:pt idx="2032">
                  <c:v>1.210572962093456</c:v>
                </c:pt>
                <c:pt idx="2033">
                  <c:v>1.2109749563172587</c:v>
                </c:pt>
                <c:pt idx="2034">
                  <c:v>1.1566648944966387</c:v>
                </c:pt>
                <c:pt idx="2035">
                  <c:v>1.1869199006566165</c:v>
                </c:pt>
                <c:pt idx="2036">
                  <c:v>1.1636861764416466</c:v>
                </c:pt>
                <c:pt idx="2037">
                  <c:v>1.1617375017569613</c:v>
                </c:pt>
                <c:pt idx="2038">
                  <c:v>1.1688735612968797</c:v>
                </c:pt>
                <c:pt idx="2039">
                  <c:v>1.1754668429396784</c:v>
                </c:pt>
                <c:pt idx="2040">
                  <c:v>1.2270040609212509</c:v>
                </c:pt>
                <c:pt idx="2041">
                  <c:v>1.2715390710455585</c:v>
                </c:pt>
                <c:pt idx="2042">
                  <c:v>1.2893214824307673</c:v>
                </c:pt>
                <c:pt idx="2043">
                  <c:v>1.2935855898087762</c:v>
                </c:pt>
                <c:pt idx="2044">
                  <c:v>1.2865797570552584</c:v>
                </c:pt>
                <c:pt idx="2045">
                  <c:v>1.3279558658363597</c:v>
                </c:pt>
                <c:pt idx="2046">
                  <c:v>1.3591515693644132</c:v>
                </c:pt>
                <c:pt idx="2047">
                  <c:v>1.3430934014644966</c:v>
                </c:pt>
                <c:pt idx="2048">
                  <c:v>1.3368087320955442</c:v>
                </c:pt>
                <c:pt idx="2049">
                  <c:v>1.370126934299138</c:v>
                </c:pt>
                <c:pt idx="2050">
                  <c:v>1.3728669557393096</c:v>
                </c:pt>
                <c:pt idx="2051">
                  <c:v>1.346410511087839</c:v>
                </c:pt>
                <c:pt idx="2052">
                  <c:v>1.3463626605759327</c:v>
                </c:pt>
                <c:pt idx="2053">
                  <c:v>1.3644275882868102</c:v>
                </c:pt>
                <c:pt idx="2054">
                  <c:v>1.3448300324174627</c:v>
                </c:pt>
                <c:pt idx="2055">
                  <c:v>1.3123884079544947</c:v>
                </c:pt>
                <c:pt idx="2056">
                  <c:v>1.3254627905736935</c:v>
                </c:pt>
                <c:pt idx="2057">
                  <c:v>1.351185260871137</c:v>
                </c:pt>
                <c:pt idx="2058">
                  <c:v>1.3537415583842256</c:v>
                </c:pt>
                <c:pt idx="2059">
                  <c:v>1.340245988744166</c:v>
                </c:pt>
                <c:pt idx="2060">
                  <c:v>1.3511264351192904</c:v>
                </c:pt>
                <c:pt idx="2061">
                  <c:v>1.3537837991025909</c:v>
                </c:pt>
                <c:pt idx="2062">
                  <c:v>1.3361445651016119</c:v>
                </c:pt>
                <c:pt idx="2063">
                  <c:v>1.3381708651617761</c:v>
                </c:pt>
                <c:pt idx="2064">
                  <c:v>1.3333606750070188</c:v>
                </c:pt>
                <c:pt idx="2065">
                  <c:v>1.3069250125794318</c:v>
                </c:pt>
                <c:pt idx="2066">
                  <c:v>1.2977867986355249</c:v>
                </c:pt>
                <c:pt idx="2067">
                  <c:v>1.3514491583430759</c:v>
                </c:pt>
                <c:pt idx="2068">
                  <c:v>1.3222048809191551</c:v>
                </c:pt>
                <c:pt idx="2069">
                  <c:v>1.3014395212940966</c:v>
                </c:pt>
                <c:pt idx="2070">
                  <c:v>1.2600950976701775</c:v>
                </c:pt>
                <c:pt idx="2071">
                  <c:v>1.2182533662452226</c:v>
                </c:pt>
                <c:pt idx="2072">
                  <c:v>1.161030853887252</c:v>
                </c:pt>
                <c:pt idx="2073">
                  <c:v>1.1610308538872518</c:v>
                </c:pt>
                <c:pt idx="2074">
                  <c:v>1.1580623928558975</c:v>
                </c:pt>
                <c:pt idx="2075">
                  <c:v>1.118723667255753</c:v>
                </c:pt>
                <c:pt idx="2076">
                  <c:v>1.0777898308762384</c:v>
                </c:pt>
                <c:pt idx="2077">
                  <c:v>1.0775922500979973</c:v>
                </c:pt>
                <c:pt idx="2078">
                  <c:v>1.0576236646803787</c:v>
                </c:pt>
                <c:pt idx="2079">
                  <c:v>1.0525245512739752</c:v>
                </c:pt>
                <c:pt idx="2080">
                  <c:v>1.0251576273527603</c:v>
                </c:pt>
                <c:pt idx="2081">
                  <c:v>1.0040675894270921</c:v>
                </c:pt>
                <c:pt idx="2082">
                  <c:v>1.0083673500484231</c:v>
                </c:pt>
                <c:pt idx="2083">
                  <c:v>0.9945613600228872</c:v>
                </c:pt>
                <c:pt idx="2084">
                  <c:v>0.96800042747212034</c:v>
                </c:pt>
                <c:pt idx="2085">
                  <c:v>1.0265462685039146</c:v>
                </c:pt>
                <c:pt idx="2086">
                  <c:v>1.0177112026277511</c:v>
                </c:pt>
                <c:pt idx="2087">
                  <c:v>1.0140815447045399</c:v>
                </c:pt>
                <c:pt idx="2088">
                  <c:v>1.0165741996766773</c:v>
                </c:pt>
                <c:pt idx="2089">
                  <c:v>1.0208695865014685</c:v>
                </c:pt>
                <c:pt idx="2090">
                  <c:v>1.0115355346852797</c:v>
                </c:pt>
                <c:pt idx="2091">
                  <c:v>0.99488583068207082</c:v>
                </c:pt>
                <c:pt idx="2092">
                  <c:v>1.0436617675556923</c:v>
                </c:pt>
                <c:pt idx="2093">
                  <c:v>1.057032062715789</c:v>
                </c:pt>
                <c:pt idx="2094">
                  <c:v>1.0629923605655358</c:v>
                </c:pt>
                <c:pt idx="2095">
                  <c:v>1.0423624802485387</c:v>
                </c:pt>
                <c:pt idx="2096">
                  <c:v>1.0335381146734548</c:v>
                </c:pt>
                <c:pt idx="2097">
                  <c:v>0.99898137775608653</c:v>
                </c:pt>
                <c:pt idx="2098">
                  <c:v>1.0141404831384213</c:v>
                </c:pt>
                <c:pt idx="2099">
                  <c:v>1.0089644173122754</c:v>
                </c:pt>
                <c:pt idx="2100">
                  <c:v>1.0096832893673076</c:v>
                </c:pt>
                <c:pt idx="2101">
                  <c:v>1.0192158919889145</c:v>
                </c:pt>
                <c:pt idx="2102">
                  <c:v>1.0622357683613406</c:v>
                </c:pt>
                <c:pt idx="2103">
                  <c:v>1.0644738055765495</c:v>
                </c:pt>
                <c:pt idx="2104">
                  <c:v>1.1081731886722201</c:v>
                </c:pt>
                <c:pt idx="2105">
                  <c:v>1.110670347443226</c:v>
                </c:pt>
                <c:pt idx="2106">
                  <c:v>1.1390762540952555</c:v>
                </c:pt>
                <c:pt idx="2107">
                  <c:v>1.1601099828954988</c:v>
                </c:pt>
                <c:pt idx="2108">
                  <c:v>1.1556875845588417</c:v>
                </c:pt>
                <c:pt idx="2109">
                  <c:v>1.1591625990491945</c:v>
                </c:pt>
                <c:pt idx="2110">
                  <c:v>1.180878496285078</c:v>
                </c:pt>
                <c:pt idx="2111">
                  <c:v>1.1765222958548975</c:v>
                </c:pt>
                <c:pt idx="2112">
                  <c:v>1.1802036157852784</c:v>
                </c:pt>
                <c:pt idx="2113">
                  <c:v>1.1966994840695866</c:v>
                </c:pt>
                <c:pt idx="2114">
                  <c:v>1.1987140619425685</c:v>
                </c:pt>
                <c:pt idx="2115">
                  <c:v>1.1442690785553598</c:v>
                </c:pt>
                <c:pt idx="2116">
                  <c:v>1.1111953282259899</c:v>
                </c:pt>
                <c:pt idx="2117">
                  <c:v>1.1235662127719752</c:v>
                </c:pt>
                <c:pt idx="2118">
                  <c:v>1.1238464839737812</c:v>
                </c:pt>
                <c:pt idx="2119">
                  <c:v>1.1296790308063966</c:v>
                </c:pt>
                <c:pt idx="2120">
                  <c:v>1.1180484331416845</c:v>
                </c:pt>
                <c:pt idx="2121">
                  <c:v>1.1101752994019907</c:v>
                </c:pt>
                <c:pt idx="2122">
                  <c:v>1.0958605499002085</c:v>
                </c:pt>
                <c:pt idx="2123">
                  <c:v>1.0817533659885634</c:v>
                </c:pt>
                <c:pt idx="2124">
                  <c:v>1.0753850419760116</c:v>
                </c:pt>
                <c:pt idx="2125">
                  <c:v>1.0917612576374753</c:v>
                </c:pt>
                <c:pt idx="2126">
                  <c:v>1.0968158721824122</c:v>
                </c:pt>
                <c:pt idx="2127">
                  <c:v>1.09910041585741</c:v>
                </c:pt>
                <c:pt idx="2128">
                  <c:v>1.1243938852534745</c:v>
                </c:pt>
                <c:pt idx="2129">
                  <c:v>1.127975554067868</c:v>
                </c:pt>
                <c:pt idx="2130">
                  <c:v>1.1836987132197798</c:v>
                </c:pt>
                <c:pt idx="2131">
                  <c:v>1.190336811216864</c:v>
                </c:pt>
                <c:pt idx="2132">
                  <c:v>1.1464959609635561</c:v>
                </c:pt>
                <c:pt idx="2133">
                  <c:v>1.1113456687288163</c:v>
                </c:pt>
                <c:pt idx="2134">
                  <c:v>1.0746859471759516</c:v>
                </c:pt>
                <c:pt idx="2135">
                  <c:v>1.0983792134557739</c:v>
                </c:pt>
                <c:pt idx="2136">
                  <c:v>1.0946247454417126</c:v>
                </c:pt>
                <c:pt idx="2137">
                  <c:v>1.0728978912540894</c:v>
                </c:pt>
                <c:pt idx="2138">
                  <c:v>1.0897443019709538</c:v>
                </c:pt>
                <c:pt idx="2139">
                  <c:v>1.0557771556056947</c:v>
                </c:pt>
                <c:pt idx="2140">
                  <c:v>1.0407436002105952</c:v>
                </c:pt>
                <c:pt idx="2141">
                  <c:v>1.0885285333036028</c:v>
                </c:pt>
                <c:pt idx="2142">
                  <c:v>1.1021214652378075</c:v>
                </c:pt>
                <c:pt idx="2143">
                  <c:v>1.0576306745164694</c:v>
                </c:pt>
                <c:pt idx="2144">
                  <c:v>1.0632237359294039</c:v>
                </c:pt>
                <c:pt idx="2145">
                  <c:v>1.06357475730097</c:v>
                </c:pt>
                <c:pt idx="2146">
                  <c:v>1.0695409370809303</c:v>
                </c:pt>
                <c:pt idx="2147">
                  <c:v>1.0683171856688458</c:v>
                </c:pt>
                <c:pt idx="2148">
                  <c:v>1.0726296508190014</c:v>
                </c:pt>
                <c:pt idx="2149">
                  <c:v>1.0577117461440217</c:v>
                </c:pt>
                <c:pt idx="2150">
                  <c:v>1.051753653250816</c:v>
                </c:pt>
                <c:pt idx="2151">
                  <c:v>1.0548236765003658</c:v>
                </c:pt>
                <c:pt idx="2152">
                  <c:v>1.0334520324854353</c:v>
                </c:pt>
                <c:pt idx="2153">
                  <c:v>1.0725983597690758</c:v>
                </c:pt>
                <c:pt idx="2154">
                  <c:v>1.1167720828608998</c:v>
                </c:pt>
                <c:pt idx="2155">
                  <c:v>1.1727688525916762</c:v>
                </c:pt>
                <c:pt idx="2156">
                  <c:v>1.169634779425347</c:v>
                </c:pt>
                <c:pt idx="2157">
                  <c:v>1.156834960760083</c:v>
                </c:pt>
                <c:pt idx="2158">
                  <c:v>1.129768616326716</c:v>
                </c:pt>
                <c:pt idx="2159">
                  <c:v>1.1494988413247302</c:v>
                </c:pt>
                <c:pt idx="2160">
                  <c:v>1.1011955885027562</c:v>
                </c:pt>
                <c:pt idx="2161">
                  <c:v>1.1263235381735031</c:v>
                </c:pt>
                <c:pt idx="2162">
                  <c:v>1.1274711811695306</c:v>
                </c:pt>
                <c:pt idx="2163">
                  <c:v>1.1282263570062874</c:v>
                </c:pt>
                <c:pt idx="2164">
                  <c:v>1.129718711811083</c:v>
                </c:pt>
                <c:pt idx="2165">
                  <c:v>1.1235240126034476</c:v>
                </c:pt>
                <c:pt idx="2166">
                  <c:v>1.128685330246054</c:v>
                </c:pt>
                <c:pt idx="2167">
                  <c:v>1.1147249029224218</c:v>
                </c:pt>
                <c:pt idx="2168">
                  <c:v>1.0883999117126444</c:v>
                </c:pt>
                <c:pt idx="2169">
                  <c:v>1.0935980896148252</c:v>
                </c:pt>
                <c:pt idx="2170">
                  <c:v>1.080949401773923</c:v>
                </c:pt>
                <c:pt idx="2171">
                  <c:v>1.0529403275273168</c:v>
                </c:pt>
                <c:pt idx="2172">
                  <c:v>1.0653370304770913</c:v>
                </c:pt>
                <c:pt idx="2173">
                  <c:v>1.117421549613318</c:v>
                </c:pt>
                <c:pt idx="2174">
                  <c:v>1.1313090779645754</c:v>
                </c:pt>
                <c:pt idx="2175">
                  <c:v>1.1431161282908315</c:v>
                </c:pt>
                <c:pt idx="2176">
                  <c:v>1.148419403544185</c:v>
                </c:pt>
                <c:pt idx="2177">
                  <c:v>1.1690118137511079</c:v>
                </c:pt>
                <c:pt idx="2178">
                  <c:v>1.180221341017482</c:v>
                </c:pt>
                <c:pt idx="2179">
                  <c:v>1.178461104454722</c:v>
                </c:pt>
                <c:pt idx="2180">
                  <c:v>1.1774680121091312</c:v>
                </c:pt>
                <c:pt idx="2181">
                  <c:v>1.1564235393223583</c:v>
                </c:pt>
                <c:pt idx="2182">
                  <c:v>1.216772818546676</c:v>
                </c:pt>
                <c:pt idx="2183">
                  <c:v>1.1630736626833169</c:v>
                </c:pt>
                <c:pt idx="2184">
                  <c:v>1.1675753932190307</c:v>
                </c:pt>
                <c:pt idx="2185">
                  <c:v>1.1322304809838699</c:v>
                </c:pt>
                <c:pt idx="2186">
                  <c:v>1.1418122316798824</c:v>
                </c:pt>
                <c:pt idx="2187">
                  <c:v>1.1175064606771508</c:v>
                </c:pt>
                <c:pt idx="2188">
                  <c:v>1.1606595429809052</c:v>
                </c:pt>
                <c:pt idx="2189">
                  <c:v>1.145828817127986</c:v>
                </c:pt>
                <c:pt idx="2190">
                  <c:v>1.1551282956063125</c:v>
                </c:pt>
                <c:pt idx="2191">
                  <c:v>1.1391517816380727</c:v>
                </c:pt>
                <c:pt idx="2192">
                  <c:v>1.1403631706257182</c:v>
                </c:pt>
                <c:pt idx="2193">
                  <c:v>1.2102484308470789</c:v>
                </c:pt>
                <c:pt idx="2194">
                  <c:v>1.2115402944423566</c:v>
                </c:pt>
                <c:pt idx="2195">
                  <c:v>1.1800598562648492</c:v>
                </c:pt>
                <c:pt idx="2196">
                  <c:v>1.165757412512392</c:v>
                </c:pt>
                <c:pt idx="2197">
                  <c:v>1.1559682710516588</c:v>
                </c:pt>
                <c:pt idx="2198">
                  <c:v>1.1563687217707228</c:v>
                </c:pt>
                <c:pt idx="2199">
                  <c:v>1.1565523478569113</c:v>
                </c:pt>
                <c:pt idx="2200">
                  <c:v>1.1212741623378453</c:v>
                </c:pt>
                <c:pt idx="2201">
                  <c:v>1.1174182065260356</c:v>
                </c:pt>
                <c:pt idx="2202">
                  <c:v>1.1024443062013891</c:v>
                </c:pt>
                <c:pt idx="2203">
                  <c:v>1.0877109255088253</c:v>
                </c:pt>
                <c:pt idx="2204">
                  <c:v>1.0555376142859212</c:v>
                </c:pt>
                <c:pt idx="2205">
                  <c:v>1.0379345648544231</c:v>
                </c:pt>
                <c:pt idx="2206">
                  <c:v>1.0541358611645388</c:v>
                </c:pt>
                <c:pt idx="2207">
                  <c:v>1.012741187393738</c:v>
                </c:pt>
                <c:pt idx="2208">
                  <c:v>1.0178677284616495</c:v>
                </c:pt>
                <c:pt idx="2209">
                  <c:v>1.0685011523829435</c:v>
                </c:pt>
                <c:pt idx="2210">
                  <c:v>1.0923548852833034</c:v>
                </c:pt>
                <c:pt idx="2211">
                  <c:v>1.0891695138430277</c:v>
                </c:pt>
                <c:pt idx="2212">
                  <c:v>1.0402889187541884</c:v>
                </c:pt>
                <c:pt idx="2213">
                  <c:v>1.0776831790850032</c:v>
                </c:pt>
                <c:pt idx="2214">
                  <c:v>1.0605739608517557</c:v>
                </c:pt>
                <c:pt idx="2215">
                  <c:v>1.0582677235523361</c:v>
                </c:pt>
                <c:pt idx="2216">
                  <c:v>1.0629088260118049</c:v>
                </c:pt>
                <c:pt idx="2217">
                  <c:v>1.0858157588048563</c:v>
                </c:pt>
                <c:pt idx="2218">
                  <c:v>1.0530865963017213</c:v>
                </c:pt>
                <c:pt idx="2219">
                  <c:v>1.0907153088947963</c:v>
                </c:pt>
                <c:pt idx="2220">
                  <c:v>1.0657718049516438</c:v>
                </c:pt>
                <c:pt idx="2221">
                  <c:v>1.0597883111111461</c:v>
                </c:pt>
                <c:pt idx="2222">
                  <c:v>1.0831809265031533</c:v>
                </c:pt>
                <c:pt idx="2223">
                  <c:v>1.0403967523492419</c:v>
                </c:pt>
                <c:pt idx="2224">
                  <c:v>1.4313475685761878</c:v>
                </c:pt>
                <c:pt idx="2225">
                  <c:v>1.4977168831488028</c:v>
                </c:pt>
                <c:pt idx="2226">
                  <c:v>1.5568881429489951</c:v>
                </c:pt>
                <c:pt idx="2227">
                  <c:v>1.6831205624037171</c:v>
                </c:pt>
                <c:pt idx="2228">
                  <c:v>1.7047486078867913</c:v>
                </c:pt>
                <c:pt idx="2229">
                  <c:v>1.7042807833528328</c:v>
                </c:pt>
                <c:pt idx="2230">
                  <c:v>1.7935069351515704</c:v>
                </c:pt>
                <c:pt idx="2231">
                  <c:v>1.8913073991715144</c:v>
                </c:pt>
                <c:pt idx="2232">
                  <c:v>1.9062806055579633</c:v>
                </c:pt>
                <c:pt idx="2233">
                  <c:v>1.9886521745303691</c:v>
                </c:pt>
                <c:pt idx="2234">
                  <c:v>2.2643457353494845</c:v>
                </c:pt>
                <c:pt idx="2235">
                  <c:v>2.4243400808438986</c:v>
                </c:pt>
                <c:pt idx="2236">
                  <c:v>2.5242806190434051</c:v>
                </c:pt>
                <c:pt idx="2237">
                  <c:v>2.5216341171331043</c:v>
                </c:pt>
                <c:pt idx="2238">
                  <c:v>2.5483949422350514</c:v>
                </c:pt>
                <c:pt idx="2239">
                  <c:v>2.526664263183886</c:v>
                </c:pt>
                <c:pt idx="2240">
                  <c:v>2.6153867431207853</c:v>
                </c:pt>
                <c:pt idx="2241">
                  <c:v>2.7625324879766451</c:v>
                </c:pt>
                <c:pt idx="2242">
                  <c:v>2.761150871997224</c:v>
                </c:pt>
                <c:pt idx="2243">
                  <c:v>2.7968143002146308</c:v>
                </c:pt>
                <c:pt idx="2244">
                  <c:v>2.9273297235441085</c:v>
                </c:pt>
                <c:pt idx="2245">
                  <c:v>2.9542251838310509</c:v>
                </c:pt>
                <c:pt idx="2246">
                  <c:v>3.0432167645210662</c:v>
                </c:pt>
                <c:pt idx="2247">
                  <c:v>3.2300429519225227</c:v>
                </c:pt>
                <c:pt idx="2248">
                  <c:v>3.3958288308269986</c:v>
                </c:pt>
                <c:pt idx="2249">
                  <c:v>3.4413886531557232</c:v>
                </c:pt>
                <c:pt idx="2250">
                  <c:v>3.5559658306156074</c:v>
                </c:pt>
                <c:pt idx="2251">
                  <c:v>3.5528855683892999</c:v>
                </c:pt>
                <c:pt idx="2252">
                  <c:v>3.6214180241649987</c:v>
                </c:pt>
                <c:pt idx="2253">
                  <c:v>3.6859447236423835</c:v>
                </c:pt>
                <c:pt idx="2254">
                  <c:v>3.6262514922516709</c:v>
                </c:pt>
                <c:pt idx="2255">
                  <c:v>3.549750922134594</c:v>
                </c:pt>
                <c:pt idx="2256">
                  <c:v>3.6957160039171288</c:v>
                </c:pt>
                <c:pt idx="2257">
                  <c:v>3.7049840460667567</c:v>
                </c:pt>
                <c:pt idx="2258">
                  <c:v>3.8056543533893437</c:v>
                </c:pt>
                <c:pt idx="2259">
                  <c:v>3.8042768430873397</c:v>
                </c:pt>
                <c:pt idx="2260">
                  <c:v>3.7540697303366497</c:v>
                </c:pt>
                <c:pt idx="2261">
                  <c:v>3.6815697551545816</c:v>
                </c:pt>
                <c:pt idx="2262">
                  <c:v>3.7168944675304707</c:v>
                </c:pt>
                <c:pt idx="2263">
                  <c:v>3.7393320443537825</c:v>
                </c:pt>
                <c:pt idx="2264">
                  <c:v>3.6925906552346737</c:v>
                </c:pt>
                <c:pt idx="2265">
                  <c:v>3.7510804726963243</c:v>
                </c:pt>
                <c:pt idx="2266">
                  <c:v>3.6521676133307563</c:v>
                </c:pt>
                <c:pt idx="2267">
                  <c:v>3.6787869065016907</c:v>
                </c:pt>
                <c:pt idx="2268">
                  <c:v>3.6275002633934488</c:v>
                </c:pt>
                <c:pt idx="2269">
                  <c:v>3.6352075309538314</c:v>
                </c:pt>
                <c:pt idx="2270">
                  <c:v>3.6307562462302854</c:v>
                </c:pt>
                <c:pt idx="2271">
                  <c:v>3.6082160396109528</c:v>
                </c:pt>
                <c:pt idx="2272">
                  <c:v>3.6289000423325772</c:v>
                </c:pt>
                <c:pt idx="2273">
                  <c:v>3.6305926972511435</c:v>
                </c:pt>
                <c:pt idx="2274">
                  <c:v>3.3859207477944353</c:v>
                </c:pt>
                <c:pt idx="2275">
                  <c:v>3.3891540327154308</c:v>
                </c:pt>
                <c:pt idx="2276">
                  <c:v>7.592318478900749</c:v>
                </c:pt>
                <c:pt idx="2277">
                  <c:v>10.125905896752407</c:v>
                </c:pt>
                <c:pt idx="2278">
                  <c:v>12.025120182447221</c:v>
                </c:pt>
                <c:pt idx="2279">
                  <c:v>13.539455433963202</c:v>
                </c:pt>
                <c:pt idx="2280">
                  <c:v>14.813072857151017</c:v>
                </c:pt>
                <c:pt idx="2281">
                  <c:v>15.803068652972888</c:v>
                </c:pt>
                <c:pt idx="2282">
                  <c:v>16.708645170936975</c:v>
                </c:pt>
                <c:pt idx="2283">
                  <c:v>17.500400376372333</c:v>
                </c:pt>
                <c:pt idx="2284">
                  <c:v>18.062269778193155</c:v>
                </c:pt>
                <c:pt idx="2285">
                  <c:v>18.498970648592074</c:v>
                </c:pt>
                <c:pt idx="2286">
                  <c:v>18.653300789533933</c:v>
                </c:pt>
                <c:pt idx="2287">
                  <c:v>18.687649375868599</c:v>
                </c:pt>
                <c:pt idx="2288">
                  <c:v>18.619695245478177</c:v>
                </c:pt>
                <c:pt idx="2289">
                  <c:v>18.576639108695428</c:v>
                </c:pt>
                <c:pt idx="2290">
                  <c:v>18.597607870523216</c:v>
                </c:pt>
                <c:pt idx="2291">
                  <c:v>18.548949023733325</c:v>
                </c:pt>
                <c:pt idx="2292">
                  <c:v>18.68809665099101</c:v>
                </c:pt>
                <c:pt idx="2293">
                  <c:v>18.874144401708694</c:v>
                </c:pt>
                <c:pt idx="2294">
                  <c:v>19.051476489678734</c:v>
                </c:pt>
                <c:pt idx="2295">
                  <c:v>19.370010251066898</c:v>
                </c:pt>
                <c:pt idx="2296">
                  <c:v>19.582697233004964</c:v>
                </c:pt>
                <c:pt idx="2297">
                  <c:v>19.879510936073636</c:v>
                </c:pt>
                <c:pt idx="2298">
                  <c:v>20.068964330785604</c:v>
                </c:pt>
                <c:pt idx="2299">
                  <c:v>20.235473563641342</c:v>
                </c:pt>
                <c:pt idx="2300">
                  <c:v>20.367988522109432</c:v>
                </c:pt>
                <c:pt idx="2301">
                  <c:v>20.595699096276579</c:v>
                </c:pt>
                <c:pt idx="2302">
                  <c:v>20.740150258824563</c:v>
                </c:pt>
                <c:pt idx="2303">
                  <c:v>20.960055850697721</c:v>
                </c:pt>
                <c:pt idx="2304">
                  <c:v>21.100652340517868</c:v>
                </c:pt>
                <c:pt idx="2305">
                  <c:v>21.319161056686053</c:v>
                </c:pt>
                <c:pt idx="2306">
                  <c:v>21.394007636686972</c:v>
                </c:pt>
                <c:pt idx="2307">
                  <c:v>21.376028425887899</c:v>
                </c:pt>
                <c:pt idx="2308">
                  <c:v>21.23551201583593</c:v>
                </c:pt>
                <c:pt idx="2309">
                  <c:v>20.940242193046572</c:v>
                </c:pt>
                <c:pt idx="2310">
                  <c:v>20.593466514976246</c:v>
                </c:pt>
                <c:pt idx="2311">
                  <c:v>20.113883022178602</c:v>
                </c:pt>
                <c:pt idx="2312">
                  <c:v>19.554898272217663</c:v>
                </c:pt>
                <c:pt idx="2313">
                  <c:v>18.853029342848288</c:v>
                </c:pt>
                <c:pt idx="2314">
                  <c:v>18.038093025594463</c:v>
                </c:pt>
                <c:pt idx="2315">
                  <c:v>17.041628746831311</c:v>
                </c:pt>
                <c:pt idx="2316">
                  <c:v>15.8658892727068</c:v>
                </c:pt>
                <c:pt idx="2317">
                  <c:v>14.486596107492231</c:v>
                </c:pt>
                <c:pt idx="2318">
                  <c:v>12.804143909858549</c:v>
                </c:pt>
                <c:pt idx="2319">
                  <c:v>10.65550775501762</c:v>
                </c:pt>
                <c:pt idx="2320">
                  <c:v>7.7073688355894703</c:v>
                </c:pt>
                <c:pt idx="2321">
                  <c:v>1.1718565680542794</c:v>
                </c:pt>
                <c:pt idx="2322">
                  <c:v>1.15533987635027</c:v>
                </c:pt>
                <c:pt idx="2323">
                  <c:v>1.1613535503736654</c:v>
                </c:pt>
                <c:pt idx="2324">
                  <c:v>1.1622382785349801</c:v>
                </c:pt>
                <c:pt idx="2325">
                  <c:v>1.1432937394705898</c:v>
                </c:pt>
                <c:pt idx="2326">
                  <c:v>1.1984539849418452</c:v>
                </c:pt>
                <c:pt idx="2327">
                  <c:v>1.1308584878490455</c:v>
                </c:pt>
                <c:pt idx="2328">
                  <c:v>1.1503693060186735</c:v>
                </c:pt>
                <c:pt idx="2329">
                  <c:v>1.1767227527253852</c:v>
                </c:pt>
                <c:pt idx="2330">
                  <c:v>1.1982595136567726</c:v>
                </c:pt>
                <c:pt idx="2331">
                  <c:v>1.1588058161487751</c:v>
                </c:pt>
                <c:pt idx="2332">
                  <c:v>1.2014770603040164</c:v>
                </c:pt>
                <c:pt idx="2333">
                  <c:v>1.1574315600034211</c:v>
                </c:pt>
                <c:pt idx="2334">
                  <c:v>1.1526682688141603</c:v>
                </c:pt>
                <c:pt idx="2335">
                  <c:v>1.0884304844776393</c:v>
                </c:pt>
                <c:pt idx="2336">
                  <c:v>1.0886260981664893</c:v>
                </c:pt>
                <c:pt idx="2337">
                  <c:v>1.0727727528746913</c:v>
                </c:pt>
                <c:pt idx="2338">
                  <c:v>1.0832870900828775</c:v>
                </c:pt>
                <c:pt idx="2339">
                  <c:v>1.1398237411633163</c:v>
                </c:pt>
                <c:pt idx="2340">
                  <c:v>1.1552857535751886</c:v>
                </c:pt>
                <c:pt idx="2341">
                  <c:v>1.145813769947934</c:v>
                </c:pt>
                <c:pt idx="2342">
                  <c:v>1.1435273117174227</c:v>
                </c:pt>
                <c:pt idx="2343">
                  <c:v>1.1615754758976682</c:v>
                </c:pt>
                <c:pt idx="2344">
                  <c:v>1.2386442811285296</c:v>
                </c:pt>
                <c:pt idx="2345">
                  <c:v>1.2207789580295914</c:v>
                </c:pt>
                <c:pt idx="2346">
                  <c:v>1.2040852396603052</c:v>
                </c:pt>
                <c:pt idx="2347">
                  <c:v>1.21180097755176</c:v>
                </c:pt>
                <c:pt idx="2348">
                  <c:v>1.2702035767690074</c:v>
                </c:pt>
                <c:pt idx="2349">
                  <c:v>1.2435804814297711</c:v>
                </c:pt>
                <c:pt idx="2350">
                  <c:v>1.2722169987679071</c:v>
                </c:pt>
                <c:pt idx="2351">
                  <c:v>1.2960501001384797</c:v>
                </c:pt>
                <c:pt idx="2352">
                  <c:v>1.3119249698198365</c:v>
                </c:pt>
                <c:pt idx="2353">
                  <c:v>1.3163081426614285</c:v>
                </c:pt>
                <c:pt idx="2354">
                  <c:v>1.3431085919072854</c:v>
                </c:pt>
                <c:pt idx="2355">
                  <c:v>1.3515204294661498</c:v>
                </c:pt>
                <c:pt idx="2356">
                  <c:v>1.3478413989715581</c:v>
                </c:pt>
                <c:pt idx="2357">
                  <c:v>1.392895107899081</c:v>
                </c:pt>
                <c:pt idx="2358">
                  <c:v>1.3815174066321365</c:v>
                </c:pt>
                <c:pt idx="2359">
                  <c:v>1.3815270994217881</c:v>
                </c:pt>
                <c:pt idx="2360">
                  <c:v>1.3621747318167363</c:v>
                </c:pt>
                <c:pt idx="2361">
                  <c:v>1.3181029994812155</c:v>
                </c:pt>
                <c:pt idx="2362">
                  <c:v>1.3048410745700239</c:v>
                </c:pt>
                <c:pt idx="2363">
                  <c:v>1.3136181498739115</c:v>
                </c:pt>
                <c:pt idx="2364">
                  <c:v>1.2952552227086442</c:v>
                </c:pt>
                <c:pt idx="2365">
                  <c:v>1.3084903998259898</c:v>
                </c:pt>
                <c:pt idx="2366">
                  <c:v>1.28652521406958</c:v>
                </c:pt>
                <c:pt idx="2367">
                  <c:v>1.2512336900541137</c:v>
                </c:pt>
                <c:pt idx="2368">
                  <c:v>1.2555982225822564</c:v>
                </c:pt>
                <c:pt idx="2369">
                  <c:v>1.2284246523237716</c:v>
                </c:pt>
                <c:pt idx="2370">
                  <c:v>1.1923923600182464</c:v>
                </c:pt>
                <c:pt idx="2371">
                  <c:v>1.2319353991123903</c:v>
                </c:pt>
                <c:pt idx="2372">
                  <c:v>1.2254377120877642</c:v>
                </c:pt>
                <c:pt idx="2373">
                  <c:v>1.2592024934617259</c:v>
                </c:pt>
                <c:pt idx="2374">
                  <c:v>1.2110347053124701</c:v>
                </c:pt>
                <c:pt idx="2375">
                  <c:v>1.2543268103355021</c:v>
                </c:pt>
                <c:pt idx="2376">
                  <c:v>1.2608173320618588</c:v>
                </c:pt>
                <c:pt idx="2377">
                  <c:v>1.2836749060287085</c:v>
                </c:pt>
                <c:pt idx="2378">
                  <c:v>1.2394297910315653</c:v>
                </c:pt>
                <c:pt idx="2379">
                  <c:v>1.2370638207270155</c:v>
                </c:pt>
                <c:pt idx="2380">
                  <c:v>1.2028252182869812</c:v>
                </c:pt>
                <c:pt idx="2381">
                  <c:v>1.1785635129355509</c:v>
                </c:pt>
                <c:pt idx="2382">
                  <c:v>1.1397170953667679</c:v>
                </c:pt>
                <c:pt idx="2383">
                  <c:v>1.1124180972046904</c:v>
                </c:pt>
                <c:pt idx="2384">
                  <c:v>1.0975896266390939</c:v>
                </c:pt>
                <c:pt idx="2385">
                  <c:v>1.0724598966325296</c:v>
                </c:pt>
                <c:pt idx="2386">
                  <c:v>1.0340124390634426</c:v>
                </c:pt>
                <c:pt idx="2387">
                  <c:v>0.9995203447355282</c:v>
                </c:pt>
                <c:pt idx="2388">
                  <c:v>1.0499974822082565</c:v>
                </c:pt>
                <c:pt idx="2389">
                  <c:v>1.0875838453607405</c:v>
                </c:pt>
                <c:pt idx="2390">
                  <c:v>1.1243540163235906</c:v>
                </c:pt>
                <c:pt idx="2391">
                  <c:v>1.1182386087981833</c:v>
                </c:pt>
                <c:pt idx="2392">
                  <c:v>1.0836212703113872</c:v>
                </c:pt>
                <c:pt idx="2393">
                  <c:v>1.0739625306505716</c:v>
                </c:pt>
                <c:pt idx="2394">
                  <c:v>1.096740258859088</c:v>
                </c:pt>
                <c:pt idx="2395">
                  <c:v>1.0786060075580104</c:v>
                </c:pt>
                <c:pt idx="2396">
                  <c:v>1.082872138789025</c:v>
                </c:pt>
                <c:pt idx="2397">
                  <c:v>1.0750709145281383</c:v>
                </c:pt>
                <c:pt idx="2398">
                  <c:v>1.1133282916810616</c:v>
                </c:pt>
                <c:pt idx="2399">
                  <c:v>1.1057176896456897</c:v>
                </c:pt>
                <c:pt idx="2400">
                  <c:v>1.1169832627194565</c:v>
                </c:pt>
                <c:pt idx="2401">
                  <c:v>1.0571643376417921</c:v>
                </c:pt>
                <c:pt idx="2402">
                  <c:v>1.0667109724993808</c:v>
                </c:pt>
                <c:pt idx="2403">
                  <c:v>1.0171752637777718</c:v>
                </c:pt>
                <c:pt idx="2404">
                  <c:v>1.015595912492397</c:v>
                </c:pt>
                <c:pt idx="2405">
                  <c:v>1.0230917757509317</c:v>
                </c:pt>
                <c:pt idx="2406">
                  <c:v>1.0287236260777597</c:v>
                </c:pt>
                <c:pt idx="2407">
                  <c:v>0.99732377523233529</c:v>
                </c:pt>
                <c:pt idx="2408">
                  <c:v>0.99549998989706545</c:v>
                </c:pt>
                <c:pt idx="2409">
                  <c:v>1.019849493065397</c:v>
                </c:pt>
                <c:pt idx="2410">
                  <c:v>1.0219774048832753</c:v>
                </c:pt>
                <c:pt idx="2411">
                  <c:v>1.0295929337342025</c:v>
                </c:pt>
                <c:pt idx="2412">
                  <c:v>1.0431958522765017</c:v>
                </c:pt>
                <c:pt idx="2413">
                  <c:v>1.02919279830941</c:v>
                </c:pt>
                <c:pt idx="2414">
                  <c:v>1.0176576666231043</c:v>
                </c:pt>
                <c:pt idx="2415">
                  <c:v>0.98305411972019663</c:v>
                </c:pt>
                <c:pt idx="2416">
                  <c:v>1.0239643492357278</c:v>
                </c:pt>
                <c:pt idx="2417">
                  <c:v>1.053662250406189</c:v>
                </c:pt>
                <c:pt idx="2418">
                  <c:v>1.0192253086953136</c:v>
                </c:pt>
                <c:pt idx="2419">
                  <c:v>0.99778006467921776</c:v>
                </c:pt>
                <c:pt idx="2420">
                  <c:v>0.95707342468061696</c:v>
                </c:pt>
                <c:pt idx="2421">
                  <c:v>0.99371796919390065</c:v>
                </c:pt>
                <c:pt idx="2422">
                  <c:v>1.0312619765936373</c:v>
                </c:pt>
                <c:pt idx="2423">
                  <c:v>1.0258133302437371</c:v>
                </c:pt>
                <c:pt idx="2424">
                  <c:v>1.022586790371538</c:v>
                </c:pt>
                <c:pt idx="2425">
                  <c:v>1.0389432971068124</c:v>
                </c:pt>
                <c:pt idx="2426">
                  <c:v>1.0391751056895562</c:v>
                </c:pt>
                <c:pt idx="2427">
                  <c:v>1.057892244040006</c:v>
                </c:pt>
                <c:pt idx="2428">
                  <c:v>1.0243131031736992</c:v>
                </c:pt>
                <c:pt idx="2429">
                  <c:v>1.0304241423042642</c:v>
                </c:pt>
                <c:pt idx="2430">
                  <c:v>1.0335020475129397</c:v>
                </c:pt>
                <c:pt idx="2431">
                  <c:v>1.0524072590784612</c:v>
                </c:pt>
                <c:pt idx="2432">
                  <c:v>1.0646812623861615</c:v>
                </c:pt>
                <c:pt idx="2433">
                  <c:v>1.0894933636666559</c:v>
                </c:pt>
                <c:pt idx="2434">
                  <c:v>1.1189199575237854</c:v>
                </c:pt>
                <c:pt idx="2435">
                  <c:v>1.0598458390796182</c:v>
                </c:pt>
                <c:pt idx="2436">
                  <c:v>1.0626378803270109</c:v>
                </c:pt>
                <c:pt idx="2437">
                  <c:v>1.0888457190989</c:v>
                </c:pt>
                <c:pt idx="2438">
                  <c:v>1.0829435196106338</c:v>
                </c:pt>
                <c:pt idx="2439">
                  <c:v>1.0921148452268359</c:v>
                </c:pt>
                <c:pt idx="2440">
                  <c:v>1.1360491592830357</c:v>
                </c:pt>
                <c:pt idx="2441">
                  <c:v>1.1753229730202208</c:v>
                </c:pt>
                <c:pt idx="2442">
                  <c:v>1.1791969532463416</c:v>
                </c:pt>
                <c:pt idx="2443">
                  <c:v>1.242426389502949</c:v>
                </c:pt>
                <c:pt idx="2444">
                  <c:v>1.2199601541762657</c:v>
                </c:pt>
                <c:pt idx="2445">
                  <c:v>1.2694817559033407</c:v>
                </c:pt>
                <c:pt idx="2446">
                  <c:v>1.3135701986063273</c:v>
                </c:pt>
                <c:pt idx="2447">
                  <c:v>1.3571551127266184</c:v>
                </c:pt>
                <c:pt idx="2448">
                  <c:v>1.50985098602478</c:v>
                </c:pt>
                <c:pt idx="2449">
                  <c:v>1.5650851946992108</c:v>
                </c:pt>
                <c:pt idx="2450">
                  <c:v>1.7643790220169056</c:v>
                </c:pt>
                <c:pt idx="2451">
                  <c:v>0.38183766184073509</c:v>
                </c:pt>
              </c:numCache>
            </c:numRef>
          </c:val>
          <c:smooth val="0"/>
          <c:extLst>
            <c:ext xmlns:c16="http://schemas.microsoft.com/office/drawing/2014/chart" uri="{C3380CC4-5D6E-409C-BE32-E72D297353CC}">
              <c16:uniqueId val="{00000000-6950-4ED7-9FB8-753F466A9E67}"/>
            </c:ext>
          </c:extLst>
        </c:ser>
        <c:ser>
          <c:idx val="1"/>
          <c:order val="1"/>
          <c:tx>
            <c:strRef>
              <c:f>'DRT Rolling Stdev'!$D$1</c:f>
              <c:strCache>
                <c:ptCount val="1"/>
                <c:pt idx="0">
                  <c:v>Volumetric Flow Meter 2</c:v>
                </c:pt>
              </c:strCache>
            </c:strRef>
          </c:tx>
          <c:spPr>
            <a:ln w="28575" cap="rnd">
              <a:solidFill>
                <a:schemeClr val="accent2"/>
              </a:solidFill>
              <a:round/>
            </a:ln>
            <a:effectLst/>
          </c:spPr>
          <c:marker>
            <c:symbol val="none"/>
          </c:marker>
          <c:cat>
            <c:numRef>
              <c:f>'DRT Rolling Stdev'!$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D$2:$D$2453</c:f>
              <c:numCache>
                <c:formatCode>#,##0.00</c:formatCode>
                <c:ptCount val="2452"/>
                <c:pt idx="0">
                  <c:v>0.95842087556179822</c:v>
                </c:pt>
                <c:pt idx="1">
                  <c:v>1.0066843265559138</c:v>
                </c:pt>
                <c:pt idx="2">
                  <c:v>1.0257669404362542</c:v>
                </c:pt>
                <c:pt idx="3">
                  <c:v>1.0465756421361256</c:v>
                </c:pt>
                <c:pt idx="4">
                  <c:v>1.0349981953451977</c:v>
                </c:pt>
                <c:pt idx="5">
                  <c:v>1.0469812105154579</c:v>
                </c:pt>
                <c:pt idx="6">
                  <c:v>1.0050072911041059</c:v>
                </c:pt>
                <c:pt idx="7">
                  <c:v>1.01350019421713</c:v>
                </c:pt>
                <c:pt idx="8">
                  <c:v>1.0638093014657546</c:v>
                </c:pt>
                <c:pt idx="9">
                  <c:v>1.0665299301726239</c:v>
                </c:pt>
                <c:pt idx="10">
                  <c:v>1.0602626003067328</c:v>
                </c:pt>
                <c:pt idx="11">
                  <c:v>1.0581530211136538</c:v>
                </c:pt>
                <c:pt idx="12">
                  <c:v>1.0829547172159268</c:v>
                </c:pt>
                <c:pt idx="13">
                  <c:v>1.1187552606952658</c:v>
                </c:pt>
                <c:pt idx="14">
                  <c:v>1.1107673644517257</c:v>
                </c:pt>
                <c:pt idx="15">
                  <c:v>1.1097107420560013</c:v>
                </c:pt>
                <c:pt idx="16">
                  <c:v>1.1162558516920664</c:v>
                </c:pt>
                <c:pt idx="17">
                  <c:v>1.1367758399723429</c:v>
                </c:pt>
                <c:pt idx="18">
                  <c:v>1.1837447398807737</c:v>
                </c:pt>
                <c:pt idx="19">
                  <c:v>1.1590779133412046</c:v>
                </c:pt>
                <c:pt idx="20">
                  <c:v>1.1998634500852894</c:v>
                </c:pt>
                <c:pt idx="21">
                  <c:v>1.2061179771119586</c:v>
                </c:pt>
                <c:pt idx="22">
                  <c:v>1.2408416220591898</c:v>
                </c:pt>
                <c:pt idx="23">
                  <c:v>1.2402160082527702</c:v>
                </c:pt>
                <c:pt idx="24">
                  <c:v>1.2477002292493833</c:v>
                </c:pt>
                <c:pt idx="25">
                  <c:v>1.2159477170399684</c:v>
                </c:pt>
                <c:pt idx="26">
                  <c:v>1.2145573433271417</c:v>
                </c:pt>
                <c:pt idx="27">
                  <c:v>1.230538429950973</c:v>
                </c:pt>
                <c:pt idx="28">
                  <c:v>1.2319016231807638</c:v>
                </c:pt>
                <c:pt idx="29">
                  <c:v>1.2502549625033954</c:v>
                </c:pt>
                <c:pt idx="30">
                  <c:v>1.2543219993928665</c:v>
                </c:pt>
                <c:pt idx="31">
                  <c:v>1.2242529976679044</c:v>
                </c:pt>
                <c:pt idx="32">
                  <c:v>1.1991683420786581</c:v>
                </c:pt>
                <c:pt idx="33">
                  <c:v>1.2359262430100426</c:v>
                </c:pt>
                <c:pt idx="34">
                  <c:v>1.2609299615030531</c:v>
                </c:pt>
                <c:pt idx="35">
                  <c:v>1.2268953903453115</c:v>
                </c:pt>
                <c:pt idx="36">
                  <c:v>1.21540892319199</c:v>
                </c:pt>
                <c:pt idx="37">
                  <c:v>1.1974066325514323</c:v>
                </c:pt>
                <c:pt idx="38">
                  <c:v>1.1935738375765141</c:v>
                </c:pt>
                <c:pt idx="39">
                  <c:v>1.2127083776388294</c:v>
                </c:pt>
                <c:pt idx="40">
                  <c:v>1.209455087713224</c:v>
                </c:pt>
                <c:pt idx="41">
                  <c:v>1.2465038925021406</c:v>
                </c:pt>
                <c:pt idx="42">
                  <c:v>1.2226192441197521</c:v>
                </c:pt>
                <c:pt idx="43">
                  <c:v>1.1946838662298427</c:v>
                </c:pt>
                <c:pt idx="44">
                  <c:v>1.1856248170886741</c:v>
                </c:pt>
                <c:pt idx="45">
                  <c:v>1.1951740122426651</c:v>
                </c:pt>
                <c:pt idx="46">
                  <c:v>1.201423533042002</c:v>
                </c:pt>
                <c:pt idx="47">
                  <c:v>1.1929844735045751</c:v>
                </c:pt>
                <c:pt idx="48">
                  <c:v>1.2025316207279435</c:v>
                </c:pt>
                <c:pt idx="49">
                  <c:v>1.2070189363235682</c:v>
                </c:pt>
                <c:pt idx="50">
                  <c:v>1.2017210359629482</c:v>
                </c:pt>
                <c:pt idx="51">
                  <c:v>1.2323747750610996</c:v>
                </c:pt>
                <c:pt idx="52">
                  <c:v>1.2395503448715843</c:v>
                </c:pt>
                <c:pt idx="53">
                  <c:v>1.2358437947643186</c:v>
                </c:pt>
                <c:pt idx="54">
                  <c:v>1.2641577087704199</c:v>
                </c:pt>
                <c:pt idx="55">
                  <c:v>1.2827413622000541</c:v>
                </c:pt>
                <c:pt idx="56">
                  <c:v>1.2611591092525061</c:v>
                </c:pt>
                <c:pt idx="57">
                  <c:v>1.2509979464687244</c:v>
                </c:pt>
                <c:pt idx="58">
                  <c:v>1.2532261356700301</c:v>
                </c:pt>
                <c:pt idx="59">
                  <c:v>1.2611924661928524</c:v>
                </c:pt>
                <c:pt idx="60">
                  <c:v>1.2806596719668728</c:v>
                </c:pt>
                <c:pt idx="61">
                  <c:v>1.2952406246956851</c:v>
                </c:pt>
                <c:pt idx="62">
                  <c:v>1.3023217551830222</c:v>
                </c:pt>
                <c:pt idx="63">
                  <c:v>1.2630548627066425</c:v>
                </c:pt>
                <c:pt idx="64">
                  <c:v>1.283283504033359</c:v>
                </c:pt>
                <c:pt idx="65">
                  <c:v>1.2962217864008567</c:v>
                </c:pt>
                <c:pt idx="66">
                  <c:v>1.3102684203373489</c:v>
                </c:pt>
                <c:pt idx="67">
                  <c:v>1.3104248674889118</c:v>
                </c:pt>
                <c:pt idx="68">
                  <c:v>1.2907562160204384</c:v>
                </c:pt>
                <c:pt idx="69">
                  <c:v>1.3004501431091631</c:v>
                </c:pt>
                <c:pt idx="70">
                  <c:v>1.300673565556681</c:v>
                </c:pt>
                <c:pt idx="71">
                  <c:v>1.2938014912847233</c:v>
                </c:pt>
                <c:pt idx="72">
                  <c:v>1.319157864421225</c:v>
                </c:pt>
                <c:pt idx="73">
                  <c:v>1.3159581536162024</c:v>
                </c:pt>
                <c:pt idx="74">
                  <c:v>1.3537892754409195</c:v>
                </c:pt>
                <c:pt idx="75">
                  <c:v>1.3533398873064784</c:v>
                </c:pt>
                <c:pt idx="76">
                  <c:v>1.3495756676669222</c:v>
                </c:pt>
                <c:pt idx="77">
                  <c:v>1.3097291112392613</c:v>
                </c:pt>
                <c:pt idx="78">
                  <c:v>1.2934634962347999</c:v>
                </c:pt>
                <c:pt idx="79">
                  <c:v>1.2880382035456486</c:v>
                </c:pt>
                <c:pt idx="80">
                  <c:v>1.252531643209615</c:v>
                </c:pt>
                <c:pt idx="81">
                  <c:v>1.2283447885427892</c:v>
                </c:pt>
                <c:pt idx="82">
                  <c:v>1.1844624368749797</c:v>
                </c:pt>
                <c:pt idx="83">
                  <c:v>1.2108496114750149</c:v>
                </c:pt>
                <c:pt idx="84">
                  <c:v>1.2148466626669812</c:v>
                </c:pt>
                <c:pt idx="85">
                  <c:v>1.2089640763608458</c:v>
                </c:pt>
                <c:pt idx="86">
                  <c:v>1.2026476538497646</c:v>
                </c:pt>
                <c:pt idx="87">
                  <c:v>1.2017707720300681</c:v>
                </c:pt>
                <c:pt idx="88">
                  <c:v>1.2152805361763981</c:v>
                </c:pt>
                <c:pt idx="89">
                  <c:v>1.1806507070061076</c:v>
                </c:pt>
                <c:pt idx="90">
                  <c:v>1.1621433330001856</c:v>
                </c:pt>
                <c:pt idx="91">
                  <c:v>1.140188580893529</c:v>
                </c:pt>
                <c:pt idx="92">
                  <c:v>1.1436925979565877</c:v>
                </c:pt>
                <c:pt idx="93">
                  <c:v>1.173048930396106</c:v>
                </c:pt>
                <c:pt idx="94">
                  <c:v>1.1466350570355803</c:v>
                </c:pt>
                <c:pt idx="95">
                  <c:v>1.1338478886000356</c:v>
                </c:pt>
                <c:pt idx="96">
                  <c:v>1.1563907385610992</c:v>
                </c:pt>
                <c:pt idx="97">
                  <c:v>1.2037988242208089</c:v>
                </c:pt>
                <c:pt idx="98">
                  <c:v>1.1776381974689556</c:v>
                </c:pt>
                <c:pt idx="99">
                  <c:v>1.1776381974689554</c:v>
                </c:pt>
                <c:pt idx="100">
                  <c:v>1.1785506392155585</c:v>
                </c:pt>
                <c:pt idx="101">
                  <c:v>1.1842656680043511</c:v>
                </c:pt>
                <c:pt idx="102">
                  <c:v>1.1617280034599264</c:v>
                </c:pt>
                <c:pt idx="103">
                  <c:v>1.2088619137175183</c:v>
                </c:pt>
                <c:pt idx="104">
                  <c:v>1.1592881287743959</c:v>
                </c:pt>
                <c:pt idx="105">
                  <c:v>1.2181542944378885</c:v>
                </c:pt>
                <c:pt idx="106">
                  <c:v>1.238340055055162</c:v>
                </c:pt>
                <c:pt idx="107">
                  <c:v>1.2312119064648006</c:v>
                </c:pt>
                <c:pt idx="108">
                  <c:v>1.2127995541806109</c:v>
                </c:pt>
                <c:pt idx="109">
                  <c:v>1.217233720792553</c:v>
                </c:pt>
                <c:pt idx="110">
                  <c:v>1.2442528109155566</c:v>
                </c:pt>
                <c:pt idx="111">
                  <c:v>1.2298827623783504</c:v>
                </c:pt>
                <c:pt idx="112">
                  <c:v>1.2913044282572492</c:v>
                </c:pt>
                <c:pt idx="113">
                  <c:v>1.2819708695383163</c:v>
                </c:pt>
                <c:pt idx="114">
                  <c:v>1.2597655319154824</c:v>
                </c:pt>
                <c:pt idx="115">
                  <c:v>1.2470205410838495</c:v>
                </c:pt>
                <c:pt idx="116">
                  <c:v>1.2651989076275985</c:v>
                </c:pt>
                <c:pt idx="117">
                  <c:v>1.2555156929216036</c:v>
                </c:pt>
                <c:pt idx="118">
                  <c:v>1.2469053646952311</c:v>
                </c:pt>
                <c:pt idx="119">
                  <c:v>1.2472063494710568</c:v>
                </c:pt>
                <c:pt idx="120">
                  <c:v>1.249934067226665</c:v>
                </c:pt>
                <c:pt idx="121">
                  <c:v>1.2509371659293875</c:v>
                </c:pt>
                <c:pt idx="122">
                  <c:v>1.2458554739892442</c:v>
                </c:pt>
                <c:pt idx="123">
                  <c:v>1.2552217828487244</c:v>
                </c:pt>
                <c:pt idx="124">
                  <c:v>1.2578818631370734</c:v>
                </c:pt>
                <c:pt idx="125">
                  <c:v>1.2574049174537141</c:v>
                </c:pt>
                <c:pt idx="126">
                  <c:v>1.209935117477688</c:v>
                </c:pt>
                <c:pt idx="127">
                  <c:v>1.1713679987543397</c:v>
                </c:pt>
                <c:pt idx="128">
                  <c:v>1.2230429358728603</c:v>
                </c:pt>
                <c:pt idx="129">
                  <c:v>1.2078819688093336</c:v>
                </c:pt>
                <c:pt idx="130">
                  <c:v>1.2175228761805619</c:v>
                </c:pt>
                <c:pt idx="131">
                  <c:v>1.1986980005621615</c:v>
                </c:pt>
                <c:pt idx="132">
                  <c:v>1.1794518988111367</c:v>
                </c:pt>
                <c:pt idx="133">
                  <c:v>1.1448876871081959</c:v>
                </c:pt>
                <c:pt idx="134">
                  <c:v>1.1310261844382989</c:v>
                </c:pt>
                <c:pt idx="135">
                  <c:v>1.0781417069336874</c:v>
                </c:pt>
                <c:pt idx="136">
                  <c:v>1.0427102726278656</c:v>
                </c:pt>
                <c:pt idx="137">
                  <c:v>1.0542693171592579</c:v>
                </c:pt>
                <c:pt idx="138">
                  <c:v>1.0576002438833252</c:v>
                </c:pt>
                <c:pt idx="139">
                  <c:v>1.0489406259563068</c:v>
                </c:pt>
                <c:pt idx="140">
                  <c:v>1.0552737837266164</c:v>
                </c:pt>
                <c:pt idx="141">
                  <c:v>1.0653424251190884</c:v>
                </c:pt>
                <c:pt idx="142">
                  <c:v>1.0258305297962567</c:v>
                </c:pt>
                <c:pt idx="143">
                  <c:v>1.0491143500783073</c:v>
                </c:pt>
                <c:pt idx="144">
                  <c:v>1.0353940890019746</c:v>
                </c:pt>
                <c:pt idx="145">
                  <c:v>1.0328203213008318</c:v>
                </c:pt>
                <c:pt idx="146">
                  <c:v>1.0364907638026855</c:v>
                </c:pt>
                <c:pt idx="147">
                  <c:v>1.0668785709055508</c:v>
                </c:pt>
                <c:pt idx="148">
                  <c:v>1.0648509690125167</c:v>
                </c:pt>
                <c:pt idx="149">
                  <c:v>1.0985020626331088</c:v>
                </c:pt>
                <c:pt idx="150">
                  <c:v>1.1357211998013244</c:v>
                </c:pt>
                <c:pt idx="151">
                  <c:v>1.1164264109355715</c:v>
                </c:pt>
                <c:pt idx="152">
                  <c:v>1.1679622199054369</c:v>
                </c:pt>
                <c:pt idx="153">
                  <c:v>1.1502435524205543</c:v>
                </c:pt>
                <c:pt idx="154">
                  <c:v>1.1301319727633883</c:v>
                </c:pt>
                <c:pt idx="155">
                  <c:v>1.1238503193174274</c:v>
                </c:pt>
                <c:pt idx="156">
                  <c:v>1.1258263886902204</c:v>
                </c:pt>
                <c:pt idx="157">
                  <c:v>1.133982707808719</c:v>
                </c:pt>
                <c:pt idx="158">
                  <c:v>1.1061034434383643</c:v>
                </c:pt>
                <c:pt idx="159">
                  <c:v>1.1021825786962924</c:v>
                </c:pt>
                <c:pt idx="160">
                  <c:v>1.1416551807459805</c:v>
                </c:pt>
                <c:pt idx="161">
                  <c:v>1.1408575117292101</c:v>
                </c:pt>
                <c:pt idx="162">
                  <c:v>1.1405183334631306</c:v>
                </c:pt>
                <c:pt idx="163">
                  <c:v>1.1498965470708731</c:v>
                </c:pt>
                <c:pt idx="164">
                  <c:v>1.1450648227396829</c:v>
                </c:pt>
                <c:pt idx="165">
                  <c:v>1.151469026739421</c:v>
                </c:pt>
                <c:pt idx="166">
                  <c:v>1.1472768357859555</c:v>
                </c:pt>
                <c:pt idx="167">
                  <c:v>1.136824625826278</c:v>
                </c:pt>
                <c:pt idx="168">
                  <c:v>1.164135563066176</c:v>
                </c:pt>
                <c:pt idx="169">
                  <c:v>1.1677874255464338</c:v>
                </c:pt>
                <c:pt idx="170">
                  <c:v>1.1356624478260691</c:v>
                </c:pt>
                <c:pt idx="171">
                  <c:v>1.1017747438596044</c:v>
                </c:pt>
                <c:pt idx="172">
                  <c:v>1.0371960986845432</c:v>
                </c:pt>
                <c:pt idx="173">
                  <c:v>1.032658938255328</c:v>
                </c:pt>
                <c:pt idx="174">
                  <c:v>1.1010644797221221</c:v>
                </c:pt>
                <c:pt idx="175">
                  <c:v>1.0979042208503071</c:v>
                </c:pt>
                <c:pt idx="176">
                  <c:v>1.0914200914826309</c:v>
                </c:pt>
                <c:pt idx="177">
                  <c:v>1.1086442481542571</c:v>
                </c:pt>
                <c:pt idx="178">
                  <c:v>1.16305068528922</c:v>
                </c:pt>
                <c:pt idx="179">
                  <c:v>1.1770100928287275</c:v>
                </c:pt>
                <c:pt idx="180">
                  <c:v>1.1502148225140534</c:v>
                </c:pt>
                <c:pt idx="181">
                  <c:v>1.1241099160884032</c:v>
                </c:pt>
                <c:pt idx="182">
                  <c:v>1.0780399945665551</c:v>
                </c:pt>
                <c:pt idx="183">
                  <c:v>1.1074566492125359</c:v>
                </c:pt>
                <c:pt idx="184">
                  <c:v>1.1393585612240262</c:v>
                </c:pt>
                <c:pt idx="185">
                  <c:v>1.1447592227891943</c:v>
                </c:pt>
                <c:pt idx="186">
                  <c:v>1.1899919829730916</c:v>
                </c:pt>
                <c:pt idx="187">
                  <c:v>1.2079168445916617</c:v>
                </c:pt>
                <c:pt idx="188">
                  <c:v>1.205264124246384</c:v>
                </c:pt>
                <c:pt idx="189">
                  <c:v>1.2152226511853799</c:v>
                </c:pt>
                <c:pt idx="190">
                  <c:v>1.2273474341595096</c:v>
                </c:pt>
                <c:pt idx="191">
                  <c:v>1.188939641556445</c:v>
                </c:pt>
                <c:pt idx="192">
                  <c:v>1.1820517910741517</c:v>
                </c:pt>
                <c:pt idx="193">
                  <c:v>1.1851185012769676</c:v>
                </c:pt>
                <c:pt idx="194">
                  <c:v>1.189451916669592</c:v>
                </c:pt>
                <c:pt idx="195">
                  <c:v>1.2182767648863986</c:v>
                </c:pt>
                <c:pt idx="196">
                  <c:v>1.2375959268521042</c:v>
                </c:pt>
                <c:pt idx="197">
                  <c:v>1.2561762816478874</c:v>
                </c:pt>
                <c:pt idx="198">
                  <c:v>1.2436429616622104</c:v>
                </c:pt>
                <c:pt idx="199">
                  <c:v>1.2433906183838841</c:v>
                </c:pt>
                <c:pt idx="200">
                  <c:v>1.2610517868808573</c:v>
                </c:pt>
                <c:pt idx="201">
                  <c:v>1.3011961340667841</c:v>
                </c:pt>
                <c:pt idx="202">
                  <c:v>1.2712805111111529</c:v>
                </c:pt>
                <c:pt idx="203">
                  <c:v>1.2388158973738623</c:v>
                </c:pt>
                <c:pt idx="204">
                  <c:v>1.2466025553617652</c:v>
                </c:pt>
                <c:pt idx="205">
                  <c:v>1.2578874828617346</c:v>
                </c:pt>
                <c:pt idx="206">
                  <c:v>1.2578874828617346</c:v>
                </c:pt>
                <c:pt idx="207">
                  <c:v>1.2578874828617344</c:v>
                </c:pt>
                <c:pt idx="208">
                  <c:v>1.2571476563574613</c:v>
                </c:pt>
                <c:pt idx="209">
                  <c:v>1.2491818011857976</c:v>
                </c:pt>
                <c:pt idx="210">
                  <c:v>1.2581280109567639</c:v>
                </c:pt>
                <c:pt idx="211">
                  <c:v>1.2509099676341366</c:v>
                </c:pt>
                <c:pt idx="212">
                  <c:v>1.2649910271818434</c:v>
                </c:pt>
                <c:pt idx="213">
                  <c:v>1.2731387586789491</c:v>
                </c:pt>
                <c:pt idx="214">
                  <c:v>1.3208950727076878</c:v>
                </c:pt>
                <c:pt idx="215">
                  <c:v>1.3876511619014473</c:v>
                </c:pt>
                <c:pt idx="216">
                  <c:v>1.4366426378767676</c:v>
                </c:pt>
                <c:pt idx="217">
                  <c:v>1.4911462843662626</c:v>
                </c:pt>
                <c:pt idx="218">
                  <c:v>1.4855667288099603</c:v>
                </c:pt>
                <c:pt idx="219">
                  <c:v>1.4621862076175955</c:v>
                </c:pt>
                <c:pt idx="220">
                  <c:v>1.5021104310690465</c:v>
                </c:pt>
                <c:pt idx="221">
                  <c:v>1.5016389896284705</c:v>
                </c:pt>
                <c:pt idx="222">
                  <c:v>1.4926594718322646</c:v>
                </c:pt>
                <c:pt idx="223">
                  <c:v>1.4992958117177817</c:v>
                </c:pt>
                <c:pt idx="224">
                  <c:v>1.5130628524295671</c:v>
                </c:pt>
                <c:pt idx="225">
                  <c:v>1.5022528675828577</c:v>
                </c:pt>
                <c:pt idx="226">
                  <c:v>1.4962526370980898</c:v>
                </c:pt>
                <c:pt idx="227">
                  <c:v>1.4798866064047242</c:v>
                </c:pt>
                <c:pt idx="228">
                  <c:v>1.4726137526071852</c:v>
                </c:pt>
                <c:pt idx="229">
                  <c:v>1.4908218824049606</c:v>
                </c:pt>
                <c:pt idx="230">
                  <c:v>1.4702083674357727</c:v>
                </c:pt>
                <c:pt idx="231">
                  <c:v>1.4590075354520096</c:v>
                </c:pt>
                <c:pt idx="232">
                  <c:v>1.5075524809301399</c:v>
                </c:pt>
                <c:pt idx="233">
                  <c:v>1.5560532154124427</c:v>
                </c:pt>
                <c:pt idx="234">
                  <c:v>1.4743862545432951</c:v>
                </c:pt>
                <c:pt idx="235">
                  <c:v>1.4844781582424342</c:v>
                </c:pt>
                <c:pt idx="236">
                  <c:v>1.483741620162452</c:v>
                </c:pt>
                <c:pt idx="237">
                  <c:v>1.3835050025041546</c:v>
                </c:pt>
                <c:pt idx="238">
                  <c:v>1.3177696238755829</c:v>
                </c:pt>
                <c:pt idx="239">
                  <c:v>1.2591937303587213</c:v>
                </c:pt>
                <c:pt idx="240">
                  <c:v>1.2887617241403451</c:v>
                </c:pt>
                <c:pt idx="241">
                  <c:v>1.254210792747247</c:v>
                </c:pt>
                <c:pt idx="242">
                  <c:v>1.1639093854210742</c:v>
                </c:pt>
                <c:pt idx="243">
                  <c:v>1.0208876574801962</c:v>
                </c:pt>
                <c:pt idx="244">
                  <c:v>1.0163183499798412</c:v>
                </c:pt>
                <c:pt idx="245">
                  <c:v>1.0318137139183043</c:v>
                </c:pt>
                <c:pt idx="246">
                  <c:v>1.0385815370953795</c:v>
                </c:pt>
                <c:pt idx="247">
                  <c:v>1.0206392520173913</c:v>
                </c:pt>
                <c:pt idx="248">
                  <c:v>1.0366740030046795</c:v>
                </c:pt>
                <c:pt idx="249">
                  <c:v>1.0153251560036285</c:v>
                </c:pt>
                <c:pt idx="250">
                  <c:v>0.98931510036797199</c:v>
                </c:pt>
                <c:pt idx="251">
                  <c:v>1.0006195781763834</c:v>
                </c:pt>
                <c:pt idx="252">
                  <c:v>1.0271610803848976</c:v>
                </c:pt>
                <c:pt idx="253">
                  <c:v>1.0410701832425997</c:v>
                </c:pt>
                <c:pt idx="254">
                  <c:v>1.0712588469839481</c:v>
                </c:pt>
                <c:pt idx="255">
                  <c:v>1.0632219521530906</c:v>
                </c:pt>
                <c:pt idx="256">
                  <c:v>1.0785345528119132</c:v>
                </c:pt>
                <c:pt idx="257">
                  <c:v>1.1712810552317603</c:v>
                </c:pt>
                <c:pt idx="258">
                  <c:v>1.2877827331565252</c:v>
                </c:pt>
                <c:pt idx="259">
                  <c:v>1.3215277209507856</c:v>
                </c:pt>
                <c:pt idx="260">
                  <c:v>1.356202821097944</c:v>
                </c:pt>
                <c:pt idx="261">
                  <c:v>1.3696908368335339</c:v>
                </c:pt>
                <c:pt idx="262">
                  <c:v>1.3842513226065312</c:v>
                </c:pt>
                <c:pt idx="263">
                  <c:v>1.337944082469851</c:v>
                </c:pt>
                <c:pt idx="264">
                  <c:v>1.3747026846792607</c:v>
                </c:pt>
                <c:pt idx="265">
                  <c:v>1.4450752277279904</c:v>
                </c:pt>
                <c:pt idx="266">
                  <c:v>1.4555442952388287</c:v>
                </c:pt>
                <c:pt idx="267">
                  <c:v>1.5227982409888123</c:v>
                </c:pt>
                <c:pt idx="268">
                  <c:v>1.5203232036899788</c:v>
                </c:pt>
                <c:pt idx="269">
                  <c:v>1.5609515223646164</c:v>
                </c:pt>
                <c:pt idx="270">
                  <c:v>1.5450032548416406</c:v>
                </c:pt>
                <c:pt idx="271">
                  <c:v>1.5493556688203474</c:v>
                </c:pt>
                <c:pt idx="272">
                  <c:v>1.5546547090488663</c:v>
                </c:pt>
                <c:pt idx="273">
                  <c:v>1.5602601094674573</c:v>
                </c:pt>
                <c:pt idx="274">
                  <c:v>1.5081479850557056</c:v>
                </c:pt>
                <c:pt idx="275">
                  <c:v>1.4501307511401511</c:v>
                </c:pt>
                <c:pt idx="276">
                  <c:v>1.4971501279922219</c:v>
                </c:pt>
                <c:pt idx="277">
                  <c:v>1.4790358773325212</c:v>
                </c:pt>
                <c:pt idx="278">
                  <c:v>1.4086293982482387</c:v>
                </c:pt>
                <c:pt idx="279">
                  <c:v>1.3736119012197054</c:v>
                </c:pt>
                <c:pt idx="280">
                  <c:v>1.3938182074439616</c:v>
                </c:pt>
                <c:pt idx="281">
                  <c:v>1.2534689795757294</c:v>
                </c:pt>
                <c:pt idx="282">
                  <c:v>1.2612526158226749</c:v>
                </c:pt>
                <c:pt idx="283">
                  <c:v>1.1870179481353269</c:v>
                </c:pt>
                <c:pt idx="284">
                  <c:v>1.2051308413726642</c:v>
                </c:pt>
                <c:pt idx="285">
                  <c:v>1.1778002094299922</c:v>
                </c:pt>
                <c:pt idx="286">
                  <c:v>1.1649488173848828</c:v>
                </c:pt>
                <c:pt idx="287">
                  <c:v>1.1567235237276137</c:v>
                </c:pt>
                <c:pt idx="288">
                  <c:v>1.1484366685234302</c:v>
                </c:pt>
                <c:pt idx="289">
                  <c:v>1.1512552369868532</c:v>
                </c:pt>
                <c:pt idx="290">
                  <c:v>1.1560626797627496</c:v>
                </c:pt>
                <c:pt idx="291">
                  <c:v>1.1607569864571978</c:v>
                </c:pt>
                <c:pt idx="292">
                  <c:v>1.2171693655230633</c:v>
                </c:pt>
                <c:pt idx="293">
                  <c:v>1.2466222869966592</c:v>
                </c:pt>
                <c:pt idx="294">
                  <c:v>1.2510804525891106</c:v>
                </c:pt>
                <c:pt idx="295">
                  <c:v>1.2253669401167282</c:v>
                </c:pt>
                <c:pt idx="296">
                  <c:v>1.2801506736030863</c:v>
                </c:pt>
                <c:pt idx="297">
                  <c:v>1.2506386874060711</c:v>
                </c:pt>
                <c:pt idx="298">
                  <c:v>1.259880901140052</c:v>
                </c:pt>
                <c:pt idx="299">
                  <c:v>1.2892833704021007</c:v>
                </c:pt>
                <c:pt idx="300">
                  <c:v>1.3105147273398767</c:v>
                </c:pt>
                <c:pt idx="301">
                  <c:v>1.3175126338027592</c:v>
                </c:pt>
                <c:pt idx="302">
                  <c:v>1.3214737941048038</c:v>
                </c:pt>
                <c:pt idx="303">
                  <c:v>1.3378942108927105</c:v>
                </c:pt>
                <c:pt idx="304">
                  <c:v>1.389318240150107</c:v>
                </c:pt>
                <c:pt idx="305">
                  <c:v>1.3424571741280293</c:v>
                </c:pt>
                <c:pt idx="306">
                  <c:v>1.3266579304281167</c:v>
                </c:pt>
                <c:pt idx="307">
                  <c:v>1.3385940471212714</c:v>
                </c:pt>
                <c:pt idx="308">
                  <c:v>1.351471951903408</c:v>
                </c:pt>
                <c:pt idx="309">
                  <c:v>1.378158066105776</c:v>
                </c:pt>
                <c:pt idx="310">
                  <c:v>1.3511925766930275</c:v>
                </c:pt>
                <c:pt idx="311">
                  <c:v>1.3513074128923919</c:v>
                </c:pt>
                <c:pt idx="312">
                  <c:v>1.3438769186252852</c:v>
                </c:pt>
                <c:pt idx="313">
                  <c:v>1.317073951266005</c:v>
                </c:pt>
                <c:pt idx="314">
                  <c:v>1.2949759683564357</c:v>
                </c:pt>
                <c:pt idx="315">
                  <c:v>1.3041269594777878</c:v>
                </c:pt>
                <c:pt idx="316">
                  <c:v>1.32291718752818</c:v>
                </c:pt>
                <c:pt idx="317">
                  <c:v>1.366242603118023</c:v>
                </c:pt>
                <c:pt idx="318">
                  <c:v>1.3424280626716181</c:v>
                </c:pt>
                <c:pt idx="319">
                  <c:v>1.3813305679420234</c:v>
                </c:pt>
                <c:pt idx="320">
                  <c:v>1.3637008469602114</c:v>
                </c:pt>
                <c:pt idx="321">
                  <c:v>1.395980436578659</c:v>
                </c:pt>
                <c:pt idx="322">
                  <c:v>1.374882440115492</c:v>
                </c:pt>
                <c:pt idx="323">
                  <c:v>1.3534928845419709</c:v>
                </c:pt>
                <c:pt idx="324">
                  <c:v>1.3479198107053521</c:v>
                </c:pt>
                <c:pt idx="325">
                  <c:v>1.3404820285872971</c:v>
                </c:pt>
                <c:pt idx="326">
                  <c:v>1.3405233152096565</c:v>
                </c:pt>
                <c:pt idx="327">
                  <c:v>1.33851418740522</c:v>
                </c:pt>
                <c:pt idx="328">
                  <c:v>1.3036066679898444</c:v>
                </c:pt>
                <c:pt idx="329">
                  <c:v>1.2784783070545993</c:v>
                </c:pt>
                <c:pt idx="330">
                  <c:v>1.2705463120384406</c:v>
                </c:pt>
                <c:pt idx="331">
                  <c:v>1.260248151079322</c:v>
                </c:pt>
                <c:pt idx="332">
                  <c:v>1.2361975440098929</c:v>
                </c:pt>
                <c:pt idx="333">
                  <c:v>1.2563740932019272</c:v>
                </c:pt>
                <c:pt idx="334">
                  <c:v>1.2207751447432851</c:v>
                </c:pt>
                <c:pt idx="335">
                  <c:v>1.236754605418144</c:v>
                </c:pt>
                <c:pt idx="336">
                  <c:v>1.1919085921135157</c:v>
                </c:pt>
                <c:pt idx="337">
                  <c:v>1.1657517430554334</c:v>
                </c:pt>
                <c:pt idx="338">
                  <c:v>1.1785974520687665</c:v>
                </c:pt>
                <c:pt idx="339">
                  <c:v>1.1595691332183018</c:v>
                </c:pt>
                <c:pt idx="340">
                  <c:v>1.1992190945701326</c:v>
                </c:pt>
                <c:pt idx="341">
                  <c:v>1.201690619430636</c:v>
                </c:pt>
                <c:pt idx="342">
                  <c:v>1.2034997337745454</c:v>
                </c:pt>
                <c:pt idx="343">
                  <c:v>1.2347015554515519</c:v>
                </c:pt>
                <c:pt idx="344">
                  <c:v>1.2212872895752906</c:v>
                </c:pt>
                <c:pt idx="345">
                  <c:v>1.1811262889059859</c:v>
                </c:pt>
                <c:pt idx="346">
                  <c:v>1.1703833736768945</c:v>
                </c:pt>
                <c:pt idx="347">
                  <c:v>1.115430126819287</c:v>
                </c:pt>
                <c:pt idx="348">
                  <c:v>1.1058508972264527</c:v>
                </c:pt>
                <c:pt idx="349">
                  <c:v>1.0357084309896234</c:v>
                </c:pt>
                <c:pt idx="350">
                  <c:v>1.0562444858048265</c:v>
                </c:pt>
                <c:pt idx="351">
                  <c:v>1.034058236648985</c:v>
                </c:pt>
                <c:pt idx="352">
                  <c:v>1.0369428984821887</c:v>
                </c:pt>
                <c:pt idx="353">
                  <c:v>1.0314819714717576</c:v>
                </c:pt>
                <c:pt idx="354">
                  <c:v>1.041835030071967</c:v>
                </c:pt>
                <c:pt idx="355">
                  <c:v>1.0337433928682931</c:v>
                </c:pt>
                <c:pt idx="356">
                  <c:v>0.98817194511048934</c:v>
                </c:pt>
                <c:pt idx="357">
                  <c:v>0.98844595315012052</c:v>
                </c:pt>
                <c:pt idx="358">
                  <c:v>1.0338803150012703</c:v>
                </c:pt>
                <c:pt idx="359">
                  <c:v>1.0566333436857391</c:v>
                </c:pt>
                <c:pt idx="360">
                  <c:v>1.060948177095733</c:v>
                </c:pt>
                <c:pt idx="361">
                  <c:v>1.0344091544696299</c:v>
                </c:pt>
                <c:pt idx="362">
                  <c:v>1.0958949525964778</c:v>
                </c:pt>
                <c:pt idx="363">
                  <c:v>1.0889277653549467</c:v>
                </c:pt>
                <c:pt idx="364">
                  <c:v>1.0933818148768744</c:v>
                </c:pt>
                <c:pt idx="365">
                  <c:v>1.1059174170494523</c:v>
                </c:pt>
                <c:pt idx="366">
                  <c:v>1.1566460132642136</c:v>
                </c:pt>
                <c:pt idx="367">
                  <c:v>1.1795683995408668</c:v>
                </c:pt>
                <c:pt idx="368">
                  <c:v>1.1260879796583543</c:v>
                </c:pt>
                <c:pt idx="369">
                  <c:v>1.1229896469364429</c:v>
                </c:pt>
                <c:pt idx="370">
                  <c:v>1.0701399629160127</c:v>
                </c:pt>
                <c:pt idx="371">
                  <c:v>1.0693773029627822</c:v>
                </c:pt>
                <c:pt idx="372">
                  <c:v>1.0579455801574635</c:v>
                </c:pt>
                <c:pt idx="373">
                  <c:v>1.0209486235624312</c:v>
                </c:pt>
                <c:pt idx="374">
                  <c:v>1.0105648812967651</c:v>
                </c:pt>
                <c:pt idx="375">
                  <c:v>1.0163726350769848</c:v>
                </c:pt>
                <c:pt idx="376">
                  <c:v>1.0085145557677404</c:v>
                </c:pt>
                <c:pt idx="377">
                  <c:v>1.0173447521993644</c:v>
                </c:pt>
                <c:pt idx="378">
                  <c:v>1.0394882140392152</c:v>
                </c:pt>
                <c:pt idx="379">
                  <c:v>1.0479723717512899</c:v>
                </c:pt>
                <c:pt idx="380">
                  <c:v>1.0911820544080029</c:v>
                </c:pt>
                <c:pt idx="381">
                  <c:v>1.0698157538223287</c:v>
                </c:pt>
                <c:pt idx="382">
                  <c:v>1.0750207161863838</c:v>
                </c:pt>
                <c:pt idx="383">
                  <c:v>1.0717479545867679</c:v>
                </c:pt>
                <c:pt idx="384">
                  <c:v>1.0431508966124936</c:v>
                </c:pt>
                <c:pt idx="385">
                  <c:v>1.0859779744173177</c:v>
                </c:pt>
                <c:pt idx="386">
                  <c:v>1.1191360070602907</c:v>
                </c:pt>
                <c:pt idx="387">
                  <c:v>1.1106392484645433</c:v>
                </c:pt>
                <c:pt idx="388">
                  <c:v>1.1183592764690462</c:v>
                </c:pt>
                <c:pt idx="389">
                  <c:v>1.108444078815918</c:v>
                </c:pt>
                <c:pt idx="390">
                  <c:v>1.0881229752171406</c:v>
                </c:pt>
                <c:pt idx="391">
                  <c:v>1.109953970258206</c:v>
                </c:pt>
                <c:pt idx="392">
                  <c:v>1.077170409895307</c:v>
                </c:pt>
                <c:pt idx="393">
                  <c:v>1.0446274152929407</c:v>
                </c:pt>
                <c:pt idx="394">
                  <c:v>1.0410521313699359</c:v>
                </c:pt>
                <c:pt idx="395">
                  <c:v>1.001292555454796</c:v>
                </c:pt>
                <c:pt idx="396">
                  <c:v>0.95712548571349787</c:v>
                </c:pt>
                <c:pt idx="397">
                  <c:v>0.94325219991457154</c:v>
                </c:pt>
                <c:pt idx="398">
                  <c:v>0.97019941071499571</c:v>
                </c:pt>
                <c:pt idx="399">
                  <c:v>1.0288161369643078</c:v>
                </c:pt>
                <c:pt idx="400">
                  <c:v>1.046390841465773</c:v>
                </c:pt>
                <c:pt idx="401">
                  <c:v>1.1067078651796847</c:v>
                </c:pt>
                <c:pt idx="402">
                  <c:v>1.1264198702694883</c:v>
                </c:pt>
                <c:pt idx="403">
                  <c:v>1.1134622920701307</c:v>
                </c:pt>
                <c:pt idx="404">
                  <c:v>1.1148550238205555</c:v>
                </c:pt>
                <c:pt idx="405">
                  <c:v>1.1531680002417726</c:v>
                </c:pt>
                <c:pt idx="406">
                  <c:v>1.1702529935725512</c:v>
                </c:pt>
                <c:pt idx="407">
                  <c:v>1.1374561252116975</c:v>
                </c:pt>
                <c:pt idx="408">
                  <c:v>1.1578777653708656</c:v>
                </c:pt>
                <c:pt idx="409">
                  <c:v>1.1281976267735501</c:v>
                </c:pt>
                <c:pt idx="410">
                  <c:v>1.1074216196544837</c:v>
                </c:pt>
                <c:pt idx="411">
                  <c:v>1.1067961944694034</c:v>
                </c:pt>
                <c:pt idx="412">
                  <c:v>1.1066001053241625</c:v>
                </c:pt>
                <c:pt idx="413">
                  <c:v>1.1350074687080205</c:v>
                </c:pt>
                <c:pt idx="414">
                  <c:v>1.1279676057140244</c:v>
                </c:pt>
                <c:pt idx="415">
                  <c:v>1.1466192686007137</c:v>
                </c:pt>
                <c:pt idx="416">
                  <c:v>1.126746103436437</c:v>
                </c:pt>
                <c:pt idx="417">
                  <c:v>1.1334102746025869</c:v>
                </c:pt>
                <c:pt idx="418">
                  <c:v>1.1050467301712033</c:v>
                </c:pt>
                <c:pt idx="419">
                  <c:v>1.1138870534376861</c:v>
                </c:pt>
                <c:pt idx="420">
                  <c:v>1.1540989419525916</c:v>
                </c:pt>
                <c:pt idx="421">
                  <c:v>1.1559006042461222</c:v>
                </c:pt>
                <c:pt idx="422">
                  <c:v>1.19035182667326</c:v>
                </c:pt>
                <c:pt idx="423">
                  <c:v>1.189843078613368</c:v>
                </c:pt>
                <c:pt idx="424">
                  <c:v>1.2185540706052009</c:v>
                </c:pt>
                <c:pt idx="425">
                  <c:v>1.2241677914441278</c:v>
                </c:pt>
                <c:pt idx="426">
                  <c:v>1.221626765433284</c:v>
                </c:pt>
                <c:pt idx="427">
                  <c:v>1.1931104909764891</c:v>
                </c:pt>
                <c:pt idx="428">
                  <c:v>1.2130070926818812</c:v>
                </c:pt>
                <c:pt idx="429">
                  <c:v>1.223771680680992</c:v>
                </c:pt>
                <c:pt idx="430">
                  <c:v>1.217914412937698</c:v>
                </c:pt>
                <c:pt idx="431">
                  <c:v>1.2042845446022359</c:v>
                </c:pt>
                <c:pt idx="432">
                  <c:v>1.2001808292871974</c:v>
                </c:pt>
                <c:pt idx="433">
                  <c:v>1.2204510189496225</c:v>
                </c:pt>
                <c:pt idx="434">
                  <c:v>1.2140416493830763</c:v>
                </c:pt>
                <c:pt idx="435">
                  <c:v>1.1730158106155357</c:v>
                </c:pt>
                <c:pt idx="436">
                  <c:v>1.1654040293924408</c:v>
                </c:pt>
                <c:pt idx="437">
                  <c:v>1.1959575589286686</c:v>
                </c:pt>
                <c:pt idx="438">
                  <c:v>1.1655882043281687</c:v>
                </c:pt>
                <c:pt idx="439">
                  <c:v>1.2010660494628982</c:v>
                </c:pt>
                <c:pt idx="440">
                  <c:v>1.2269197483802747</c:v>
                </c:pt>
                <c:pt idx="441">
                  <c:v>1.22635915685789</c:v>
                </c:pt>
                <c:pt idx="442">
                  <c:v>1.2430466835446141</c:v>
                </c:pt>
                <c:pt idx="443">
                  <c:v>1.2152761381488664</c:v>
                </c:pt>
                <c:pt idx="444">
                  <c:v>1.2458619321670392</c:v>
                </c:pt>
                <c:pt idx="445">
                  <c:v>1.2321237156124838</c:v>
                </c:pt>
                <c:pt idx="446">
                  <c:v>1.2290431751719635</c:v>
                </c:pt>
                <c:pt idx="447">
                  <c:v>1.2234955105630003</c:v>
                </c:pt>
                <c:pt idx="448">
                  <c:v>1.2159484260085394</c:v>
                </c:pt>
                <c:pt idx="449">
                  <c:v>1.1989044807752569</c:v>
                </c:pt>
                <c:pt idx="450">
                  <c:v>1.1794782111487745</c:v>
                </c:pt>
                <c:pt idx="451">
                  <c:v>1.1426547532205302</c:v>
                </c:pt>
                <c:pt idx="452">
                  <c:v>1.1439958202640468</c:v>
                </c:pt>
                <c:pt idx="453">
                  <c:v>1.1503723035529017</c:v>
                </c:pt>
                <c:pt idx="454">
                  <c:v>1.0969202445886874</c:v>
                </c:pt>
                <c:pt idx="455">
                  <c:v>1.0813093382827468</c:v>
                </c:pt>
                <c:pt idx="456">
                  <c:v>1.1441349188988503</c:v>
                </c:pt>
                <c:pt idx="457">
                  <c:v>1.1592705296519623</c:v>
                </c:pt>
                <c:pt idx="458">
                  <c:v>1.1776791905532127</c:v>
                </c:pt>
                <c:pt idx="459">
                  <c:v>1.1700997108508893</c:v>
                </c:pt>
                <c:pt idx="460">
                  <c:v>1.1746745208290927</c:v>
                </c:pt>
                <c:pt idx="461">
                  <c:v>1.1523334147939024</c:v>
                </c:pt>
                <c:pt idx="462">
                  <c:v>1.1532076703848635</c:v>
                </c:pt>
                <c:pt idx="463">
                  <c:v>1.1302470994199134</c:v>
                </c:pt>
                <c:pt idx="464">
                  <c:v>1.1796590682232644</c:v>
                </c:pt>
                <c:pt idx="465">
                  <c:v>1.1828273647124692</c:v>
                </c:pt>
                <c:pt idx="466">
                  <c:v>1.2285373510758661</c:v>
                </c:pt>
                <c:pt idx="467">
                  <c:v>1.2114610254118601</c:v>
                </c:pt>
                <c:pt idx="468">
                  <c:v>1.2515781302387616</c:v>
                </c:pt>
                <c:pt idx="469">
                  <c:v>1.225670072424379</c:v>
                </c:pt>
                <c:pt idx="470">
                  <c:v>1.2348402102408178</c:v>
                </c:pt>
                <c:pt idx="471">
                  <c:v>1.2736951402689847</c:v>
                </c:pt>
                <c:pt idx="472">
                  <c:v>1.2683967615961447</c:v>
                </c:pt>
                <c:pt idx="473">
                  <c:v>1.2679452560792182</c:v>
                </c:pt>
                <c:pt idx="474">
                  <c:v>1.2368575308919532</c:v>
                </c:pt>
                <c:pt idx="475">
                  <c:v>1.2119950779460773</c:v>
                </c:pt>
                <c:pt idx="476">
                  <c:v>1.2192097025739976</c:v>
                </c:pt>
                <c:pt idx="477">
                  <c:v>1.2107670220191811</c:v>
                </c:pt>
                <c:pt idx="478">
                  <c:v>1.2095299742547476</c:v>
                </c:pt>
                <c:pt idx="479">
                  <c:v>1.2123180512849199</c:v>
                </c:pt>
                <c:pt idx="480">
                  <c:v>1.2042847354915416</c:v>
                </c:pt>
                <c:pt idx="481">
                  <c:v>1.1903045104452086</c:v>
                </c:pt>
                <c:pt idx="482">
                  <c:v>1.1358373790838807</c:v>
                </c:pt>
                <c:pt idx="483">
                  <c:v>1.1167512920412777</c:v>
                </c:pt>
                <c:pt idx="484">
                  <c:v>1.1080244924468365</c:v>
                </c:pt>
                <c:pt idx="485">
                  <c:v>1.0830140997373423</c:v>
                </c:pt>
                <c:pt idx="486">
                  <c:v>1.0629585690610099</c:v>
                </c:pt>
                <c:pt idx="487">
                  <c:v>1.0322505821591073</c:v>
                </c:pt>
                <c:pt idx="488">
                  <c:v>1.0334564813530247</c:v>
                </c:pt>
                <c:pt idx="489">
                  <c:v>1.0187046654464185</c:v>
                </c:pt>
                <c:pt idx="490">
                  <c:v>1.0537575895201252</c:v>
                </c:pt>
                <c:pt idx="491">
                  <c:v>1.0725081249859696</c:v>
                </c:pt>
                <c:pt idx="492">
                  <c:v>1.0746023589612381</c:v>
                </c:pt>
                <c:pt idx="493">
                  <c:v>1.0905376191817386</c:v>
                </c:pt>
                <c:pt idx="494">
                  <c:v>1.016714394960325</c:v>
                </c:pt>
                <c:pt idx="495">
                  <c:v>1.024855246296797</c:v>
                </c:pt>
                <c:pt idx="496">
                  <c:v>0.98366129344906383</c:v>
                </c:pt>
                <c:pt idx="497">
                  <c:v>0.95460529244699666</c:v>
                </c:pt>
                <c:pt idx="498">
                  <c:v>0.91950317669599313</c:v>
                </c:pt>
                <c:pt idx="499">
                  <c:v>0.94441911843437809</c:v>
                </c:pt>
                <c:pt idx="500">
                  <c:v>0.87820774909739463</c:v>
                </c:pt>
                <c:pt idx="501">
                  <c:v>0.83720999439366661</c:v>
                </c:pt>
                <c:pt idx="502">
                  <c:v>0.9063328281609897</c:v>
                </c:pt>
                <c:pt idx="503">
                  <c:v>0.91359646767439173</c:v>
                </c:pt>
                <c:pt idx="504">
                  <c:v>0.96027797699595674</c:v>
                </c:pt>
                <c:pt idx="505">
                  <c:v>1.0078296357582677</c:v>
                </c:pt>
                <c:pt idx="506">
                  <c:v>0.99258405359358604</c:v>
                </c:pt>
                <c:pt idx="507">
                  <c:v>1.0368822076994459</c:v>
                </c:pt>
                <c:pt idx="508">
                  <c:v>1.0373327866913427</c:v>
                </c:pt>
                <c:pt idx="509">
                  <c:v>1.0656205897876172</c:v>
                </c:pt>
                <c:pt idx="510">
                  <c:v>1.0917423067591614</c:v>
                </c:pt>
                <c:pt idx="511">
                  <c:v>1.1474760408687472</c:v>
                </c:pt>
                <c:pt idx="512">
                  <c:v>1.1915331570576686</c:v>
                </c:pt>
                <c:pt idx="513">
                  <c:v>1.1984534574422032</c:v>
                </c:pt>
                <c:pt idx="514">
                  <c:v>1.1953865339367178</c:v>
                </c:pt>
                <c:pt idx="515">
                  <c:v>1.1891222011195488</c:v>
                </c:pt>
                <c:pt idx="516">
                  <c:v>1.1684789208649617</c:v>
                </c:pt>
                <c:pt idx="517">
                  <c:v>1.194476800773546</c:v>
                </c:pt>
                <c:pt idx="518">
                  <c:v>1.1958685584943693</c:v>
                </c:pt>
                <c:pt idx="519">
                  <c:v>1.1961186751562198</c:v>
                </c:pt>
                <c:pt idx="520">
                  <c:v>1.2089228130100329</c:v>
                </c:pt>
                <c:pt idx="521">
                  <c:v>1.1791140254688983</c:v>
                </c:pt>
                <c:pt idx="522">
                  <c:v>1.1407970595309587</c:v>
                </c:pt>
                <c:pt idx="523">
                  <c:v>1.1476825224833704</c:v>
                </c:pt>
                <c:pt idx="524">
                  <c:v>1.1411438604947344</c:v>
                </c:pt>
                <c:pt idx="525">
                  <c:v>1.1859338916660989</c:v>
                </c:pt>
                <c:pt idx="526">
                  <c:v>1.1651126431656158</c:v>
                </c:pt>
                <c:pt idx="527">
                  <c:v>1.1552749585640021</c:v>
                </c:pt>
                <c:pt idx="528">
                  <c:v>1.1483229150554208</c:v>
                </c:pt>
                <c:pt idx="529">
                  <c:v>1.1156811228196393</c:v>
                </c:pt>
                <c:pt idx="530">
                  <c:v>1.1303605873663785</c:v>
                </c:pt>
                <c:pt idx="531">
                  <c:v>1.1649399866146724</c:v>
                </c:pt>
                <c:pt idx="532">
                  <c:v>1.1408264800009089</c:v>
                </c:pt>
                <c:pt idx="533">
                  <c:v>1.1289761916795722</c:v>
                </c:pt>
                <c:pt idx="534">
                  <c:v>1.0391428828772697</c:v>
                </c:pt>
                <c:pt idx="535">
                  <c:v>1.05590126018694</c:v>
                </c:pt>
                <c:pt idx="536">
                  <c:v>1.059029104263977</c:v>
                </c:pt>
                <c:pt idx="537">
                  <c:v>1.0564232106499742</c:v>
                </c:pt>
                <c:pt idx="538">
                  <c:v>1.1253729905307361</c:v>
                </c:pt>
                <c:pt idx="539">
                  <c:v>1.1298622131435565</c:v>
                </c:pt>
                <c:pt idx="540">
                  <c:v>1.1285796688606069</c:v>
                </c:pt>
                <c:pt idx="541">
                  <c:v>1.0984584810008793</c:v>
                </c:pt>
                <c:pt idx="542">
                  <c:v>1.1499765614802866</c:v>
                </c:pt>
                <c:pt idx="543">
                  <c:v>1.1881004350130342</c:v>
                </c:pt>
                <c:pt idx="544">
                  <c:v>1.2033199286036582</c:v>
                </c:pt>
                <c:pt idx="545">
                  <c:v>1.2663854345994026</c:v>
                </c:pt>
                <c:pt idx="546">
                  <c:v>1.2671400053283177</c:v>
                </c:pt>
                <c:pt idx="547">
                  <c:v>1.2591166398089093</c:v>
                </c:pt>
                <c:pt idx="548">
                  <c:v>1.2614024306120641</c:v>
                </c:pt>
                <c:pt idx="549">
                  <c:v>1.2600971044501603</c:v>
                </c:pt>
                <c:pt idx="550">
                  <c:v>1.2476338985566187</c:v>
                </c:pt>
                <c:pt idx="551">
                  <c:v>1.2537715515389065</c:v>
                </c:pt>
                <c:pt idx="552">
                  <c:v>1.2537433145786165</c:v>
                </c:pt>
                <c:pt idx="553">
                  <c:v>1.2382911844438145</c:v>
                </c:pt>
                <c:pt idx="554">
                  <c:v>1.2511328659562351</c:v>
                </c:pt>
                <c:pt idx="555">
                  <c:v>1.2393328294162813</c:v>
                </c:pt>
                <c:pt idx="556">
                  <c:v>1.2627367195850867</c:v>
                </c:pt>
                <c:pt idx="557">
                  <c:v>1.2870749605298786</c:v>
                </c:pt>
                <c:pt idx="558">
                  <c:v>1.2749047293682445</c:v>
                </c:pt>
                <c:pt idx="559">
                  <c:v>1.2594742563065155</c:v>
                </c:pt>
                <c:pt idx="560">
                  <c:v>1.2930570121930467</c:v>
                </c:pt>
                <c:pt idx="561">
                  <c:v>1.2951620410758176</c:v>
                </c:pt>
                <c:pt idx="562">
                  <c:v>1.3214725328861034</c:v>
                </c:pt>
                <c:pt idx="563">
                  <c:v>1.363875647414087</c:v>
                </c:pt>
                <c:pt idx="564">
                  <c:v>1.3982488637783588</c:v>
                </c:pt>
                <c:pt idx="565">
                  <c:v>1.3601291351808533</c:v>
                </c:pt>
                <c:pt idx="566">
                  <c:v>1.3653013645682606</c:v>
                </c:pt>
                <c:pt idx="567">
                  <c:v>1.3465801724812154</c:v>
                </c:pt>
                <c:pt idx="568">
                  <c:v>1.3141057883551484</c:v>
                </c:pt>
                <c:pt idx="569">
                  <c:v>1.3123769783615276</c:v>
                </c:pt>
                <c:pt idx="570">
                  <c:v>1.2955918187915283</c:v>
                </c:pt>
                <c:pt idx="571">
                  <c:v>1.2913033601040818</c:v>
                </c:pt>
                <c:pt idx="572">
                  <c:v>1.2804965362352001</c:v>
                </c:pt>
                <c:pt idx="573">
                  <c:v>1.2592786203530026</c:v>
                </c:pt>
                <c:pt idx="574">
                  <c:v>1.2722988516131313</c:v>
                </c:pt>
                <c:pt idx="575">
                  <c:v>1.28079878093375</c:v>
                </c:pt>
                <c:pt idx="576">
                  <c:v>1.2986292065450995</c:v>
                </c:pt>
                <c:pt idx="577">
                  <c:v>1.2888797595131827</c:v>
                </c:pt>
                <c:pt idx="578">
                  <c:v>1.2642722680720686</c:v>
                </c:pt>
                <c:pt idx="579">
                  <c:v>1.2694694792001462</c:v>
                </c:pt>
                <c:pt idx="580">
                  <c:v>1.2501860091487447</c:v>
                </c:pt>
                <c:pt idx="581">
                  <c:v>1.2523223943179909</c:v>
                </c:pt>
                <c:pt idx="582">
                  <c:v>1.2481583674938161</c:v>
                </c:pt>
                <c:pt idx="583">
                  <c:v>1.2580515860263639</c:v>
                </c:pt>
                <c:pt idx="584">
                  <c:v>1.2541169444453051</c:v>
                </c:pt>
                <c:pt idx="585">
                  <c:v>1.2294478715933908</c:v>
                </c:pt>
                <c:pt idx="586">
                  <c:v>1.2192703678368713</c:v>
                </c:pt>
                <c:pt idx="587">
                  <c:v>1.1587103413590538</c:v>
                </c:pt>
                <c:pt idx="588">
                  <c:v>1.1245840099353628</c:v>
                </c:pt>
                <c:pt idx="589">
                  <c:v>1.1154703147051952</c:v>
                </c:pt>
                <c:pt idx="590">
                  <c:v>1.1216935574307318</c:v>
                </c:pt>
                <c:pt idx="591">
                  <c:v>1.0726542972362116</c:v>
                </c:pt>
                <c:pt idx="592">
                  <c:v>1.0015137967384533</c:v>
                </c:pt>
                <c:pt idx="593">
                  <c:v>0.96458936531467221</c:v>
                </c:pt>
                <c:pt idx="594">
                  <c:v>0.93304131310142102</c:v>
                </c:pt>
                <c:pt idx="595">
                  <c:v>0.9656231982090846</c:v>
                </c:pt>
                <c:pt idx="596">
                  <c:v>1.0188082399966434</c:v>
                </c:pt>
                <c:pt idx="597">
                  <c:v>1.073237876814775</c:v>
                </c:pt>
                <c:pt idx="598">
                  <c:v>1.120534355287383</c:v>
                </c:pt>
                <c:pt idx="599">
                  <c:v>1.1111245727153884</c:v>
                </c:pt>
                <c:pt idx="600">
                  <c:v>1.1145809480047526</c:v>
                </c:pt>
                <c:pt idx="601">
                  <c:v>1.1412797817493678</c:v>
                </c:pt>
                <c:pt idx="602">
                  <c:v>1.0996854827265568</c:v>
                </c:pt>
                <c:pt idx="603">
                  <c:v>1.1439638688933027</c:v>
                </c:pt>
                <c:pt idx="604">
                  <c:v>1.1323729534685671</c:v>
                </c:pt>
                <c:pt idx="605">
                  <c:v>1.1409387645127216</c:v>
                </c:pt>
                <c:pt idx="606">
                  <c:v>1.212898873839414</c:v>
                </c:pt>
                <c:pt idx="607">
                  <c:v>1.2434550031374616</c:v>
                </c:pt>
                <c:pt idx="608">
                  <c:v>1.2416616600994486</c:v>
                </c:pt>
                <c:pt idx="609">
                  <c:v>1.2811792340984363</c:v>
                </c:pt>
                <c:pt idx="610">
                  <c:v>1.3157682516134905</c:v>
                </c:pt>
                <c:pt idx="611">
                  <c:v>1.2655045334323893</c:v>
                </c:pt>
                <c:pt idx="612">
                  <c:v>1.2615314539064815</c:v>
                </c:pt>
                <c:pt idx="613">
                  <c:v>1.2288231918309513</c:v>
                </c:pt>
                <c:pt idx="614">
                  <c:v>1.2515456650574661</c:v>
                </c:pt>
                <c:pt idx="615">
                  <c:v>1.1916039610541742</c:v>
                </c:pt>
                <c:pt idx="616">
                  <c:v>1.1670585877009068</c:v>
                </c:pt>
                <c:pt idx="617">
                  <c:v>1.1444792019421581</c:v>
                </c:pt>
                <c:pt idx="618">
                  <c:v>1.1283779936491682</c:v>
                </c:pt>
                <c:pt idx="619">
                  <c:v>1.0299872223289561</c:v>
                </c:pt>
                <c:pt idx="620">
                  <c:v>1.0323382676480486</c:v>
                </c:pt>
                <c:pt idx="621">
                  <c:v>1.0478033947372893</c:v>
                </c:pt>
                <c:pt idx="622">
                  <c:v>1.0276526650576054</c:v>
                </c:pt>
                <c:pt idx="623">
                  <c:v>0.99960589935383404</c:v>
                </c:pt>
                <c:pt idx="624">
                  <c:v>0.93211562599812903</c:v>
                </c:pt>
                <c:pt idx="625">
                  <c:v>0.9358136787733492</c:v>
                </c:pt>
                <c:pt idx="626">
                  <c:v>0.93668190358613534</c:v>
                </c:pt>
                <c:pt idx="627">
                  <c:v>0.93583480465795577</c:v>
                </c:pt>
                <c:pt idx="628">
                  <c:v>0.93554974925619649</c:v>
                </c:pt>
                <c:pt idx="629">
                  <c:v>0.94070803610652809</c:v>
                </c:pt>
                <c:pt idx="630">
                  <c:v>0.96461391240226213</c:v>
                </c:pt>
                <c:pt idx="631">
                  <c:v>0.79370772581787807</c:v>
                </c:pt>
                <c:pt idx="632">
                  <c:v>0.72370883838641942</c:v>
                </c:pt>
                <c:pt idx="633">
                  <c:v>0.76408227576480992</c:v>
                </c:pt>
                <c:pt idx="634">
                  <c:v>0.81817016188144098</c:v>
                </c:pt>
                <c:pt idx="635">
                  <c:v>0.80410448511900834</c:v>
                </c:pt>
                <c:pt idx="636">
                  <c:v>0.76424735720086434</c:v>
                </c:pt>
                <c:pt idx="637">
                  <c:v>0.76674000149011234</c:v>
                </c:pt>
                <c:pt idx="638">
                  <c:v>0.79377636620160852</c:v>
                </c:pt>
                <c:pt idx="639">
                  <c:v>0.81447740808193214</c:v>
                </c:pt>
                <c:pt idx="640">
                  <c:v>0.81182609541416106</c:v>
                </c:pt>
                <c:pt idx="641">
                  <c:v>0.81205826188128627</c:v>
                </c:pt>
                <c:pt idx="642">
                  <c:v>0.84108338728559884</c:v>
                </c:pt>
                <c:pt idx="643">
                  <c:v>0.87454027331802919</c:v>
                </c:pt>
                <c:pt idx="644">
                  <c:v>0.87657221640587812</c:v>
                </c:pt>
                <c:pt idx="645">
                  <c:v>0.87367508887431444</c:v>
                </c:pt>
                <c:pt idx="646">
                  <c:v>1.0247139213896022</c:v>
                </c:pt>
                <c:pt idx="647">
                  <c:v>1.1751576074292549</c:v>
                </c:pt>
                <c:pt idx="648">
                  <c:v>1.176829414683525</c:v>
                </c:pt>
                <c:pt idx="649">
                  <c:v>1.1608015462968067</c:v>
                </c:pt>
                <c:pt idx="650">
                  <c:v>1.227926202432658</c:v>
                </c:pt>
                <c:pt idx="651">
                  <c:v>1.231105708039653</c:v>
                </c:pt>
                <c:pt idx="652">
                  <c:v>1.3050530002008855</c:v>
                </c:pt>
                <c:pt idx="653">
                  <c:v>1.3017848490067194</c:v>
                </c:pt>
                <c:pt idx="654">
                  <c:v>1.3082658962047482</c:v>
                </c:pt>
                <c:pt idx="655">
                  <c:v>1.3161305179312133</c:v>
                </c:pt>
                <c:pt idx="656">
                  <c:v>1.389484151365733</c:v>
                </c:pt>
                <c:pt idx="657">
                  <c:v>1.3874337511366452</c:v>
                </c:pt>
                <c:pt idx="658">
                  <c:v>1.3837791415698093</c:v>
                </c:pt>
                <c:pt idx="659">
                  <c:v>1.4028675067087806</c:v>
                </c:pt>
                <c:pt idx="660">
                  <c:v>1.3504235180716155</c:v>
                </c:pt>
                <c:pt idx="661">
                  <c:v>1.3536131300143057</c:v>
                </c:pt>
                <c:pt idx="662">
                  <c:v>1.2765894307539305</c:v>
                </c:pt>
                <c:pt idx="663">
                  <c:v>1.2779367800455168</c:v>
                </c:pt>
                <c:pt idx="664">
                  <c:v>1.3317797270492262</c:v>
                </c:pt>
                <c:pt idx="665">
                  <c:v>1.3177865454277278</c:v>
                </c:pt>
                <c:pt idx="666">
                  <c:v>1.3254199074385757</c:v>
                </c:pt>
                <c:pt idx="667">
                  <c:v>1.3654499069082913</c:v>
                </c:pt>
                <c:pt idx="668">
                  <c:v>1.3915733673729203</c:v>
                </c:pt>
                <c:pt idx="669">
                  <c:v>1.3586468927982522</c:v>
                </c:pt>
                <c:pt idx="670">
                  <c:v>1.3957859813549951</c:v>
                </c:pt>
                <c:pt idx="671">
                  <c:v>1.3547381729475918</c:v>
                </c:pt>
                <c:pt idx="672">
                  <c:v>1.2580128921364873</c:v>
                </c:pt>
                <c:pt idx="673">
                  <c:v>1.2902892841458495</c:v>
                </c:pt>
                <c:pt idx="674">
                  <c:v>1.3192492204838047</c:v>
                </c:pt>
                <c:pt idx="675">
                  <c:v>1.3141493905525563</c:v>
                </c:pt>
                <c:pt idx="676">
                  <c:v>1.3379029739917956</c:v>
                </c:pt>
                <c:pt idx="677">
                  <c:v>1.3162929485630397</c:v>
                </c:pt>
                <c:pt idx="678">
                  <c:v>1.3178380501551701</c:v>
                </c:pt>
                <c:pt idx="679">
                  <c:v>1.2966298047533502</c:v>
                </c:pt>
                <c:pt idx="680">
                  <c:v>1.3234300610295884</c:v>
                </c:pt>
                <c:pt idx="681">
                  <c:v>1.3451674253782868</c:v>
                </c:pt>
                <c:pt idx="682">
                  <c:v>1.3003138436369974</c:v>
                </c:pt>
                <c:pt idx="683">
                  <c:v>1.2930282108380262</c:v>
                </c:pt>
                <c:pt idx="684">
                  <c:v>1.3134953368779041</c:v>
                </c:pt>
                <c:pt idx="685">
                  <c:v>1.3140162178183548</c:v>
                </c:pt>
                <c:pt idx="686">
                  <c:v>1.3173732572246082</c:v>
                </c:pt>
                <c:pt idx="687">
                  <c:v>1.2992415559431791</c:v>
                </c:pt>
                <c:pt idx="688">
                  <c:v>1.2991119867136114</c:v>
                </c:pt>
                <c:pt idx="689">
                  <c:v>1.2489791693688248</c:v>
                </c:pt>
                <c:pt idx="690">
                  <c:v>1.263871128669793</c:v>
                </c:pt>
                <c:pt idx="691">
                  <c:v>1.2744423617148526</c:v>
                </c:pt>
                <c:pt idx="692">
                  <c:v>1.3274485508570237</c:v>
                </c:pt>
                <c:pt idx="693">
                  <c:v>1.3560985706552942</c:v>
                </c:pt>
                <c:pt idx="694">
                  <c:v>1.3230053300906517</c:v>
                </c:pt>
                <c:pt idx="695">
                  <c:v>1.3159334783871974</c:v>
                </c:pt>
                <c:pt idx="696">
                  <c:v>1.2996808184646935</c:v>
                </c:pt>
                <c:pt idx="697">
                  <c:v>1.3065403997167302</c:v>
                </c:pt>
                <c:pt idx="698">
                  <c:v>1.2842668197722058</c:v>
                </c:pt>
                <c:pt idx="699">
                  <c:v>1.2526384109174307</c:v>
                </c:pt>
                <c:pt idx="700">
                  <c:v>1.2135167854239786</c:v>
                </c:pt>
                <c:pt idx="701">
                  <c:v>1.1846260867958467</c:v>
                </c:pt>
                <c:pt idx="702">
                  <c:v>1.1952328681873678</c:v>
                </c:pt>
                <c:pt idx="703">
                  <c:v>1.1490437803649616</c:v>
                </c:pt>
                <c:pt idx="704">
                  <c:v>1.1122765822412604</c:v>
                </c:pt>
                <c:pt idx="705">
                  <c:v>1.1054589726579118</c:v>
                </c:pt>
                <c:pt idx="706">
                  <c:v>1.0649108213701581</c:v>
                </c:pt>
                <c:pt idx="707">
                  <c:v>1.0555713711257191</c:v>
                </c:pt>
                <c:pt idx="708">
                  <c:v>1.0763903599050639</c:v>
                </c:pt>
                <c:pt idx="709">
                  <c:v>1.0734295666147637</c:v>
                </c:pt>
                <c:pt idx="710">
                  <c:v>1.063122758669008</c:v>
                </c:pt>
                <c:pt idx="711">
                  <c:v>1.0371470594802392</c:v>
                </c:pt>
                <c:pt idx="712">
                  <c:v>1.0347160196784966</c:v>
                </c:pt>
                <c:pt idx="713">
                  <c:v>1.038948407334767</c:v>
                </c:pt>
                <c:pt idx="714">
                  <c:v>1.0135532693869913</c:v>
                </c:pt>
                <c:pt idx="715">
                  <c:v>1.0551082093005129</c:v>
                </c:pt>
                <c:pt idx="716">
                  <c:v>1.0635981005719368</c:v>
                </c:pt>
                <c:pt idx="717">
                  <c:v>1.0631156228680907</c:v>
                </c:pt>
                <c:pt idx="718">
                  <c:v>1.0609722281782492</c:v>
                </c:pt>
                <c:pt idx="719">
                  <c:v>1.0600219039159575</c:v>
                </c:pt>
                <c:pt idx="720">
                  <c:v>1.0477112987446697</c:v>
                </c:pt>
                <c:pt idx="721">
                  <c:v>1.0579346610856639</c:v>
                </c:pt>
                <c:pt idx="722">
                  <c:v>1.0435851666251306</c:v>
                </c:pt>
                <c:pt idx="723">
                  <c:v>1.0210801695477587</c:v>
                </c:pt>
                <c:pt idx="724">
                  <c:v>1.0690671086319241</c:v>
                </c:pt>
                <c:pt idx="725">
                  <c:v>1.0835054328375597</c:v>
                </c:pt>
                <c:pt idx="726">
                  <c:v>1.1080673866391588</c:v>
                </c:pt>
                <c:pt idx="727">
                  <c:v>1.1053878499651495</c:v>
                </c:pt>
                <c:pt idx="728">
                  <c:v>1.1768546136244684</c:v>
                </c:pt>
                <c:pt idx="729">
                  <c:v>1.1378228858395454</c:v>
                </c:pt>
                <c:pt idx="730">
                  <c:v>1.1805432219324188</c:v>
                </c:pt>
                <c:pt idx="731">
                  <c:v>1.1884225515024283</c:v>
                </c:pt>
                <c:pt idx="732">
                  <c:v>1.2564875783240996</c:v>
                </c:pt>
                <c:pt idx="733">
                  <c:v>1.2826642531102588</c:v>
                </c:pt>
                <c:pt idx="734">
                  <c:v>1.2784816785151252</c:v>
                </c:pt>
                <c:pt idx="735">
                  <c:v>1.2676541825106653</c:v>
                </c:pt>
                <c:pt idx="736">
                  <c:v>1.2801474861151345</c:v>
                </c:pt>
                <c:pt idx="737">
                  <c:v>1.285958473436176</c:v>
                </c:pt>
                <c:pt idx="738">
                  <c:v>1.2841987975870943</c:v>
                </c:pt>
                <c:pt idx="739">
                  <c:v>1.2825221648955141</c:v>
                </c:pt>
                <c:pt idx="740">
                  <c:v>1.2682545250184944</c:v>
                </c:pt>
                <c:pt idx="741">
                  <c:v>1.2716800815791129</c:v>
                </c:pt>
                <c:pt idx="742">
                  <c:v>1.2870829979757179</c:v>
                </c:pt>
                <c:pt idx="743">
                  <c:v>1.3124698573440774</c:v>
                </c:pt>
                <c:pt idx="744">
                  <c:v>1.3148455614918104</c:v>
                </c:pt>
                <c:pt idx="745">
                  <c:v>1.2943369580289135</c:v>
                </c:pt>
                <c:pt idx="746">
                  <c:v>1.239362275759075</c:v>
                </c:pt>
                <c:pt idx="747">
                  <c:v>1.2388300468819251</c:v>
                </c:pt>
                <c:pt idx="748">
                  <c:v>1.284852556503673</c:v>
                </c:pt>
                <c:pt idx="749">
                  <c:v>1.2841961124269199</c:v>
                </c:pt>
                <c:pt idx="750">
                  <c:v>1.2950445339167249</c:v>
                </c:pt>
                <c:pt idx="751">
                  <c:v>1.2614780602736317</c:v>
                </c:pt>
                <c:pt idx="752">
                  <c:v>1.2149321914761571</c:v>
                </c:pt>
                <c:pt idx="753">
                  <c:v>1.190861998239332</c:v>
                </c:pt>
                <c:pt idx="754">
                  <c:v>1.1851834815999893</c:v>
                </c:pt>
                <c:pt idx="755">
                  <c:v>1.137931375827187</c:v>
                </c:pt>
                <c:pt idx="756">
                  <c:v>1.1465690950200831</c:v>
                </c:pt>
                <c:pt idx="757">
                  <c:v>1.1053841065387662</c:v>
                </c:pt>
                <c:pt idx="758">
                  <c:v>1.0822751684437211</c:v>
                </c:pt>
                <c:pt idx="759">
                  <c:v>1.1162836536482557</c:v>
                </c:pt>
                <c:pt idx="760">
                  <c:v>1.0965121821107331</c:v>
                </c:pt>
                <c:pt idx="761">
                  <c:v>1.0602032444490206</c:v>
                </c:pt>
                <c:pt idx="762">
                  <c:v>0.9883051787969046</c:v>
                </c:pt>
                <c:pt idx="763">
                  <c:v>0.93896304996277768</c:v>
                </c:pt>
                <c:pt idx="764">
                  <c:v>0.96958629642074456</c:v>
                </c:pt>
                <c:pt idx="765">
                  <c:v>0.97188973406061541</c:v>
                </c:pt>
                <c:pt idx="766">
                  <c:v>0.97578874668696547</c:v>
                </c:pt>
                <c:pt idx="767">
                  <c:v>0.98830570215877023</c:v>
                </c:pt>
                <c:pt idx="768">
                  <c:v>0.9573544125684943</c:v>
                </c:pt>
                <c:pt idx="769">
                  <c:v>0.95968080181866189</c:v>
                </c:pt>
                <c:pt idx="770">
                  <c:v>0.97629307122376929</c:v>
                </c:pt>
                <c:pt idx="771">
                  <c:v>0.98225198677184733</c:v>
                </c:pt>
                <c:pt idx="772">
                  <c:v>0.93936270888862416</c:v>
                </c:pt>
                <c:pt idx="773">
                  <c:v>0.92819042834127918</c:v>
                </c:pt>
                <c:pt idx="774">
                  <c:v>0.94400230128299234</c:v>
                </c:pt>
                <c:pt idx="775">
                  <c:v>0.95567325970246997</c:v>
                </c:pt>
                <c:pt idx="776">
                  <c:v>0.9962605946306381</c:v>
                </c:pt>
                <c:pt idx="777">
                  <c:v>0.99313968643973183</c:v>
                </c:pt>
                <c:pt idx="778">
                  <c:v>0.96687011335129924</c:v>
                </c:pt>
                <c:pt idx="779">
                  <c:v>0.96624935502796261</c:v>
                </c:pt>
                <c:pt idx="780">
                  <c:v>0.96900019572255236</c:v>
                </c:pt>
                <c:pt idx="781">
                  <c:v>1.0017628714295179</c:v>
                </c:pt>
                <c:pt idx="782">
                  <c:v>1.0144573318582302</c:v>
                </c:pt>
                <c:pt idx="783">
                  <c:v>1.0196055130779014</c:v>
                </c:pt>
                <c:pt idx="784">
                  <c:v>0.98005447889859421</c:v>
                </c:pt>
                <c:pt idx="785">
                  <c:v>1.029525110923958</c:v>
                </c:pt>
                <c:pt idx="786">
                  <c:v>1.0252002327552308</c:v>
                </c:pt>
                <c:pt idx="787">
                  <c:v>1.0349177323071037</c:v>
                </c:pt>
                <c:pt idx="788">
                  <c:v>1.0083230644485182</c:v>
                </c:pt>
                <c:pt idx="789">
                  <c:v>1.027810360879396</c:v>
                </c:pt>
                <c:pt idx="790">
                  <c:v>1.0220587742057865</c:v>
                </c:pt>
                <c:pt idx="791">
                  <c:v>1.0875029396181697</c:v>
                </c:pt>
                <c:pt idx="792">
                  <c:v>1.1049284056486173</c:v>
                </c:pt>
                <c:pt idx="793">
                  <c:v>1.104050484019806</c:v>
                </c:pt>
                <c:pt idx="794">
                  <c:v>1.0800436879201194</c:v>
                </c:pt>
                <c:pt idx="795">
                  <c:v>1.0879454960147823</c:v>
                </c:pt>
                <c:pt idx="796">
                  <c:v>1.0997546225795363</c:v>
                </c:pt>
                <c:pt idx="797">
                  <c:v>1.0969383201260317</c:v>
                </c:pt>
                <c:pt idx="798">
                  <c:v>1.1146098229745083</c:v>
                </c:pt>
                <c:pt idx="799">
                  <c:v>1.107064254850556</c:v>
                </c:pt>
                <c:pt idx="800">
                  <c:v>1.1105119974821183</c:v>
                </c:pt>
                <c:pt idx="801">
                  <c:v>1.1157452537494248</c:v>
                </c:pt>
                <c:pt idx="802">
                  <c:v>1.1540772798283887</c:v>
                </c:pt>
                <c:pt idx="803">
                  <c:v>1.1832157623315729</c:v>
                </c:pt>
                <c:pt idx="804">
                  <c:v>1.1772773967784811</c:v>
                </c:pt>
                <c:pt idx="805">
                  <c:v>1.1662391170600133</c:v>
                </c:pt>
                <c:pt idx="806">
                  <c:v>1.1325629565612292</c:v>
                </c:pt>
                <c:pt idx="807">
                  <c:v>1.1324361391245876</c:v>
                </c:pt>
                <c:pt idx="808">
                  <c:v>1.1364607289764777</c:v>
                </c:pt>
                <c:pt idx="809">
                  <c:v>1.1627729441039767</c:v>
                </c:pt>
                <c:pt idx="810">
                  <c:v>1.1577165396619746</c:v>
                </c:pt>
                <c:pt idx="811">
                  <c:v>1.1301551109085175</c:v>
                </c:pt>
                <c:pt idx="812">
                  <c:v>1.1597267315855155</c:v>
                </c:pt>
                <c:pt idx="813">
                  <c:v>1.1351996634346173</c:v>
                </c:pt>
                <c:pt idx="814">
                  <c:v>1.134801820765984</c:v>
                </c:pt>
                <c:pt idx="815">
                  <c:v>1.136636700316221</c:v>
                </c:pt>
                <c:pt idx="816">
                  <c:v>1.156080576279428</c:v>
                </c:pt>
                <c:pt idx="817">
                  <c:v>1.1430862137013211</c:v>
                </c:pt>
                <c:pt idx="818">
                  <c:v>1.1758569875509579</c:v>
                </c:pt>
                <c:pt idx="819">
                  <c:v>1.1591844140373548</c:v>
                </c:pt>
                <c:pt idx="820">
                  <c:v>1.1446983741650425</c:v>
                </c:pt>
                <c:pt idx="821">
                  <c:v>1.0840590495856328</c:v>
                </c:pt>
                <c:pt idx="822">
                  <c:v>1.1212311070436363</c:v>
                </c:pt>
                <c:pt idx="823">
                  <c:v>1.1267650776581088</c:v>
                </c:pt>
                <c:pt idx="824">
                  <c:v>1.1318586585738102</c:v>
                </c:pt>
                <c:pt idx="825">
                  <c:v>1.1486141574778801</c:v>
                </c:pt>
                <c:pt idx="826">
                  <c:v>1.1284502647436436</c:v>
                </c:pt>
                <c:pt idx="827">
                  <c:v>1.1346531699563325</c:v>
                </c:pt>
                <c:pt idx="828">
                  <c:v>1.131805799515134</c:v>
                </c:pt>
                <c:pt idx="829">
                  <c:v>1.1278063337456399</c:v>
                </c:pt>
                <c:pt idx="830">
                  <c:v>1.1149438932329603</c:v>
                </c:pt>
                <c:pt idx="831">
                  <c:v>1.0918511645445272</c:v>
                </c:pt>
                <c:pt idx="832">
                  <c:v>1.0492011739644003</c:v>
                </c:pt>
                <c:pt idx="833">
                  <c:v>1.0120104038354865</c:v>
                </c:pt>
                <c:pt idx="834">
                  <c:v>1.0360160208231817</c:v>
                </c:pt>
                <c:pt idx="835">
                  <c:v>1.0546464788744612</c:v>
                </c:pt>
                <c:pt idx="836">
                  <c:v>1.0752131571615615</c:v>
                </c:pt>
                <c:pt idx="837">
                  <c:v>1.124088391828542</c:v>
                </c:pt>
                <c:pt idx="838">
                  <c:v>1.1310261844382989</c:v>
                </c:pt>
                <c:pt idx="839">
                  <c:v>1.1424368490306096</c:v>
                </c:pt>
                <c:pt idx="840">
                  <c:v>1.1366787675898828</c:v>
                </c:pt>
                <c:pt idx="841">
                  <c:v>1.181970106784995</c:v>
                </c:pt>
                <c:pt idx="842">
                  <c:v>1.1381265610491289</c:v>
                </c:pt>
                <c:pt idx="843">
                  <c:v>1.1488919699522184</c:v>
                </c:pt>
                <c:pt idx="844">
                  <c:v>1.1491300557628237</c:v>
                </c:pt>
                <c:pt idx="845">
                  <c:v>1.087713038982439</c:v>
                </c:pt>
                <c:pt idx="846">
                  <c:v>1.0433842483261722</c:v>
                </c:pt>
                <c:pt idx="847">
                  <c:v>1.0698654443272368</c:v>
                </c:pt>
                <c:pt idx="848">
                  <c:v>1.0467102816888265</c:v>
                </c:pt>
                <c:pt idx="849">
                  <c:v>1.0258039179886764</c:v>
                </c:pt>
                <c:pt idx="850">
                  <c:v>1.0374928333778235</c:v>
                </c:pt>
                <c:pt idx="851">
                  <c:v>1.0394683101548077</c:v>
                </c:pt>
                <c:pt idx="852">
                  <c:v>1.0049978555475485</c:v>
                </c:pt>
                <c:pt idx="853">
                  <c:v>1.0580322768472492</c:v>
                </c:pt>
                <c:pt idx="854">
                  <c:v>1.0608600393023129</c:v>
                </c:pt>
                <c:pt idx="855">
                  <c:v>1.0591788730226213</c:v>
                </c:pt>
                <c:pt idx="856">
                  <c:v>1.0859000186825265</c:v>
                </c:pt>
                <c:pt idx="857">
                  <c:v>1.1181318574187533</c:v>
                </c:pt>
                <c:pt idx="858">
                  <c:v>1.1153887523933153</c:v>
                </c:pt>
                <c:pt idx="859">
                  <c:v>1.1178530839253333</c:v>
                </c:pt>
                <c:pt idx="860">
                  <c:v>1.1320728622828302</c:v>
                </c:pt>
                <c:pt idx="861">
                  <c:v>1.168973614049875</c:v>
                </c:pt>
                <c:pt idx="862">
                  <c:v>1.1911290886159758</c:v>
                </c:pt>
                <c:pt idx="863">
                  <c:v>1.2163113636455642</c:v>
                </c:pt>
                <c:pt idx="864">
                  <c:v>1.1821439708496129</c:v>
                </c:pt>
                <c:pt idx="865">
                  <c:v>1.2188283897572123</c:v>
                </c:pt>
                <c:pt idx="866">
                  <c:v>1.255920278969344</c:v>
                </c:pt>
                <c:pt idx="867">
                  <c:v>1.2184692205301324</c:v>
                </c:pt>
                <c:pt idx="868">
                  <c:v>1.2108420647413618</c:v>
                </c:pt>
                <c:pt idx="869">
                  <c:v>1.166153959591641</c:v>
                </c:pt>
                <c:pt idx="870">
                  <c:v>1.1561480337145704</c:v>
                </c:pt>
                <c:pt idx="871">
                  <c:v>1.1375705611561835</c:v>
                </c:pt>
                <c:pt idx="872">
                  <c:v>1.13400825069471</c:v>
                </c:pt>
                <c:pt idx="873">
                  <c:v>1.1633510850669437</c:v>
                </c:pt>
                <c:pt idx="874">
                  <c:v>1.1532913420034971</c:v>
                </c:pt>
                <c:pt idx="875">
                  <c:v>1.1492470798634689</c:v>
                </c:pt>
                <c:pt idx="876">
                  <c:v>1.1691242915940974</c:v>
                </c:pt>
                <c:pt idx="877">
                  <c:v>1.1181616686514424</c:v>
                </c:pt>
                <c:pt idx="878">
                  <c:v>1.1403921991210262</c:v>
                </c:pt>
                <c:pt idx="879">
                  <c:v>1.1478097583568929</c:v>
                </c:pt>
                <c:pt idx="880">
                  <c:v>1.1454176570995407</c:v>
                </c:pt>
                <c:pt idx="881">
                  <c:v>1.1744167542417283</c:v>
                </c:pt>
                <c:pt idx="882">
                  <c:v>1.190834537856424</c:v>
                </c:pt>
                <c:pt idx="883">
                  <c:v>1.1668535646683815</c:v>
                </c:pt>
                <c:pt idx="884">
                  <c:v>1.1607657500274464</c:v>
                </c:pt>
                <c:pt idx="885">
                  <c:v>1.1520670578343628</c:v>
                </c:pt>
                <c:pt idx="886">
                  <c:v>1.1269548023043252</c:v>
                </c:pt>
                <c:pt idx="887">
                  <c:v>1.0968863456039608</c:v>
                </c:pt>
                <c:pt idx="888">
                  <c:v>1.083556564091698</c:v>
                </c:pt>
                <c:pt idx="889">
                  <c:v>1.0777957497415354</c:v>
                </c:pt>
                <c:pt idx="890">
                  <c:v>1.0821808547090681</c:v>
                </c:pt>
                <c:pt idx="891">
                  <c:v>1.0450193310646696</c:v>
                </c:pt>
                <c:pt idx="892">
                  <c:v>1.0617614945289582</c:v>
                </c:pt>
                <c:pt idx="893">
                  <c:v>1.0342313487603341</c:v>
                </c:pt>
                <c:pt idx="894">
                  <c:v>1.0629185585306919</c:v>
                </c:pt>
                <c:pt idx="895">
                  <c:v>1.0238269991253064</c:v>
                </c:pt>
                <c:pt idx="896">
                  <c:v>0.99257062055130807</c:v>
                </c:pt>
                <c:pt idx="897">
                  <c:v>0.95092598549259189</c:v>
                </c:pt>
                <c:pt idx="898">
                  <c:v>0.96222975008779599</c:v>
                </c:pt>
                <c:pt idx="899">
                  <c:v>0.95562845663282558</c:v>
                </c:pt>
                <c:pt idx="900">
                  <c:v>1.0145491043106147</c:v>
                </c:pt>
                <c:pt idx="901">
                  <c:v>1.0135158448766803</c:v>
                </c:pt>
                <c:pt idx="902">
                  <c:v>1.0048034633698271</c:v>
                </c:pt>
                <c:pt idx="903">
                  <c:v>0.99093593283748937</c:v>
                </c:pt>
                <c:pt idx="904">
                  <c:v>1.0229652638454947</c:v>
                </c:pt>
                <c:pt idx="905">
                  <c:v>1.0230889108675889</c:v>
                </c:pt>
                <c:pt idx="906">
                  <c:v>1.0593149488794824</c:v>
                </c:pt>
                <c:pt idx="907">
                  <c:v>1.0710546955779336</c:v>
                </c:pt>
                <c:pt idx="908">
                  <c:v>1.0786060075580099</c:v>
                </c:pt>
                <c:pt idx="909">
                  <c:v>1.0893336569169036</c:v>
                </c:pt>
                <c:pt idx="910">
                  <c:v>1.129689256429375</c:v>
                </c:pt>
                <c:pt idx="911">
                  <c:v>1.0856980910122236</c:v>
                </c:pt>
                <c:pt idx="912">
                  <c:v>1.1065232388707071</c:v>
                </c:pt>
                <c:pt idx="913">
                  <c:v>1.0990729635972061</c:v>
                </c:pt>
                <c:pt idx="914">
                  <c:v>1.0972096269707272</c:v>
                </c:pt>
                <c:pt idx="915">
                  <c:v>1.0768167754154339</c:v>
                </c:pt>
                <c:pt idx="916">
                  <c:v>1.0974610196518022</c:v>
                </c:pt>
                <c:pt idx="917">
                  <c:v>1.0827117934086654</c:v>
                </c:pt>
                <c:pt idx="918">
                  <c:v>1.1155774753231069</c:v>
                </c:pt>
                <c:pt idx="919">
                  <c:v>1.1177031559531303</c:v>
                </c:pt>
                <c:pt idx="920">
                  <c:v>1.1134119147709998</c:v>
                </c:pt>
                <c:pt idx="921">
                  <c:v>1.1178676848892009</c:v>
                </c:pt>
                <c:pt idx="922">
                  <c:v>1.1011365601676899</c:v>
                </c:pt>
                <c:pt idx="923">
                  <c:v>1.1426308119483712</c:v>
                </c:pt>
                <c:pt idx="924">
                  <c:v>1.0963440289822619</c:v>
                </c:pt>
                <c:pt idx="925">
                  <c:v>1.076529385219642</c:v>
                </c:pt>
                <c:pt idx="926">
                  <c:v>1.0686322227905203</c:v>
                </c:pt>
                <c:pt idx="927">
                  <c:v>1.112543167185245</c:v>
                </c:pt>
                <c:pt idx="928">
                  <c:v>1.0916109049547342</c:v>
                </c:pt>
                <c:pt idx="929">
                  <c:v>1.110140510936787</c:v>
                </c:pt>
                <c:pt idx="930">
                  <c:v>1.0962305320097354</c:v>
                </c:pt>
                <c:pt idx="931">
                  <c:v>1.0941037900712522</c:v>
                </c:pt>
                <c:pt idx="932">
                  <c:v>1.0941037900712522</c:v>
                </c:pt>
                <c:pt idx="933">
                  <c:v>1.1060982475952741</c:v>
                </c:pt>
                <c:pt idx="934">
                  <c:v>1.0889497734952722</c:v>
                </c:pt>
                <c:pt idx="935">
                  <c:v>1.0893256376435783</c:v>
                </c:pt>
                <c:pt idx="936">
                  <c:v>1.0341213161673661</c:v>
                </c:pt>
                <c:pt idx="937">
                  <c:v>1.0676380634291569</c:v>
                </c:pt>
                <c:pt idx="938">
                  <c:v>1.0545350339988881</c:v>
                </c:pt>
                <c:pt idx="939">
                  <c:v>1.0804580233539323</c:v>
                </c:pt>
                <c:pt idx="940">
                  <c:v>1.0505595662783007</c:v>
                </c:pt>
                <c:pt idx="941">
                  <c:v>1.0611157108082694</c:v>
                </c:pt>
                <c:pt idx="942">
                  <c:v>1.0465481849624874</c:v>
                </c:pt>
                <c:pt idx="943">
                  <c:v>1.0448048269589794</c:v>
                </c:pt>
                <c:pt idx="944">
                  <c:v>1.0378264754299966</c:v>
                </c:pt>
                <c:pt idx="945">
                  <c:v>1.03530666232642</c:v>
                </c:pt>
                <c:pt idx="946">
                  <c:v>0.9893604110679316</c:v>
                </c:pt>
                <c:pt idx="947">
                  <c:v>1.0515748452546847</c:v>
                </c:pt>
                <c:pt idx="948">
                  <c:v>1.0287541846397481</c:v>
                </c:pt>
                <c:pt idx="949">
                  <c:v>1.0253381275764932</c:v>
                </c:pt>
                <c:pt idx="950">
                  <c:v>1.0236013165155731</c:v>
                </c:pt>
                <c:pt idx="951">
                  <c:v>1.0483750425706717</c:v>
                </c:pt>
                <c:pt idx="952">
                  <c:v>1.0362285728411538</c:v>
                </c:pt>
                <c:pt idx="953">
                  <c:v>1.0017862781683711</c:v>
                </c:pt>
                <c:pt idx="954">
                  <c:v>1.0206234853512708</c:v>
                </c:pt>
                <c:pt idx="955">
                  <c:v>1.0650513451548203</c:v>
                </c:pt>
                <c:pt idx="956">
                  <c:v>1.124805985824723</c:v>
                </c:pt>
                <c:pt idx="957">
                  <c:v>1.0980562240907192</c:v>
                </c:pt>
                <c:pt idx="958">
                  <c:v>1.1409528685602495</c:v>
                </c:pt>
                <c:pt idx="959">
                  <c:v>1.1207716963781247</c:v>
                </c:pt>
                <c:pt idx="960">
                  <c:v>1.1471024966981089</c:v>
                </c:pt>
                <c:pt idx="961">
                  <c:v>1.1732759912842918</c:v>
                </c:pt>
                <c:pt idx="962">
                  <c:v>1.207443818449804</c:v>
                </c:pt>
                <c:pt idx="963">
                  <c:v>1.2253971441616553</c:v>
                </c:pt>
                <c:pt idx="964">
                  <c:v>1.2118657127533261</c:v>
                </c:pt>
                <c:pt idx="965">
                  <c:v>1.2118657127533259</c:v>
                </c:pt>
                <c:pt idx="966">
                  <c:v>1.2110300071265452</c:v>
                </c:pt>
                <c:pt idx="967">
                  <c:v>1.1873066690778682</c:v>
                </c:pt>
                <c:pt idx="968">
                  <c:v>1.2396022721435489</c:v>
                </c:pt>
                <c:pt idx="969">
                  <c:v>1.2516398898217906</c:v>
                </c:pt>
                <c:pt idx="970">
                  <c:v>1.2499078126925545</c:v>
                </c:pt>
                <c:pt idx="971">
                  <c:v>1.2336710938560944</c:v>
                </c:pt>
                <c:pt idx="972">
                  <c:v>1.2302871359083658</c:v>
                </c:pt>
                <c:pt idx="973">
                  <c:v>1.2407526914656728</c:v>
                </c:pt>
                <c:pt idx="974">
                  <c:v>1.2484852431241833</c:v>
                </c:pt>
                <c:pt idx="975">
                  <c:v>1.2796389577021192</c:v>
                </c:pt>
                <c:pt idx="976">
                  <c:v>1.2914343802999397</c:v>
                </c:pt>
                <c:pt idx="977">
                  <c:v>1.2600265003598918</c:v>
                </c:pt>
                <c:pt idx="978">
                  <c:v>1.2463650136001241</c:v>
                </c:pt>
                <c:pt idx="979">
                  <c:v>1.2516591288017056</c:v>
                </c:pt>
                <c:pt idx="980">
                  <c:v>1.2536769368816538</c:v>
                </c:pt>
                <c:pt idx="981">
                  <c:v>1.2451035132151422</c:v>
                </c:pt>
                <c:pt idx="982">
                  <c:v>1.2386661346397783</c:v>
                </c:pt>
                <c:pt idx="983">
                  <c:v>1.2623703302021612</c:v>
                </c:pt>
                <c:pt idx="984">
                  <c:v>1.2767296584201586</c:v>
                </c:pt>
                <c:pt idx="985">
                  <c:v>1.2339498769603956</c:v>
                </c:pt>
                <c:pt idx="986">
                  <c:v>1.1864532773397969</c:v>
                </c:pt>
                <c:pt idx="987">
                  <c:v>1.1854185448341787</c:v>
                </c:pt>
                <c:pt idx="988">
                  <c:v>1.1376214852393396</c:v>
                </c:pt>
                <c:pt idx="989">
                  <c:v>1.1386832484189291</c:v>
                </c:pt>
                <c:pt idx="990">
                  <c:v>1.0890397014178899</c:v>
                </c:pt>
                <c:pt idx="991">
                  <c:v>1.0793540000719248</c:v>
                </c:pt>
                <c:pt idx="992">
                  <c:v>1.1022482770990465</c:v>
                </c:pt>
                <c:pt idx="993">
                  <c:v>1.0725145552692363</c:v>
                </c:pt>
                <c:pt idx="994">
                  <c:v>1.0537412275851428</c:v>
                </c:pt>
                <c:pt idx="995">
                  <c:v>1.0613247523190334</c:v>
                </c:pt>
                <c:pt idx="996">
                  <c:v>1.0812506594244218</c:v>
                </c:pt>
                <c:pt idx="997">
                  <c:v>1.0918277410342503</c:v>
                </c:pt>
                <c:pt idx="998">
                  <c:v>1.0349044044919231</c:v>
                </c:pt>
                <c:pt idx="999">
                  <c:v>0.97997237821734851</c:v>
                </c:pt>
                <c:pt idx="1000">
                  <c:v>0.98207293078432345</c:v>
                </c:pt>
                <c:pt idx="1001">
                  <c:v>0.97828615093102922</c:v>
                </c:pt>
                <c:pt idx="1002">
                  <c:v>0.96652482114276717</c:v>
                </c:pt>
                <c:pt idx="1003">
                  <c:v>1.0032934845258163</c:v>
                </c:pt>
                <c:pt idx="1004">
                  <c:v>0.99770593184403911</c:v>
                </c:pt>
                <c:pt idx="1005">
                  <c:v>0.99075270352405809</c:v>
                </c:pt>
                <c:pt idx="1006">
                  <c:v>0.99998528724808944</c:v>
                </c:pt>
                <c:pt idx="1007">
                  <c:v>1.0052575011797531</c:v>
                </c:pt>
                <c:pt idx="1008">
                  <c:v>1.0067236034747093</c:v>
                </c:pt>
                <c:pt idx="1009">
                  <c:v>1.0671634439447193</c:v>
                </c:pt>
                <c:pt idx="1010">
                  <c:v>1.0425072011107726</c:v>
                </c:pt>
                <c:pt idx="1011">
                  <c:v>1.0180748679648317</c:v>
                </c:pt>
                <c:pt idx="1012">
                  <c:v>1.0578086761802907</c:v>
                </c:pt>
                <c:pt idx="1013">
                  <c:v>1.035316654320138</c:v>
                </c:pt>
                <c:pt idx="1014">
                  <c:v>1.0598963840053359</c:v>
                </c:pt>
                <c:pt idx="1015">
                  <c:v>1.0871014397147514</c:v>
                </c:pt>
                <c:pt idx="1016">
                  <c:v>1.0785326344984472</c:v>
                </c:pt>
                <c:pt idx="1017">
                  <c:v>1.0611033078287229</c:v>
                </c:pt>
                <c:pt idx="1018">
                  <c:v>1.0597703069289475</c:v>
                </c:pt>
                <c:pt idx="1019">
                  <c:v>1.0848743239889931</c:v>
                </c:pt>
                <c:pt idx="1020">
                  <c:v>1.136007376129526</c:v>
                </c:pt>
                <c:pt idx="1021">
                  <c:v>1.1249012217171293</c:v>
                </c:pt>
                <c:pt idx="1022">
                  <c:v>1.1130007074178536</c:v>
                </c:pt>
                <c:pt idx="1023">
                  <c:v>1.1212538650479897</c:v>
                </c:pt>
                <c:pt idx="1024">
                  <c:v>1.1233931052688173</c:v>
                </c:pt>
                <c:pt idx="1025">
                  <c:v>1.1145949730834908</c:v>
                </c:pt>
                <c:pt idx="1026">
                  <c:v>1.0993130561411057</c:v>
                </c:pt>
                <c:pt idx="1027">
                  <c:v>1.1121081254799909</c:v>
                </c:pt>
                <c:pt idx="1028">
                  <c:v>1.1140152602186375</c:v>
                </c:pt>
                <c:pt idx="1029">
                  <c:v>1.130033515930583</c:v>
                </c:pt>
                <c:pt idx="1030">
                  <c:v>1.1302850825416082</c:v>
                </c:pt>
                <c:pt idx="1031">
                  <c:v>1.1560453795332726</c:v>
                </c:pt>
                <c:pt idx="1032">
                  <c:v>1.1370530573251241</c:v>
                </c:pt>
                <c:pt idx="1033">
                  <c:v>1.1510040094999912</c:v>
                </c:pt>
                <c:pt idx="1034">
                  <c:v>1.1927270501216751</c:v>
                </c:pt>
                <c:pt idx="1035">
                  <c:v>1.1790362321750796</c:v>
                </c:pt>
                <c:pt idx="1036">
                  <c:v>1.1696587575850494</c:v>
                </c:pt>
                <c:pt idx="1037">
                  <c:v>1.1639453812678289</c:v>
                </c:pt>
                <c:pt idx="1038">
                  <c:v>1.1778102124500887</c:v>
                </c:pt>
                <c:pt idx="1039">
                  <c:v>1.1211451965397421</c:v>
                </c:pt>
                <c:pt idx="1040">
                  <c:v>1.1200484390182084</c:v>
                </c:pt>
                <c:pt idx="1041">
                  <c:v>1.1289199395373688</c:v>
                </c:pt>
                <c:pt idx="1042">
                  <c:v>1.1046250208924333</c:v>
                </c:pt>
                <c:pt idx="1043">
                  <c:v>1.1718167445290324</c:v>
                </c:pt>
                <c:pt idx="1044">
                  <c:v>1.1352421889562627</c:v>
                </c:pt>
                <c:pt idx="1045">
                  <c:v>1.205111193419822</c:v>
                </c:pt>
                <c:pt idx="1046">
                  <c:v>1.2144690907609765</c:v>
                </c:pt>
                <c:pt idx="1047">
                  <c:v>1.2277613025714544</c:v>
                </c:pt>
                <c:pt idx="1048">
                  <c:v>1.274273514009354</c:v>
                </c:pt>
                <c:pt idx="1049">
                  <c:v>1.3084134904795828</c:v>
                </c:pt>
                <c:pt idx="1050">
                  <c:v>1.3394612487047206</c:v>
                </c:pt>
                <c:pt idx="1051">
                  <c:v>1.3364011115808316</c:v>
                </c:pt>
                <c:pt idx="1052">
                  <c:v>1.2862903982016456</c:v>
                </c:pt>
                <c:pt idx="1053">
                  <c:v>1.2786327108264528</c:v>
                </c:pt>
                <c:pt idx="1054">
                  <c:v>1.3359169221880929</c:v>
                </c:pt>
                <c:pt idx="1055">
                  <c:v>1.401078402394089</c:v>
                </c:pt>
                <c:pt idx="1056">
                  <c:v>1.3998308600618896</c:v>
                </c:pt>
                <c:pt idx="1057">
                  <c:v>1.3420742652079038</c:v>
                </c:pt>
                <c:pt idx="1058">
                  <c:v>1.3403869744888273</c:v>
                </c:pt>
                <c:pt idx="1059">
                  <c:v>1.3101880184455064</c:v>
                </c:pt>
                <c:pt idx="1060">
                  <c:v>1.3091499830656996</c:v>
                </c:pt>
                <c:pt idx="1061">
                  <c:v>1.2419442025706515</c:v>
                </c:pt>
                <c:pt idx="1062">
                  <c:v>1.2576638167102008</c:v>
                </c:pt>
                <c:pt idx="1063">
                  <c:v>1.1446079989517668</c:v>
                </c:pt>
                <c:pt idx="1064">
                  <c:v>1.169263644891249</c:v>
                </c:pt>
                <c:pt idx="1065">
                  <c:v>1.0487278007185659</c:v>
                </c:pt>
                <c:pt idx="1066">
                  <c:v>1.0334272853098994</c:v>
                </c:pt>
                <c:pt idx="1067">
                  <c:v>0.98237742354904001</c:v>
                </c:pt>
                <c:pt idx="1068">
                  <c:v>0.88568987333272431</c:v>
                </c:pt>
                <c:pt idx="1069">
                  <c:v>0.87705024168332613</c:v>
                </c:pt>
                <c:pt idx="1070">
                  <c:v>0.86502036385570558</c:v>
                </c:pt>
                <c:pt idx="1071">
                  <c:v>0.8887946118586485</c:v>
                </c:pt>
                <c:pt idx="1072">
                  <c:v>0.88975839417226077</c:v>
                </c:pt>
                <c:pt idx="1073">
                  <c:v>0.88880916069645199</c:v>
                </c:pt>
                <c:pt idx="1074">
                  <c:v>0.91998100929924886</c:v>
                </c:pt>
                <c:pt idx="1075">
                  <c:v>0.90902726840983361</c:v>
                </c:pt>
                <c:pt idx="1076">
                  <c:v>0.90434843503708406</c:v>
                </c:pt>
                <c:pt idx="1077">
                  <c:v>0.94381647592627083</c:v>
                </c:pt>
                <c:pt idx="1078">
                  <c:v>0.97744617983946236</c:v>
                </c:pt>
                <c:pt idx="1079">
                  <c:v>0.97592043203079437</c:v>
                </c:pt>
                <c:pt idx="1080">
                  <c:v>0.94607987318026232</c:v>
                </c:pt>
                <c:pt idx="1081">
                  <c:v>0.98905766134804507</c:v>
                </c:pt>
                <c:pt idx="1082">
                  <c:v>0.99003216016497131</c:v>
                </c:pt>
                <c:pt idx="1083">
                  <c:v>0.98201879795665303</c:v>
                </c:pt>
                <c:pt idx="1084">
                  <c:v>1.0966358693226557</c:v>
                </c:pt>
                <c:pt idx="1085">
                  <c:v>1.0572401721506777</c:v>
                </c:pt>
                <c:pt idx="1086">
                  <c:v>1.0776946446588831</c:v>
                </c:pt>
                <c:pt idx="1087">
                  <c:v>1.0850122622327369</c:v>
                </c:pt>
                <c:pt idx="1088">
                  <c:v>1.0962679112941931</c:v>
                </c:pt>
                <c:pt idx="1089">
                  <c:v>1.1842650856558454</c:v>
                </c:pt>
                <c:pt idx="1090">
                  <c:v>1.2809562250813697</c:v>
                </c:pt>
                <c:pt idx="1091">
                  <c:v>1.3294078277239803</c:v>
                </c:pt>
                <c:pt idx="1092">
                  <c:v>1.3265633154452361</c:v>
                </c:pt>
                <c:pt idx="1093">
                  <c:v>1.3691219184521903</c:v>
                </c:pt>
                <c:pt idx="1094">
                  <c:v>1.3174995474273465</c:v>
                </c:pt>
                <c:pt idx="1095">
                  <c:v>1.3346840859152405</c:v>
                </c:pt>
                <c:pt idx="1096">
                  <c:v>1.3886174799948057</c:v>
                </c:pt>
                <c:pt idx="1097">
                  <c:v>1.4230209487880541</c:v>
                </c:pt>
                <c:pt idx="1098">
                  <c:v>1.4113088406433794</c:v>
                </c:pt>
                <c:pt idx="1099">
                  <c:v>1.4155312962187419</c:v>
                </c:pt>
                <c:pt idx="1100">
                  <c:v>1.3203038661045314</c:v>
                </c:pt>
                <c:pt idx="1101">
                  <c:v>1.326596197516172</c:v>
                </c:pt>
                <c:pt idx="1102">
                  <c:v>1.318765357812191</c:v>
                </c:pt>
                <c:pt idx="1103">
                  <c:v>1.2880521246681234</c:v>
                </c:pt>
                <c:pt idx="1104">
                  <c:v>1.2933099743121022</c:v>
                </c:pt>
                <c:pt idx="1105">
                  <c:v>1.2984360176589453</c:v>
                </c:pt>
                <c:pt idx="1106">
                  <c:v>1.2797121174108941</c:v>
                </c:pt>
                <c:pt idx="1107">
                  <c:v>1.285120013180038</c:v>
                </c:pt>
                <c:pt idx="1108">
                  <c:v>1.3129857612310198</c:v>
                </c:pt>
                <c:pt idx="1109">
                  <c:v>1.3073710129558631</c:v>
                </c:pt>
                <c:pt idx="1110">
                  <c:v>1.2719150192099913</c:v>
                </c:pt>
                <c:pt idx="1111">
                  <c:v>1.1242425802780922</c:v>
                </c:pt>
                <c:pt idx="1112">
                  <c:v>1.0435752538005232</c:v>
                </c:pt>
                <c:pt idx="1113">
                  <c:v>0.937418808744792</c:v>
                </c:pt>
                <c:pt idx="1114">
                  <c:v>0.93548690377067056</c:v>
                </c:pt>
                <c:pt idx="1115">
                  <c:v>0.94046607423213746</c:v>
                </c:pt>
                <c:pt idx="1116">
                  <c:v>1.0537287923446388</c:v>
                </c:pt>
                <c:pt idx="1117">
                  <c:v>1.0392959597506488</c:v>
                </c:pt>
                <c:pt idx="1118">
                  <c:v>1.0956929261913422</c:v>
                </c:pt>
                <c:pt idx="1119">
                  <c:v>1.0897434054194459</c:v>
                </c:pt>
                <c:pt idx="1120">
                  <c:v>1.0710302806498817</c:v>
                </c:pt>
                <c:pt idx="1121">
                  <c:v>1.0887556959746481</c:v>
                </c:pt>
                <c:pt idx="1122">
                  <c:v>1.1732646760215697</c:v>
                </c:pt>
                <c:pt idx="1123">
                  <c:v>1.2215483391284956</c:v>
                </c:pt>
                <c:pt idx="1124">
                  <c:v>1.2661506510934502</c:v>
                </c:pt>
                <c:pt idx="1125">
                  <c:v>1.2477356041770364</c:v>
                </c:pt>
                <c:pt idx="1126">
                  <c:v>1.2200810694752844</c:v>
                </c:pt>
                <c:pt idx="1127">
                  <c:v>1.1896534799254994</c:v>
                </c:pt>
                <c:pt idx="1128">
                  <c:v>1.1542841738597081</c:v>
                </c:pt>
                <c:pt idx="1129">
                  <c:v>1.1656919902323917</c:v>
                </c:pt>
                <c:pt idx="1130">
                  <c:v>1.1762047382181797</c:v>
                </c:pt>
                <c:pt idx="1131">
                  <c:v>1.1797732102341563</c:v>
                </c:pt>
                <c:pt idx="1132">
                  <c:v>1.1864484333747807</c:v>
                </c:pt>
                <c:pt idx="1133">
                  <c:v>1.1788761451133201</c:v>
                </c:pt>
                <c:pt idx="1134">
                  <c:v>1.2219930959038936</c:v>
                </c:pt>
                <c:pt idx="1135">
                  <c:v>1.2279833013953192</c:v>
                </c:pt>
                <c:pt idx="1136">
                  <c:v>1.2266086786643544</c:v>
                </c:pt>
                <c:pt idx="1137">
                  <c:v>1.2266086786643542</c:v>
                </c:pt>
                <c:pt idx="1138">
                  <c:v>1.1935680594937514</c:v>
                </c:pt>
                <c:pt idx="1139">
                  <c:v>1.2104081196406256</c:v>
                </c:pt>
                <c:pt idx="1140">
                  <c:v>1.2188681389838221</c:v>
                </c:pt>
                <c:pt idx="1141">
                  <c:v>1.2081126631637267</c:v>
                </c:pt>
                <c:pt idx="1142">
                  <c:v>1.1565178114823231</c:v>
                </c:pt>
                <c:pt idx="1143">
                  <c:v>1.1277500742119497</c:v>
                </c:pt>
                <c:pt idx="1144">
                  <c:v>1.1251923973412208</c:v>
                </c:pt>
                <c:pt idx="1145">
                  <c:v>1.154263262068459</c:v>
                </c:pt>
                <c:pt idx="1146">
                  <c:v>1.099208963222001</c:v>
                </c:pt>
                <c:pt idx="1147">
                  <c:v>1.0980066055116091</c:v>
                </c:pt>
                <c:pt idx="1148">
                  <c:v>1.1219954002405359</c:v>
                </c:pt>
                <c:pt idx="1149">
                  <c:v>1.1442588325471075</c:v>
                </c:pt>
                <c:pt idx="1150">
                  <c:v>1.1784581783673613</c:v>
                </c:pt>
                <c:pt idx="1151">
                  <c:v>1.1739394333199002</c:v>
                </c:pt>
                <c:pt idx="1152">
                  <c:v>1.1648308544764039</c:v>
                </c:pt>
                <c:pt idx="1153">
                  <c:v>1.1143208333062022</c:v>
                </c:pt>
                <c:pt idx="1154">
                  <c:v>1.109763824931429</c:v>
                </c:pt>
                <c:pt idx="1155">
                  <c:v>1.1329853252034801</c:v>
                </c:pt>
                <c:pt idx="1156">
                  <c:v>1.1518575203237746</c:v>
                </c:pt>
                <c:pt idx="1157">
                  <c:v>1.1702794636276002</c:v>
                </c:pt>
                <c:pt idx="1158">
                  <c:v>1.1854220355210412</c:v>
                </c:pt>
                <c:pt idx="1159">
                  <c:v>1.1799873854770886</c:v>
                </c:pt>
                <c:pt idx="1160">
                  <c:v>1.1836877889076978</c:v>
                </c:pt>
                <c:pt idx="1161">
                  <c:v>1.1971930773136865</c:v>
                </c:pt>
                <c:pt idx="1162">
                  <c:v>1.2484282071892421</c:v>
                </c:pt>
                <c:pt idx="1163">
                  <c:v>1.2383537459062326</c:v>
                </c:pt>
                <c:pt idx="1164">
                  <c:v>1.2169163969810652</c:v>
                </c:pt>
                <c:pt idx="1165">
                  <c:v>1.2075736097598786</c:v>
                </c:pt>
                <c:pt idx="1166">
                  <c:v>1.2194110600340362</c:v>
                </c:pt>
                <c:pt idx="1167">
                  <c:v>1.2384686966749205</c:v>
                </c:pt>
                <c:pt idx="1168">
                  <c:v>1.2398935808987885</c:v>
                </c:pt>
                <c:pt idx="1169">
                  <c:v>1.2743456287872581</c:v>
                </c:pt>
                <c:pt idx="1170">
                  <c:v>1.2835980768871942</c:v>
                </c:pt>
                <c:pt idx="1171">
                  <c:v>1.3310053239614748</c:v>
                </c:pt>
                <c:pt idx="1172">
                  <c:v>1.3527226270552006</c:v>
                </c:pt>
                <c:pt idx="1173">
                  <c:v>1.3520103804947337</c:v>
                </c:pt>
                <c:pt idx="1174">
                  <c:v>1.3449922445616673</c:v>
                </c:pt>
                <c:pt idx="1175">
                  <c:v>1.3360535900188648</c:v>
                </c:pt>
                <c:pt idx="1176">
                  <c:v>1.3605146085213482</c:v>
                </c:pt>
                <c:pt idx="1177">
                  <c:v>1.3600794432510259</c:v>
                </c:pt>
                <c:pt idx="1178">
                  <c:v>1.3365488238821235</c:v>
                </c:pt>
                <c:pt idx="1179">
                  <c:v>1.3105181917983744</c:v>
                </c:pt>
                <c:pt idx="1180">
                  <c:v>1.3299140063807937</c:v>
                </c:pt>
                <c:pt idx="1181">
                  <c:v>1.3227931524384038</c:v>
                </c:pt>
                <c:pt idx="1182">
                  <c:v>1.2839606915600115</c:v>
                </c:pt>
                <c:pt idx="1183">
                  <c:v>1.2840424671603594</c:v>
                </c:pt>
                <c:pt idx="1184">
                  <c:v>1.2620508760716034</c:v>
                </c:pt>
                <c:pt idx="1185">
                  <c:v>1.2465330772360903</c:v>
                </c:pt>
                <c:pt idx="1186">
                  <c:v>1.2578518451581711</c:v>
                </c:pt>
                <c:pt idx="1187">
                  <c:v>1.2755827606668035</c:v>
                </c:pt>
                <c:pt idx="1188">
                  <c:v>1.2597144814253121</c:v>
                </c:pt>
                <c:pt idx="1189">
                  <c:v>1.2782587384011304</c:v>
                </c:pt>
                <c:pt idx="1190">
                  <c:v>1.2630845750297799</c:v>
                </c:pt>
                <c:pt idx="1191">
                  <c:v>1.2554992138038428</c:v>
                </c:pt>
                <c:pt idx="1192">
                  <c:v>1.2061097336706854</c:v>
                </c:pt>
                <c:pt idx="1193">
                  <c:v>1.2424127897884358</c:v>
                </c:pt>
                <c:pt idx="1194">
                  <c:v>1.2284121607919745</c:v>
                </c:pt>
                <c:pt idx="1195">
                  <c:v>1.22253082136828</c:v>
                </c:pt>
                <c:pt idx="1196">
                  <c:v>1.2103361839426756</c:v>
                </c:pt>
                <c:pt idx="1197">
                  <c:v>1.2372597177615543</c:v>
                </c:pt>
                <c:pt idx="1198">
                  <c:v>1.2754805269829261</c:v>
                </c:pt>
                <c:pt idx="1199">
                  <c:v>1.2197962897573291</c:v>
                </c:pt>
                <c:pt idx="1200">
                  <c:v>1.2007109484006526</c:v>
                </c:pt>
                <c:pt idx="1201">
                  <c:v>1.1567014139005536</c:v>
                </c:pt>
                <c:pt idx="1202">
                  <c:v>1.1469467714552948</c:v>
                </c:pt>
                <c:pt idx="1203">
                  <c:v>1.1649026401032578</c:v>
                </c:pt>
                <c:pt idx="1204">
                  <c:v>1.1207770805864186</c:v>
                </c:pt>
                <c:pt idx="1205">
                  <c:v>1.1737012876552864</c:v>
                </c:pt>
                <c:pt idx="1206">
                  <c:v>1.1802359008305057</c:v>
                </c:pt>
                <c:pt idx="1207">
                  <c:v>1.2001166609959213</c:v>
                </c:pt>
                <c:pt idx="1208">
                  <c:v>1.2021265161868526</c:v>
                </c:pt>
                <c:pt idx="1209">
                  <c:v>1.1887632905332919</c:v>
                </c:pt>
                <c:pt idx="1210">
                  <c:v>1.1807819832441648</c:v>
                </c:pt>
                <c:pt idx="1211">
                  <c:v>1.1615356462335813</c:v>
                </c:pt>
                <c:pt idx="1212">
                  <c:v>1.1671442700568064</c:v>
                </c:pt>
                <c:pt idx="1213">
                  <c:v>1.1786315852687399</c:v>
                </c:pt>
                <c:pt idx="1214">
                  <c:v>1.1567276475362349</c:v>
                </c:pt>
                <c:pt idx="1215">
                  <c:v>1.1424253792377146</c:v>
                </c:pt>
                <c:pt idx="1216">
                  <c:v>1.1211816426708332</c:v>
                </c:pt>
                <c:pt idx="1217">
                  <c:v>1.1207155452358697</c:v>
                </c:pt>
                <c:pt idx="1218">
                  <c:v>1.1044851611788937</c:v>
                </c:pt>
                <c:pt idx="1219">
                  <c:v>1.1363072374719052</c:v>
                </c:pt>
                <c:pt idx="1220">
                  <c:v>1.146481072924761</c:v>
                </c:pt>
                <c:pt idx="1221">
                  <c:v>1.1439463856900514</c:v>
                </c:pt>
                <c:pt idx="1222">
                  <c:v>1.1776327316165729</c:v>
                </c:pt>
                <c:pt idx="1223">
                  <c:v>1.134528156517516</c:v>
                </c:pt>
                <c:pt idx="1224">
                  <c:v>1.1113479958213319</c:v>
                </c:pt>
                <c:pt idx="1225">
                  <c:v>1.1224472954372875</c:v>
                </c:pt>
                <c:pt idx="1226">
                  <c:v>1.1395224347551669</c:v>
                </c:pt>
                <c:pt idx="1227">
                  <c:v>1.0922654407713572</c:v>
                </c:pt>
                <c:pt idx="1228">
                  <c:v>1.1118195193817024</c:v>
                </c:pt>
                <c:pt idx="1229">
                  <c:v>1.1244926825477555</c:v>
                </c:pt>
                <c:pt idx="1230">
                  <c:v>1.1095750455057982</c:v>
                </c:pt>
                <c:pt idx="1231">
                  <c:v>1.1274834147670252</c:v>
                </c:pt>
                <c:pt idx="1232">
                  <c:v>1.1425951505939969</c:v>
                </c:pt>
                <c:pt idx="1233">
                  <c:v>1.1342266087515309</c:v>
                </c:pt>
                <c:pt idx="1234">
                  <c:v>1.2340539677835398</c:v>
                </c:pt>
                <c:pt idx="1235">
                  <c:v>1.1820955481928992</c:v>
                </c:pt>
                <c:pt idx="1236">
                  <c:v>1.146550298158304</c:v>
                </c:pt>
                <c:pt idx="1237">
                  <c:v>1.2297578959936055</c:v>
                </c:pt>
                <c:pt idx="1238">
                  <c:v>1.2231946114462997</c:v>
                </c:pt>
                <c:pt idx="1239">
                  <c:v>1.2963893714076991</c:v>
                </c:pt>
                <c:pt idx="1240">
                  <c:v>1.2492931334692159</c:v>
                </c:pt>
                <c:pt idx="1241">
                  <c:v>1.2409942713845197</c:v>
                </c:pt>
                <c:pt idx="1242">
                  <c:v>1.2767008488566396</c:v>
                </c:pt>
                <c:pt idx="1243">
                  <c:v>1.3542356286595894</c:v>
                </c:pt>
                <c:pt idx="1244">
                  <c:v>1.3495988761245992</c:v>
                </c:pt>
                <c:pt idx="1245">
                  <c:v>1.3942278380407611</c:v>
                </c:pt>
                <c:pt idx="1246">
                  <c:v>1.3993579808686154</c:v>
                </c:pt>
                <c:pt idx="1247">
                  <c:v>1.3563737999008496</c:v>
                </c:pt>
                <c:pt idx="1248">
                  <c:v>1.3787879484882912</c:v>
                </c:pt>
                <c:pt idx="1249">
                  <c:v>1.3084868860766175</c:v>
                </c:pt>
                <c:pt idx="1250">
                  <c:v>1.3446874610169055</c:v>
                </c:pt>
                <c:pt idx="1251">
                  <c:v>1.3761931500363227</c:v>
                </c:pt>
                <c:pt idx="1252">
                  <c:v>1.2997796453386943</c:v>
                </c:pt>
                <c:pt idx="1253">
                  <c:v>1.3068004710989232</c:v>
                </c:pt>
                <c:pt idx="1254">
                  <c:v>1.3227361488748355</c:v>
                </c:pt>
                <c:pt idx="1255">
                  <c:v>1.2678092245622201</c:v>
                </c:pt>
                <c:pt idx="1256">
                  <c:v>1.1846180819150109</c:v>
                </c:pt>
                <c:pt idx="1257">
                  <c:v>1.2054341040929382</c:v>
                </c:pt>
                <c:pt idx="1258">
                  <c:v>1.2110506979905706</c:v>
                </c:pt>
                <c:pt idx="1259">
                  <c:v>1.1356229745077742</c:v>
                </c:pt>
                <c:pt idx="1260">
                  <c:v>1.1040468922241864</c:v>
                </c:pt>
                <c:pt idx="1261">
                  <c:v>0.95547328345815041</c:v>
                </c:pt>
                <c:pt idx="1262">
                  <c:v>0.96132146835345411</c:v>
                </c:pt>
                <c:pt idx="1263">
                  <c:v>0.93457126441800131</c:v>
                </c:pt>
                <c:pt idx="1264">
                  <c:v>0.92098029981301865</c:v>
                </c:pt>
                <c:pt idx="1265">
                  <c:v>0.91306261194582561</c:v>
                </c:pt>
                <c:pt idx="1266">
                  <c:v>0.86945913958178533</c:v>
                </c:pt>
                <c:pt idx="1267">
                  <c:v>0.84714673239462857</c:v>
                </c:pt>
                <c:pt idx="1268">
                  <c:v>0.86639535983304405</c:v>
                </c:pt>
                <c:pt idx="1269">
                  <c:v>0.85873496908326519</c:v>
                </c:pt>
                <c:pt idx="1270">
                  <c:v>0.85453415419727663</c:v>
                </c:pt>
                <c:pt idx="1271">
                  <c:v>0.85508754677148568</c:v>
                </c:pt>
                <c:pt idx="1272">
                  <c:v>0.85560787022222207</c:v>
                </c:pt>
                <c:pt idx="1273">
                  <c:v>0.87533120168521217</c:v>
                </c:pt>
                <c:pt idx="1274">
                  <c:v>0.88017115629167009</c:v>
                </c:pt>
                <c:pt idx="1275">
                  <c:v>0.89394746432076022</c:v>
                </c:pt>
                <c:pt idx="1276">
                  <c:v>1.0459805936530799</c:v>
                </c:pt>
                <c:pt idx="1277">
                  <c:v>1.198599565968647</c:v>
                </c:pt>
                <c:pt idx="1278">
                  <c:v>1.2710969558866734</c:v>
                </c:pt>
                <c:pt idx="1279">
                  <c:v>1.3352306615488685</c:v>
                </c:pt>
                <c:pt idx="1280">
                  <c:v>1.3856391529070489</c:v>
                </c:pt>
                <c:pt idx="1281">
                  <c:v>1.3380463112443011</c:v>
                </c:pt>
                <c:pt idx="1282">
                  <c:v>1.4244650538553658</c:v>
                </c:pt>
                <c:pt idx="1283">
                  <c:v>1.4603399068977603</c:v>
                </c:pt>
                <c:pt idx="1284">
                  <c:v>1.4210085862861099</c:v>
                </c:pt>
                <c:pt idx="1285">
                  <c:v>1.4377872926307886</c:v>
                </c:pt>
                <c:pt idx="1286">
                  <c:v>1.4369083990033724</c:v>
                </c:pt>
                <c:pt idx="1287">
                  <c:v>1.3976412395471007</c:v>
                </c:pt>
                <c:pt idx="1288">
                  <c:v>1.394636235684795</c:v>
                </c:pt>
                <c:pt idx="1289">
                  <c:v>1.4019410189767803</c:v>
                </c:pt>
                <c:pt idx="1290">
                  <c:v>1.3883631725346841</c:v>
                </c:pt>
                <c:pt idx="1291">
                  <c:v>1.3856598909304301</c:v>
                </c:pt>
                <c:pt idx="1292">
                  <c:v>1.3496148875985268</c:v>
                </c:pt>
                <c:pt idx="1293">
                  <c:v>1.3465197370624944</c:v>
                </c:pt>
                <c:pt idx="1294">
                  <c:v>1.3686120160858997</c:v>
                </c:pt>
                <c:pt idx="1295">
                  <c:v>1.3120127995590956</c:v>
                </c:pt>
                <c:pt idx="1296">
                  <c:v>1.2697582809157109</c:v>
                </c:pt>
                <c:pt idx="1297">
                  <c:v>1.2732097641191236</c:v>
                </c:pt>
                <c:pt idx="1298">
                  <c:v>1.215402114055498</c:v>
                </c:pt>
                <c:pt idx="1299">
                  <c:v>1.2101762482069034</c:v>
                </c:pt>
                <c:pt idx="1300">
                  <c:v>1.2559158859747244</c:v>
                </c:pt>
                <c:pt idx="1301">
                  <c:v>1.2726375905109859</c:v>
                </c:pt>
                <c:pt idx="1302">
                  <c:v>1.2336901006200121</c:v>
                </c:pt>
                <c:pt idx="1303">
                  <c:v>1.2770129028412309</c:v>
                </c:pt>
                <c:pt idx="1304">
                  <c:v>1.176636009499358</c:v>
                </c:pt>
                <c:pt idx="1305">
                  <c:v>1.1841246827795688</c:v>
                </c:pt>
                <c:pt idx="1306">
                  <c:v>1.1712555401063782</c:v>
                </c:pt>
                <c:pt idx="1307">
                  <c:v>1.1822552479326816</c:v>
                </c:pt>
                <c:pt idx="1308">
                  <c:v>1.1773996772549238</c:v>
                </c:pt>
                <c:pt idx="1309">
                  <c:v>1.2104029916927874</c:v>
                </c:pt>
                <c:pt idx="1310">
                  <c:v>1.1908374335329939</c:v>
                </c:pt>
                <c:pt idx="1311">
                  <c:v>1.2280652946061508</c:v>
                </c:pt>
                <c:pt idx="1312">
                  <c:v>1.1810671192738731</c:v>
                </c:pt>
                <c:pt idx="1313">
                  <c:v>1.1717937914390792</c:v>
                </c:pt>
                <c:pt idx="1314">
                  <c:v>1.1645410521183721</c:v>
                </c:pt>
                <c:pt idx="1315">
                  <c:v>1.2106501055882828</c:v>
                </c:pt>
                <c:pt idx="1316">
                  <c:v>1.2088714695471383</c:v>
                </c:pt>
                <c:pt idx="1317">
                  <c:v>1.2117103424593638</c:v>
                </c:pt>
                <c:pt idx="1318">
                  <c:v>1.2005271351780644</c:v>
                </c:pt>
                <c:pt idx="1319">
                  <c:v>1.212128175006125</c:v>
                </c:pt>
                <c:pt idx="1320">
                  <c:v>1.2018462808357071</c:v>
                </c:pt>
                <c:pt idx="1321">
                  <c:v>1.1797461737521164</c:v>
                </c:pt>
                <c:pt idx="1322">
                  <c:v>1.1816180704304657</c:v>
                </c:pt>
                <c:pt idx="1323">
                  <c:v>1.1850377558367589</c:v>
                </c:pt>
                <c:pt idx="1324">
                  <c:v>1.216831621631481</c:v>
                </c:pt>
                <c:pt idx="1325">
                  <c:v>1.2210705685312926</c:v>
                </c:pt>
                <c:pt idx="1326">
                  <c:v>1.211707069793895</c:v>
                </c:pt>
                <c:pt idx="1327">
                  <c:v>1.1877933273536045</c:v>
                </c:pt>
                <c:pt idx="1328">
                  <c:v>1.1457194697866822</c:v>
                </c:pt>
                <c:pt idx="1329">
                  <c:v>1.1630147605827426</c:v>
                </c:pt>
                <c:pt idx="1330">
                  <c:v>1.146911695285042</c:v>
                </c:pt>
                <c:pt idx="1331">
                  <c:v>1.1554532871780558</c:v>
                </c:pt>
                <c:pt idx="1332">
                  <c:v>1.138666744057711</c:v>
                </c:pt>
                <c:pt idx="1333">
                  <c:v>1.1157243922852229</c:v>
                </c:pt>
                <c:pt idx="1334">
                  <c:v>1.1389369917885572</c:v>
                </c:pt>
                <c:pt idx="1335">
                  <c:v>1.0981794757322412</c:v>
                </c:pt>
                <c:pt idx="1336">
                  <c:v>1.1078289838559308</c:v>
                </c:pt>
                <c:pt idx="1337">
                  <c:v>1.0943439224894773</c:v>
                </c:pt>
                <c:pt idx="1338">
                  <c:v>1.1005614554587031</c:v>
                </c:pt>
                <c:pt idx="1339">
                  <c:v>1.0705136805430768</c:v>
                </c:pt>
                <c:pt idx="1340">
                  <c:v>1.1298243175404517</c:v>
                </c:pt>
                <c:pt idx="1341">
                  <c:v>1.1176581119342419</c:v>
                </c:pt>
                <c:pt idx="1342">
                  <c:v>1.1662753366677789</c:v>
                </c:pt>
                <c:pt idx="1343">
                  <c:v>1.1931326486360936</c:v>
                </c:pt>
                <c:pt idx="1344">
                  <c:v>1.2174747277227889</c:v>
                </c:pt>
                <c:pt idx="1345">
                  <c:v>1.1951323208615088</c:v>
                </c:pt>
                <c:pt idx="1346">
                  <c:v>1.1941151198859474</c:v>
                </c:pt>
                <c:pt idx="1347">
                  <c:v>1.1876708104618001</c:v>
                </c:pt>
                <c:pt idx="1348">
                  <c:v>1.1985777491217064</c:v>
                </c:pt>
                <c:pt idx="1349">
                  <c:v>1.1958049758342228</c:v>
                </c:pt>
                <c:pt idx="1350">
                  <c:v>1.1850590945059514</c:v>
                </c:pt>
                <c:pt idx="1351">
                  <c:v>1.1974021688735115</c:v>
                </c:pt>
                <c:pt idx="1352">
                  <c:v>1.2064159897107987</c:v>
                </c:pt>
                <c:pt idx="1353">
                  <c:v>1.2453020221764608</c:v>
                </c:pt>
                <c:pt idx="1354">
                  <c:v>1.2242898011669376</c:v>
                </c:pt>
                <c:pt idx="1355">
                  <c:v>1.2319570917292815</c:v>
                </c:pt>
                <c:pt idx="1356">
                  <c:v>1.2726746204962103</c:v>
                </c:pt>
                <c:pt idx="1357">
                  <c:v>1.2721624272785732</c:v>
                </c:pt>
                <c:pt idx="1358">
                  <c:v>1.2791378651892535</c:v>
                </c:pt>
                <c:pt idx="1359">
                  <c:v>1.2627856453915278</c:v>
                </c:pt>
                <c:pt idx="1360">
                  <c:v>1.2336340577763523</c:v>
                </c:pt>
                <c:pt idx="1361">
                  <c:v>1.2116672279402334</c:v>
                </c:pt>
                <c:pt idx="1362">
                  <c:v>1.2090689873170826</c:v>
                </c:pt>
                <c:pt idx="1363">
                  <c:v>1.2095729749003143</c:v>
                </c:pt>
                <c:pt idx="1364">
                  <c:v>1.1900179173769452</c:v>
                </c:pt>
                <c:pt idx="1365">
                  <c:v>1.1882258096475791</c:v>
                </c:pt>
                <c:pt idx="1366">
                  <c:v>1.1944640504494444</c:v>
                </c:pt>
                <c:pt idx="1367">
                  <c:v>1.2104786267204919</c:v>
                </c:pt>
                <c:pt idx="1368">
                  <c:v>1.2262731596463188</c:v>
                </c:pt>
                <c:pt idx="1369">
                  <c:v>1.2540866988672923</c:v>
                </c:pt>
                <c:pt idx="1370">
                  <c:v>1.1850224790534858</c:v>
                </c:pt>
                <c:pt idx="1371">
                  <c:v>1.1794941444456644</c:v>
                </c:pt>
                <c:pt idx="1372">
                  <c:v>1.1631370581715441</c:v>
                </c:pt>
                <c:pt idx="1373">
                  <c:v>1.1533816347602812</c:v>
                </c:pt>
                <c:pt idx="1374">
                  <c:v>1.1132684095599485</c:v>
                </c:pt>
                <c:pt idx="1375">
                  <c:v>1.1052624382793725</c:v>
                </c:pt>
                <c:pt idx="1376">
                  <c:v>1.1045434382117127</c:v>
                </c:pt>
                <c:pt idx="1377">
                  <c:v>1.1650571492075141</c:v>
                </c:pt>
                <c:pt idx="1378">
                  <c:v>1.212495716309532</c:v>
                </c:pt>
                <c:pt idx="1379">
                  <c:v>1.2021898123123429</c:v>
                </c:pt>
                <c:pt idx="1380">
                  <c:v>1.2453691692892079</c:v>
                </c:pt>
                <c:pt idx="1381">
                  <c:v>1.243214271209083</c:v>
                </c:pt>
                <c:pt idx="1382">
                  <c:v>1.2616402842714527</c:v>
                </c:pt>
                <c:pt idx="1383">
                  <c:v>1.2544963270104694</c:v>
                </c:pt>
                <c:pt idx="1384">
                  <c:v>1.2146027684216232</c:v>
                </c:pt>
                <c:pt idx="1385">
                  <c:v>1.2283475957936152</c:v>
                </c:pt>
                <c:pt idx="1386">
                  <c:v>1.2169774126862447</c:v>
                </c:pt>
                <c:pt idx="1387">
                  <c:v>1.2508355368432271</c:v>
                </c:pt>
                <c:pt idx="1388">
                  <c:v>1.2734787634348441</c:v>
                </c:pt>
                <c:pt idx="1389">
                  <c:v>1.257380281543254</c:v>
                </c:pt>
                <c:pt idx="1390">
                  <c:v>1.263420325758704</c:v>
                </c:pt>
                <c:pt idx="1391">
                  <c:v>1.2647104070865798</c:v>
                </c:pt>
                <c:pt idx="1392">
                  <c:v>1.2807969860755566</c:v>
                </c:pt>
                <c:pt idx="1393">
                  <c:v>1.2856870787123185</c:v>
                </c:pt>
                <c:pt idx="1394">
                  <c:v>1.2679370973193504</c:v>
                </c:pt>
                <c:pt idx="1395">
                  <c:v>1.267025841393387</c:v>
                </c:pt>
                <c:pt idx="1396">
                  <c:v>1.294092012930701</c:v>
                </c:pt>
                <c:pt idx="1397">
                  <c:v>1.2564793451655247</c:v>
                </c:pt>
                <c:pt idx="1398">
                  <c:v>1.2111137175268096</c:v>
                </c:pt>
                <c:pt idx="1399">
                  <c:v>1.2189485293651157</c:v>
                </c:pt>
                <c:pt idx="1400">
                  <c:v>1.2353929990367296</c:v>
                </c:pt>
                <c:pt idx="1401">
                  <c:v>1.2323634428091466</c:v>
                </c:pt>
                <c:pt idx="1402">
                  <c:v>1.2048686674269216</c:v>
                </c:pt>
                <c:pt idx="1403">
                  <c:v>1.185736155257592</c:v>
                </c:pt>
                <c:pt idx="1404">
                  <c:v>1.191151090139378</c:v>
                </c:pt>
                <c:pt idx="1405">
                  <c:v>1.2049394986480848</c:v>
                </c:pt>
                <c:pt idx="1406">
                  <c:v>1.2064644366004362</c:v>
                </c:pt>
                <c:pt idx="1407">
                  <c:v>1.1949905496668594</c:v>
                </c:pt>
                <c:pt idx="1408">
                  <c:v>1.1664200560374618</c:v>
                </c:pt>
                <c:pt idx="1409">
                  <c:v>1.1667768749259935</c:v>
                </c:pt>
                <c:pt idx="1410">
                  <c:v>1.1520817739175906</c:v>
                </c:pt>
                <c:pt idx="1411">
                  <c:v>1.1757842088355863</c:v>
                </c:pt>
                <c:pt idx="1412">
                  <c:v>1.1663066768083838</c:v>
                </c:pt>
                <c:pt idx="1413">
                  <c:v>1.1230326348110165</c:v>
                </c:pt>
                <c:pt idx="1414">
                  <c:v>1.130783931107342</c:v>
                </c:pt>
                <c:pt idx="1415">
                  <c:v>1.0871204714934908</c:v>
                </c:pt>
                <c:pt idx="1416">
                  <c:v>1.0911396551892136</c:v>
                </c:pt>
                <c:pt idx="1417">
                  <c:v>1.0619738724409025</c:v>
                </c:pt>
                <c:pt idx="1418">
                  <c:v>1.0693332867543772</c:v>
                </c:pt>
                <c:pt idx="1419">
                  <c:v>1.1106591187942949</c:v>
                </c:pt>
                <c:pt idx="1420">
                  <c:v>1.0971671463940382</c:v>
                </c:pt>
                <c:pt idx="1421">
                  <c:v>1.1010809735640823</c:v>
                </c:pt>
                <c:pt idx="1422">
                  <c:v>1.0921454157736519</c:v>
                </c:pt>
                <c:pt idx="1423">
                  <c:v>1.1048782114192341</c:v>
                </c:pt>
                <c:pt idx="1424">
                  <c:v>1.1054080226557634</c:v>
                </c:pt>
                <c:pt idx="1425">
                  <c:v>1.1051781985610796</c:v>
                </c:pt>
                <c:pt idx="1426">
                  <c:v>1.0537859496056152</c:v>
                </c:pt>
                <c:pt idx="1427">
                  <c:v>1.0992204134027808</c:v>
                </c:pt>
                <c:pt idx="1428">
                  <c:v>1.0842151141692797</c:v>
                </c:pt>
                <c:pt idx="1429">
                  <c:v>1.1202945528107653</c:v>
                </c:pt>
                <c:pt idx="1430">
                  <c:v>1.1056584349213121</c:v>
                </c:pt>
                <c:pt idx="1431">
                  <c:v>1.1234481506177481</c:v>
                </c:pt>
                <c:pt idx="1432">
                  <c:v>1.124566838703972</c:v>
                </c:pt>
                <c:pt idx="1433">
                  <c:v>1.1339026291590451</c:v>
                </c:pt>
                <c:pt idx="1434">
                  <c:v>1.1455117814231819</c:v>
                </c:pt>
                <c:pt idx="1435">
                  <c:v>1.1394995876896263</c:v>
                </c:pt>
                <c:pt idx="1436">
                  <c:v>1.1400928072729009</c:v>
                </c:pt>
                <c:pt idx="1437">
                  <c:v>1.1282086299278515</c:v>
                </c:pt>
                <c:pt idx="1438">
                  <c:v>1.1247845259804468</c:v>
                </c:pt>
                <c:pt idx="1439">
                  <c:v>1.118539945283763</c:v>
                </c:pt>
                <c:pt idx="1440">
                  <c:v>1.1098359100004098</c:v>
                </c:pt>
                <c:pt idx="1441">
                  <c:v>1.0611889341785417</c:v>
                </c:pt>
                <c:pt idx="1442">
                  <c:v>1.0622672023532511</c:v>
                </c:pt>
                <c:pt idx="1443">
                  <c:v>1.0632094656351083</c:v>
                </c:pt>
                <c:pt idx="1444">
                  <c:v>1.1066737986198665</c:v>
                </c:pt>
                <c:pt idx="1445">
                  <c:v>1.1219947855719186</c:v>
                </c:pt>
                <c:pt idx="1446">
                  <c:v>1.1294244287378798</c:v>
                </c:pt>
                <c:pt idx="1447">
                  <c:v>1.1659463622054964</c:v>
                </c:pt>
                <c:pt idx="1448">
                  <c:v>1.1289003906253305</c:v>
                </c:pt>
                <c:pt idx="1449">
                  <c:v>1.1063256468064049</c:v>
                </c:pt>
                <c:pt idx="1450">
                  <c:v>1.1129476240116174</c:v>
                </c:pt>
                <c:pt idx="1451">
                  <c:v>1.1340685073267602</c:v>
                </c:pt>
                <c:pt idx="1452">
                  <c:v>1.1057501224658914</c:v>
                </c:pt>
                <c:pt idx="1453">
                  <c:v>1.0801140850769468</c:v>
                </c:pt>
                <c:pt idx="1454">
                  <c:v>1.0903967431496047</c:v>
                </c:pt>
                <c:pt idx="1455">
                  <c:v>1.0989964073864285</c:v>
                </c:pt>
                <c:pt idx="1456">
                  <c:v>1.0856315498680786</c:v>
                </c:pt>
                <c:pt idx="1457">
                  <c:v>1.0441022652163368</c:v>
                </c:pt>
                <c:pt idx="1458">
                  <c:v>1.099915148242506</c:v>
                </c:pt>
                <c:pt idx="1459">
                  <c:v>1.0575388908910759</c:v>
                </c:pt>
                <c:pt idx="1460">
                  <c:v>1.0609997995818115</c:v>
                </c:pt>
                <c:pt idx="1461">
                  <c:v>1.0282490417958203</c:v>
                </c:pt>
                <c:pt idx="1462">
                  <c:v>1.0484191164215584</c:v>
                </c:pt>
                <c:pt idx="1463">
                  <c:v>1.0157746605027813</c:v>
                </c:pt>
                <c:pt idx="1464">
                  <c:v>1.0298849952534872</c:v>
                </c:pt>
                <c:pt idx="1465">
                  <c:v>1.0484296412462204</c:v>
                </c:pt>
                <c:pt idx="1466">
                  <c:v>1.07649815413779</c:v>
                </c:pt>
                <c:pt idx="1467">
                  <c:v>1.0523043133124999</c:v>
                </c:pt>
                <c:pt idx="1468">
                  <c:v>1.1017238843019515</c:v>
                </c:pt>
                <c:pt idx="1469">
                  <c:v>1.1210219578068297</c:v>
                </c:pt>
                <c:pt idx="1470">
                  <c:v>1.12693812617636</c:v>
                </c:pt>
                <c:pt idx="1471">
                  <c:v>1.1189370982700759</c:v>
                </c:pt>
                <c:pt idx="1472">
                  <c:v>1.1028062949303159</c:v>
                </c:pt>
                <c:pt idx="1473">
                  <c:v>1.0920353768847495</c:v>
                </c:pt>
                <c:pt idx="1474">
                  <c:v>1.0670542219792201</c:v>
                </c:pt>
                <c:pt idx="1475">
                  <c:v>1.0766990849537443</c:v>
                </c:pt>
                <c:pt idx="1476">
                  <c:v>1.066862464069938</c:v>
                </c:pt>
                <c:pt idx="1477">
                  <c:v>1.0095833327403572</c:v>
                </c:pt>
                <c:pt idx="1478">
                  <c:v>1.0612222404747085</c:v>
                </c:pt>
                <c:pt idx="1479">
                  <c:v>1.0443644605389351</c:v>
                </c:pt>
                <c:pt idx="1480">
                  <c:v>1.0390776192617055</c:v>
                </c:pt>
                <c:pt idx="1481">
                  <c:v>1.0026212197758568</c:v>
                </c:pt>
                <c:pt idx="1482">
                  <c:v>1.0528112885011263</c:v>
                </c:pt>
                <c:pt idx="1483">
                  <c:v>1.0817979924883037</c:v>
                </c:pt>
                <c:pt idx="1484">
                  <c:v>1.0747180330555139</c:v>
                </c:pt>
                <c:pt idx="1485">
                  <c:v>1.134162762752239</c:v>
                </c:pt>
                <c:pt idx="1486">
                  <c:v>1.1776222390609956</c:v>
                </c:pt>
                <c:pt idx="1487">
                  <c:v>1.1778411968756526</c:v>
                </c:pt>
                <c:pt idx="1488">
                  <c:v>1.1732174544398399</c:v>
                </c:pt>
                <c:pt idx="1489">
                  <c:v>1.1639688347528303</c:v>
                </c:pt>
                <c:pt idx="1490">
                  <c:v>1.1662258608951737</c:v>
                </c:pt>
                <c:pt idx="1491">
                  <c:v>1.1776813377706776</c:v>
                </c:pt>
                <c:pt idx="1492">
                  <c:v>1.2056869077584897</c:v>
                </c:pt>
                <c:pt idx="1493">
                  <c:v>1.2105517408361273</c:v>
                </c:pt>
                <c:pt idx="1494">
                  <c:v>1.174520738649276</c:v>
                </c:pt>
                <c:pt idx="1495">
                  <c:v>1.1637999591113524</c:v>
                </c:pt>
                <c:pt idx="1496">
                  <c:v>1.1288527387339442</c:v>
                </c:pt>
                <c:pt idx="1497">
                  <c:v>1.1813189589431894</c:v>
                </c:pt>
                <c:pt idx="1498">
                  <c:v>1.179714021453417</c:v>
                </c:pt>
                <c:pt idx="1499">
                  <c:v>1.1652833013537063</c:v>
                </c:pt>
                <c:pt idx="1500">
                  <c:v>1.1823549946328864</c:v>
                </c:pt>
                <c:pt idx="1501">
                  <c:v>1.2039781282620265</c:v>
                </c:pt>
                <c:pt idx="1502">
                  <c:v>1.2007741276972643</c:v>
                </c:pt>
                <c:pt idx="1503">
                  <c:v>1.1994129311085255</c:v>
                </c:pt>
                <c:pt idx="1504">
                  <c:v>1.1908349239470404</c:v>
                </c:pt>
                <c:pt idx="1505">
                  <c:v>1.2079973452813944</c:v>
                </c:pt>
                <c:pt idx="1506">
                  <c:v>1.2253455529514647</c:v>
                </c:pt>
                <c:pt idx="1507">
                  <c:v>1.2255320683583566</c:v>
                </c:pt>
                <c:pt idx="1508">
                  <c:v>1.1703296028514125</c:v>
                </c:pt>
                <c:pt idx="1509">
                  <c:v>1.1493160884910503</c:v>
                </c:pt>
                <c:pt idx="1510">
                  <c:v>1.1825612180698126</c:v>
                </c:pt>
                <c:pt idx="1511">
                  <c:v>1.2311579448054057</c:v>
                </c:pt>
                <c:pt idx="1512">
                  <c:v>1.1982830629073311</c:v>
                </c:pt>
                <c:pt idx="1513">
                  <c:v>1.1723141962429029</c:v>
                </c:pt>
                <c:pt idx="1514">
                  <c:v>1.2223087256048102</c:v>
                </c:pt>
                <c:pt idx="1515">
                  <c:v>1.1615109066241682</c:v>
                </c:pt>
                <c:pt idx="1516">
                  <c:v>1.112137891475321</c:v>
                </c:pt>
                <c:pt idx="1517">
                  <c:v>1.1140350187442523</c:v>
                </c:pt>
                <c:pt idx="1518">
                  <c:v>1.0754664852609497</c:v>
                </c:pt>
                <c:pt idx="1519">
                  <c:v>1.077950428561899</c:v>
                </c:pt>
                <c:pt idx="1520">
                  <c:v>1.0519980442270185</c:v>
                </c:pt>
                <c:pt idx="1521">
                  <c:v>1.0582090704495069</c:v>
                </c:pt>
                <c:pt idx="1522">
                  <c:v>1.0049941956714648</c:v>
                </c:pt>
                <c:pt idx="1523">
                  <c:v>0.9915044298855954</c:v>
                </c:pt>
                <c:pt idx="1524">
                  <c:v>0.99137869865048645</c:v>
                </c:pt>
                <c:pt idx="1525">
                  <c:v>0.97761121012441343</c:v>
                </c:pt>
                <c:pt idx="1526">
                  <c:v>0.99478779577389786</c:v>
                </c:pt>
                <c:pt idx="1527">
                  <c:v>0.91546759611699569</c:v>
                </c:pt>
                <c:pt idx="1528">
                  <c:v>0.94037923384572697</c:v>
                </c:pt>
                <c:pt idx="1529">
                  <c:v>0.95024110673004469</c:v>
                </c:pt>
                <c:pt idx="1530">
                  <c:v>0.91072416556668068</c:v>
                </c:pt>
                <c:pt idx="1531">
                  <c:v>0.8920105148599371</c:v>
                </c:pt>
                <c:pt idx="1532">
                  <c:v>0.97943591553693732</c:v>
                </c:pt>
                <c:pt idx="1533">
                  <c:v>0.97851570682628675</c:v>
                </c:pt>
                <c:pt idx="1534">
                  <c:v>0.97790745395755485</c:v>
                </c:pt>
                <c:pt idx="1535">
                  <c:v>0.95705781182351479</c:v>
                </c:pt>
                <c:pt idx="1536">
                  <c:v>0.95632444117130544</c:v>
                </c:pt>
                <c:pt idx="1537">
                  <c:v>0.96983000050785095</c:v>
                </c:pt>
                <c:pt idx="1538">
                  <c:v>0.98546919801173172</c:v>
                </c:pt>
                <c:pt idx="1539">
                  <c:v>1.0491123779696794</c:v>
                </c:pt>
                <c:pt idx="1540">
                  <c:v>1.014328156562462</c:v>
                </c:pt>
                <c:pt idx="1541">
                  <c:v>0.95280131445521565</c:v>
                </c:pt>
                <c:pt idx="1542">
                  <c:v>0.94985546389903486</c:v>
                </c:pt>
                <c:pt idx="1543">
                  <c:v>0.94811949389971073</c:v>
                </c:pt>
                <c:pt idx="1544">
                  <c:v>0.91618204535446168</c:v>
                </c:pt>
                <c:pt idx="1545">
                  <c:v>0.94536503926856963</c:v>
                </c:pt>
                <c:pt idx="1546">
                  <c:v>0.98127854669655168</c:v>
                </c:pt>
                <c:pt idx="1547">
                  <c:v>1.0011301659601521</c:v>
                </c:pt>
                <c:pt idx="1548">
                  <c:v>1.0029086434598302</c:v>
                </c:pt>
                <c:pt idx="1549">
                  <c:v>1.0202093542194079</c:v>
                </c:pt>
                <c:pt idx="1550">
                  <c:v>1.0572197870646007</c:v>
                </c:pt>
                <c:pt idx="1551">
                  <c:v>1.0507328586419504</c:v>
                </c:pt>
                <c:pt idx="1552">
                  <c:v>1.0533340608174411</c:v>
                </c:pt>
                <c:pt idx="1553">
                  <c:v>1.0577821082367327</c:v>
                </c:pt>
                <c:pt idx="1554">
                  <c:v>1.0753954632128826</c:v>
                </c:pt>
                <c:pt idx="1555">
                  <c:v>1.0769676459136679</c:v>
                </c:pt>
                <c:pt idx="1556">
                  <c:v>1.0943008579984261</c:v>
                </c:pt>
                <c:pt idx="1557">
                  <c:v>1.0725392043312849</c:v>
                </c:pt>
                <c:pt idx="1558">
                  <c:v>1.0588651483068325</c:v>
                </c:pt>
                <c:pt idx="1559">
                  <c:v>1.0505453427822042</c:v>
                </c:pt>
                <c:pt idx="1560">
                  <c:v>1.0385996319093795</c:v>
                </c:pt>
                <c:pt idx="1561">
                  <c:v>1.0461816725378161</c:v>
                </c:pt>
                <c:pt idx="1562">
                  <c:v>1.0089425441873607</c:v>
                </c:pt>
                <c:pt idx="1563">
                  <c:v>1.0417681697672614</c:v>
                </c:pt>
                <c:pt idx="1564">
                  <c:v>1.0416007243495544</c:v>
                </c:pt>
                <c:pt idx="1565">
                  <c:v>1.0699329122807693</c:v>
                </c:pt>
                <c:pt idx="1566">
                  <c:v>1.0616835470247188</c:v>
                </c:pt>
                <c:pt idx="1567">
                  <c:v>1.0320022387037995</c:v>
                </c:pt>
                <c:pt idx="1568">
                  <c:v>1.0376722956229716</c:v>
                </c:pt>
                <c:pt idx="1569">
                  <c:v>1.0113746193620121</c:v>
                </c:pt>
                <c:pt idx="1570">
                  <c:v>1.0417408617254609</c:v>
                </c:pt>
                <c:pt idx="1571">
                  <c:v>1.0656412456205966</c:v>
                </c:pt>
                <c:pt idx="1572">
                  <c:v>1.1100574697766317</c:v>
                </c:pt>
                <c:pt idx="1573">
                  <c:v>1.1377336314322237</c:v>
                </c:pt>
                <c:pt idx="1574">
                  <c:v>1.1255029016440592</c:v>
                </c:pt>
                <c:pt idx="1575">
                  <c:v>1.1022559937972984</c:v>
                </c:pt>
                <c:pt idx="1576">
                  <c:v>1.1236713226648225</c:v>
                </c:pt>
                <c:pt idx="1577">
                  <c:v>1.1121843992481806</c:v>
                </c:pt>
                <c:pt idx="1578">
                  <c:v>1.1023442105897285</c:v>
                </c:pt>
                <c:pt idx="1579">
                  <c:v>1.1356440777216996</c:v>
                </c:pt>
                <c:pt idx="1580">
                  <c:v>1.1401026370412919</c:v>
                </c:pt>
                <c:pt idx="1581">
                  <c:v>1.1849671415008873</c:v>
                </c:pt>
                <c:pt idx="1582">
                  <c:v>1.2233778375192743</c:v>
                </c:pt>
                <c:pt idx="1583">
                  <c:v>1.2540474701825555</c:v>
                </c:pt>
                <c:pt idx="1584">
                  <c:v>1.2309191500756624</c:v>
                </c:pt>
                <c:pt idx="1585">
                  <c:v>1.2571560680004481</c:v>
                </c:pt>
                <c:pt idx="1586">
                  <c:v>1.2788507771999162</c:v>
                </c:pt>
                <c:pt idx="1587">
                  <c:v>1.2816433416408859</c:v>
                </c:pt>
                <c:pt idx="1588">
                  <c:v>1.2656716448762215</c:v>
                </c:pt>
                <c:pt idx="1589">
                  <c:v>1.3158391405024261</c:v>
                </c:pt>
                <c:pt idx="1590">
                  <c:v>1.3409736126729188</c:v>
                </c:pt>
                <c:pt idx="1591">
                  <c:v>1.387644328208492</c:v>
                </c:pt>
                <c:pt idx="1592">
                  <c:v>1.3843283777598674</c:v>
                </c:pt>
                <c:pt idx="1593">
                  <c:v>1.341759866827849</c:v>
                </c:pt>
                <c:pt idx="1594">
                  <c:v>1.3416529520252853</c:v>
                </c:pt>
                <c:pt idx="1595">
                  <c:v>1.370104283303442</c:v>
                </c:pt>
                <c:pt idx="1596">
                  <c:v>1.4009415553046145</c:v>
                </c:pt>
                <c:pt idx="1597">
                  <c:v>1.4011042033002932</c:v>
                </c:pt>
                <c:pt idx="1598">
                  <c:v>1.3982020063548453</c:v>
                </c:pt>
                <c:pt idx="1599">
                  <c:v>1.4038461536039151</c:v>
                </c:pt>
                <c:pt idx="1600">
                  <c:v>1.4178306239325347</c:v>
                </c:pt>
                <c:pt idx="1601">
                  <c:v>1.4248880173785472</c:v>
                </c:pt>
                <c:pt idx="1602">
                  <c:v>1.3967906152994107</c:v>
                </c:pt>
                <c:pt idx="1603">
                  <c:v>1.3625232255744801</c:v>
                </c:pt>
                <c:pt idx="1604">
                  <c:v>1.3960237458046962</c:v>
                </c:pt>
                <c:pt idx="1605">
                  <c:v>1.4003210223078284</c:v>
                </c:pt>
                <c:pt idx="1606">
                  <c:v>1.3786848639275724</c:v>
                </c:pt>
                <c:pt idx="1607">
                  <c:v>1.3917732012358055</c:v>
                </c:pt>
                <c:pt idx="1608">
                  <c:v>1.4116671484209853</c:v>
                </c:pt>
                <c:pt idx="1609">
                  <c:v>1.3779720231382508</c:v>
                </c:pt>
                <c:pt idx="1610">
                  <c:v>1.3797710954582538</c:v>
                </c:pt>
                <c:pt idx="1611">
                  <c:v>1.3773886670906967</c:v>
                </c:pt>
                <c:pt idx="1612">
                  <c:v>1.3448994322099406</c:v>
                </c:pt>
                <c:pt idx="1613">
                  <c:v>1.356634993558373</c:v>
                </c:pt>
                <c:pt idx="1614">
                  <c:v>1.3607847634412258</c:v>
                </c:pt>
                <c:pt idx="1615">
                  <c:v>1.3493591923150252</c:v>
                </c:pt>
                <c:pt idx="1616">
                  <c:v>1.3220144851137503</c:v>
                </c:pt>
                <c:pt idx="1617">
                  <c:v>1.314550270546206</c:v>
                </c:pt>
                <c:pt idx="1618">
                  <c:v>1.3095993947435391</c:v>
                </c:pt>
                <c:pt idx="1619">
                  <c:v>1.302567579379502</c:v>
                </c:pt>
                <c:pt idx="1620">
                  <c:v>1.302567579379502</c:v>
                </c:pt>
                <c:pt idx="1621">
                  <c:v>1.2883020992184149</c:v>
                </c:pt>
                <c:pt idx="1622">
                  <c:v>1.284255855913562</c:v>
                </c:pt>
                <c:pt idx="1623">
                  <c:v>1.2965703654810556</c:v>
                </c:pt>
                <c:pt idx="1624">
                  <c:v>1.2855093806799283</c:v>
                </c:pt>
                <c:pt idx="1625">
                  <c:v>1.2905668361695533</c:v>
                </c:pt>
                <c:pt idx="1626">
                  <c:v>1.2344017118454176</c:v>
                </c:pt>
                <c:pt idx="1627">
                  <c:v>1.2755740650398548</c:v>
                </c:pt>
                <c:pt idx="1628">
                  <c:v>1.2785516680275746</c:v>
                </c:pt>
                <c:pt idx="1629">
                  <c:v>1.2731523010265489</c:v>
                </c:pt>
                <c:pt idx="1630">
                  <c:v>1.2409203573692125</c:v>
                </c:pt>
                <c:pt idx="1631">
                  <c:v>1.2092064938742211</c:v>
                </c:pt>
                <c:pt idx="1632">
                  <c:v>1.2189620608317255</c:v>
                </c:pt>
                <c:pt idx="1633">
                  <c:v>1.2105299020173612</c:v>
                </c:pt>
                <c:pt idx="1634">
                  <c:v>1.178797556054864</c:v>
                </c:pt>
                <c:pt idx="1635">
                  <c:v>1.1856577785415543</c:v>
                </c:pt>
                <c:pt idx="1636">
                  <c:v>1.159263539503848</c:v>
                </c:pt>
                <c:pt idx="1637">
                  <c:v>1.0970868426108691</c:v>
                </c:pt>
                <c:pt idx="1638">
                  <c:v>1.0700394234868607</c:v>
                </c:pt>
                <c:pt idx="1639">
                  <c:v>1.0722904907494633</c:v>
                </c:pt>
                <c:pt idx="1640">
                  <c:v>1.0129767786198205</c:v>
                </c:pt>
                <c:pt idx="1641">
                  <c:v>1.0189097734523809</c:v>
                </c:pt>
                <c:pt idx="1642">
                  <c:v>1.0349104020299948</c:v>
                </c:pt>
                <c:pt idx="1643">
                  <c:v>1.0024925258413735</c:v>
                </c:pt>
                <c:pt idx="1644">
                  <c:v>1.031764251786409</c:v>
                </c:pt>
                <c:pt idx="1645">
                  <c:v>1.0207011901336407</c:v>
                </c:pt>
                <c:pt idx="1646">
                  <c:v>1.0825143146302092</c:v>
                </c:pt>
                <c:pt idx="1647">
                  <c:v>1.0896533246019549</c:v>
                </c:pt>
                <c:pt idx="1648">
                  <c:v>1.0779271295183761</c:v>
                </c:pt>
                <c:pt idx="1649">
                  <c:v>1.0667020827453815</c:v>
                </c:pt>
                <c:pt idx="1650">
                  <c:v>1.0574272073531001</c:v>
                </c:pt>
                <c:pt idx="1651">
                  <c:v>1.034497156987922</c:v>
                </c:pt>
                <c:pt idx="1652">
                  <c:v>1.0588502222238279</c:v>
                </c:pt>
                <c:pt idx="1653">
                  <c:v>1.0458282753919006</c:v>
                </c:pt>
                <c:pt idx="1654">
                  <c:v>1.050365234781113</c:v>
                </c:pt>
                <c:pt idx="1655">
                  <c:v>1.0128203480732727</c:v>
                </c:pt>
                <c:pt idx="1656">
                  <c:v>1.0604438996796657</c:v>
                </c:pt>
                <c:pt idx="1657">
                  <c:v>1.0308427530953479</c:v>
                </c:pt>
                <c:pt idx="1658">
                  <c:v>1.0369936653948117</c:v>
                </c:pt>
                <c:pt idx="1659">
                  <c:v>1.0703359124673164</c:v>
                </c:pt>
                <c:pt idx="1660">
                  <c:v>1.0699032612838175</c:v>
                </c:pt>
                <c:pt idx="1661">
                  <c:v>1.0485798277539078</c:v>
                </c:pt>
                <c:pt idx="1662">
                  <c:v>1.0691552686610812</c:v>
                </c:pt>
                <c:pt idx="1663">
                  <c:v>1.0682984644730156</c:v>
                </c:pt>
                <c:pt idx="1664">
                  <c:v>1.0735379793484017</c:v>
                </c:pt>
                <c:pt idx="1665">
                  <c:v>1.0407846288633213</c:v>
                </c:pt>
                <c:pt idx="1666">
                  <c:v>1.0307176386259782</c:v>
                </c:pt>
                <c:pt idx="1667">
                  <c:v>1.0295378385079106</c:v>
                </c:pt>
                <c:pt idx="1668">
                  <c:v>1.0527531502694725</c:v>
                </c:pt>
                <c:pt idx="1669">
                  <c:v>1.0546235914013251</c:v>
                </c:pt>
                <c:pt idx="1670">
                  <c:v>1.03600670126089</c:v>
                </c:pt>
                <c:pt idx="1671">
                  <c:v>1.0330052686494251</c:v>
                </c:pt>
                <c:pt idx="1672">
                  <c:v>1.0142865110198307</c:v>
                </c:pt>
                <c:pt idx="1673">
                  <c:v>1.0112641457175235</c:v>
                </c:pt>
                <c:pt idx="1674">
                  <c:v>1.0228071019581808</c:v>
                </c:pt>
                <c:pt idx="1675">
                  <c:v>1.0179687347004263</c:v>
                </c:pt>
                <c:pt idx="1676">
                  <c:v>0.98756195789917667</c:v>
                </c:pt>
                <c:pt idx="1677">
                  <c:v>0.99053828394162691</c:v>
                </c:pt>
                <c:pt idx="1678">
                  <c:v>1.0230964943648326</c:v>
                </c:pt>
                <c:pt idx="1679">
                  <c:v>1.0368012256981542</c:v>
                </c:pt>
                <c:pt idx="1680">
                  <c:v>1.0080987567933388</c:v>
                </c:pt>
                <c:pt idx="1681">
                  <c:v>1.051786930479</c:v>
                </c:pt>
                <c:pt idx="1682">
                  <c:v>1.0419548934574854</c:v>
                </c:pt>
                <c:pt idx="1683">
                  <c:v>1.0511569980182591</c:v>
                </c:pt>
                <c:pt idx="1684">
                  <c:v>1.0486230160954209</c:v>
                </c:pt>
                <c:pt idx="1685">
                  <c:v>1.092474992480561</c:v>
                </c:pt>
                <c:pt idx="1686">
                  <c:v>1.0642171587225699</c:v>
                </c:pt>
                <c:pt idx="1687">
                  <c:v>1.0609579276003034</c:v>
                </c:pt>
                <c:pt idx="1688">
                  <c:v>1.0617985175889173</c:v>
                </c:pt>
                <c:pt idx="1689">
                  <c:v>1.0897084393353207</c:v>
                </c:pt>
                <c:pt idx="1690">
                  <c:v>1.1119747371644526</c:v>
                </c:pt>
                <c:pt idx="1691">
                  <c:v>1.1093518870022268</c:v>
                </c:pt>
                <c:pt idx="1692">
                  <c:v>1.0738616533682128</c:v>
                </c:pt>
                <c:pt idx="1693">
                  <c:v>1.1179381678458054</c:v>
                </c:pt>
                <c:pt idx="1694">
                  <c:v>1.1649667747223074</c:v>
                </c:pt>
                <c:pt idx="1695">
                  <c:v>1.1939141173217731</c:v>
                </c:pt>
                <c:pt idx="1696">
                  <c:v>1.2091806383216499</c:v>
                </c:pt>
                <c:pt idx="1697">
                  <c:v>1.2138401587665821</c:v>
                </c:pt>
                <c:pt idx="1698">
                  <c:v>1.1880634295540276</c:v>
                </c:pt>
                <c:pt idx="1699">
                  <c:v>1.1848810018334106</c:v>
                </c:pt>
                <c:pt idx="1700">
                  <c:v>1.2654990383607385</c:v>
                </c:pt>
                <c:pt idx="1701">
                  <c:v>1.3582765025837944</c:v>
                </c:pt>
                <c:pt idx="1702">
                  <c:v>1.3445676141293592</c:v>
                </c:pt>
                <c:pt idx="1703">
                  <c:v>1.3770174749932484</c:v>
                </c:pt>
                <c:pt idx="1704">
                  <c:v>1.3229947307042702</c:v>
                </c:pt>
                <c:pt idx="1705">
                  <c:v>1.3887770192494553</c:v>
                </c:pt>
                <c:pt idx="1706">
                  <c:v>1.3900948450235038</c:v>
                </c:pt>
                <c:pt idx="1707">
                  <c:v>1.3890097771144523</c:v>
                </c:pt>
                <c:pt idx="1708">
                  <c:v>1.3521566001260237</c:v>
                </c:pt>
                <c:pt idx="1709">
                  <c:v>1.3678473733504075</c:v>
                </c:pt>
                <c:pt idx="1710">
                  <c:v>1.4196646843857015</c:v>
                </c:pt>
                <c:pt idx="1711">
                  <c:v>1.4033842920826669</c:v>
                </c:pt>
                <c:pt idx="1712">
                  <c:v>1.3735091813542302</c:v>
                </c:pt>
                <c:pt idx="1713">
                  <c:v>1.410020175937821</c:v>
                </c:pt>
                <c:pt idx="1714">
                  <c:v>1.3938780764306551</c:v>
                </c:pt>
                <c:pt idx="1715">
                  <c:v>1.3938780764306553</c:v>
                </c:pt>
                <c:pt idx="1716">
                  <c:v>1.3940525971706237</c:v>
                </c:pt>
                <c:pt idx="1717">
                  <c:v>1.3641015315971712</c:v>
                </c:pt>
                <c:pt idx="1718">
                  <c:v>1.3685681753477656</c:v>
                </c:pt>
                <c:pt idx="1719">
                  <c:v>1.3298291308440269</c:v>
                </c:pt>
                <c:pt idx="1720">
                  <c:v>1.3265345050557293</c:v>
                </c:pt>
                <c:pt idx="1721">
                  <c:v>1.3267114732802054</c:v>
                </c:pt>
                <c:pt idx="1722">
                  <c:v>1.316257494984719</c:v>
                </c:pt>
                <c:pt idx="1723">
                  <c:v>1.3137462446767636</c:v>
                </c:pt>
                <c:pt idx="1724">
                  <c:v>1.2052002266042341</c:v>
                </c:pt>
                <c:pt idx="1725">
                  <c:v>1.1164665629596333</c:v>
                </c:pt>
                <c:pt idx="1726">
                  <c:v>0.97961105347579358</c:v>
                </c:pt>
                <c:pt idx="1727">
                  <c:v>0.99046488562450941</c:v>
                </c:pt>
                <c:pt idx="1728">
                  <c:v>0.91772858031470106</c:v>
                </c:pt>
                <c:pt idx="1729">
                  <c:v>0.85638111883066104</c:v>
                </c:pt>
                <c:pt idx="1730">
                  <c:v>0.85042680292100148</c:v>
                </c:pt>
                <c:pt idx="1731">
                  <c:v>0.83868095669714371</c:v>
                </c:pt>
                <c:pt idx="1732">
                  <c:v>0.83444530408963347</c:v>
                </c:pt>
                <c:pt idx="1733">
                  <c:v>0.86331258573569658</c:v>
                </c:pt>
                <c:pt idx="1734">
                  <c:v>0.87517282365505777</c:v>
                </c:pt>
                <c:pt idx="1735">
                  <c:v>0.84134983225165272</c:v>
                </c:pt>
                <c:pt idx="1736">
                  <c:v>0.85941713742044556</c:v>
                </c:pt>
                <c:pt idx="1737">
                  <c:v>0.86230005178611946</c:v>
                </c:pt>
                <c:pt idx="1738">
                  <c:v>0.86611432443327319</c:v>
                </c:pt>
                <c:pt idx="1739">
                  <c:v>0.88811210072168001</c:v>
                </c:pt>
                <c:pt idx="1740">
                  <c:v>0.87599460713188049</c:v>
                </c:pt>
                <c:pt idx="1741">
                  <c:v>0.88319690987298816</c:v>
                </c:pt>
                <c:pt idx="1742">
                  <c:v>0.85955775851881233</c:v>
                </c:pt>
                <c:pt idx="1743">
                  <c:v>0.97337787254417296</c:v>
                </c:pt>
                <c:pt idx="1744">
                  <c:v>1.0872873024922707</c:v>
                </c:pt>
                <c:pt idx="1745">
                  <c:v>1.0825111291934071</c:v>
                </c:pt>
                <c:pt idx="1746">
                  <c:v>1.0818500544113701</c:v>
                </c:pt>
                <c:pt idx="1747">
                  <c:v>1.0743168906841194</c:v>
                </c:pt>
                <c:pt idx="1748">
                  <c:v>1.1329647811835537</c:v>
                </c:pt>
                <c:pt idx="1749">
                  <c:v>1.0896769530778214</c:v>
                </c:pt>
                <c:pt idx="1750">
                  <c:v>1.1461692819948128</c:v>
                </c:pt>
                <c:pt idx="1751">
                  <c:v>1.1327312126007651</c:v>
                </c:pt>
                <c:pt idx="1752">
                  <c:v>1.1161922649856486</c:v>
                </c:pt>
                <c:pt idx="1753">
                  <c:v>1.1886631145955524</c:v>
                </c:pt>
                <c:pt idx="1754">
                  <c:v>1.2920524525846016</c:v>
                </c:pt>
                <c:pt idx="1755">
                  <c:v>1.3010413159262566</c:v>
                </c:pt>
                <c:pt idx="1756">
                  <c:v>1.2820390099324219</c:v>
                </c:pt>
                <c:pt idx="1757">
                  <c:v>1.2831613259858428</c:v>
                </c:pt>
                <c:pt idx="1758">
                  <c:v>1.2656091623104413</c:v>
                </c:pt>
                <c:pt idx="1759">
                  <c:v>1.2693146399425213</c:v>
                </c:pt>
                <c:pt idx="1760">
                  <c:v>1.2558252770337046</c:v>
                </c:pt>
                <c:pt idx="1761">
                  <c:v>1.2727703515623277</c:v>
                </c:pt>
                <c:pt idx="1762">
                  <c:v>1.3486997143694475</c:v>
                </c:pt>
                <c:pt idx="1763">
                  <c:v>1.3483826412137008</c:v>
                </c:pt>
                <c:pt idx="1764">
                  <c:v>1.3669011853732191</c:v>
                </c:pt>
                <c:pt idx="1765">
                  <c:v>1.3686221362100413</c:v>
                </c:pt>
                <c:pt idx="1766">
                  <c:v>1.3684830514365038</c:v>
                </c:pt>
                <c:pt idx="1767">
                  <c:v>1.3167763230926772</c:v>
                </c:pt>
                <c:pt idx="1768">
                  <c:v>1.3325716646317034</c:v>
                </c:pt>
                <c:pt idx="1769">
                  <c:v>1.2752577382045458</c:v>
                </c:pt>
                <c:pt idx="1770">
                  <c:v>1.3143888051236901</c:v>
                </c:pt>
                <c:pt idx="1771">
                  <c:v>1.3170564969248484</c:v>
                </c:pt>
                <c:pt idx="1772">
                  <c:v>1.3380885320262741</c:v>
                </c:pt>
                <c:pt idx="1773">
                  <c:v>1.3257078352215526</c:v>
                </c:pt>
                <c:pt idx="1774">
                  <c:v>1.3201356600438987</c:v>
                </c:pt>
                <c:pt idx="1775">
                  <c:v>1.2901549848981211</c:v>
                </c:pt>
                <c:pt idx="1776">
                  <c:v>1.270725243189164</c:v>
                </c:pt>
                <c:pt idx="1777">
                  <c:v>1.2630612329419815</c:v>
                </c:pt>
                <c:pt idx="1778">
                  <c:v>1.2535608591473355</c:v>
                </c:pt>
                <c:pt idx="1779">
                  <c:v>1.2159063125584715</c:v>
                </c:pt>
                <c:pt idx="1780">
                  <c:v>1.2067113568913543</c:v>
                </c:pt>
                <c:pt idx="1781">
                  <c:v>1.2096192998521109</c:v>
                </c:pt>
                <c:pt idx="1782">
                  <c:v>1.1686372848100792</c:v>
                </c:pt>
                <c:pt idx="1783">
                  <c:v>1.1911889163700091</c:v>
                </c:pt>
                <c:pt idx="1784">
                  <c:v>1.1512719602408374</c:v>
                </c:pt>
                <c:pt idx="1785">
                  <c:v>1.1582071460250307</c:v>
                </c:pt>
                <c:pt idx="1786">
                  <c:v>1.1573295162551591</c:v>
                </c:pt>
                <c:pt idx="1787">
                  <c:v>1.1451732288775918</c:v>
                </c:pt>
                <c:pt idx="1788">
                  <c:v>1.1431587615125847</c:v>
                </c:pt>
                <c:pt idx="1789">
                  <c:v>1.1170223657193441</c:v>
                </c:pt>
                <c:pt idx="1790">
                  <c:v>1.0542077703130934</c:v>
                </c:pt>
                <c:pt idx="1791">
                  <c:v>1.0326680654176017</c:v>
                </c:pt>
                <c:pt idx="1792">
                  <c:v>1.0411695457457946</c:v>
                </c:pt>
                <c:pt idx="1793">
                  <c:v>1.0433874981349769</c:v>
                </c:pt>
                <c:pt idx="1794">
                  <c:v>1.0652356061227592</c:v>
                </c:pt>
                <c:pt idx="1795">
                  <c:v>1.0322579313241469</c:v>
                </c:pt>
                <c:pt idx="1796">
                  <c:v>1.0506120821342362</c:v>
                </c:pt>
                <c:pt idx="1797">
                  <c:v>1.0543176689814293</c:v>
                </c:pt>
                <c:pt idx="1798">
                  <c:v>1.0069685929195782</c:v>
                </c:pt>
                <c:pt idx="1799">
                  <c:v>0.97614330255676851</c:v>
                </c:pt>
                <c:pt idx="1800">
                  <c:v>0.9714535264349945</c:v>
                </c:pt>
                <c:pt idx="1801">
                  <c:v>0.96423091859150312</c:v>
                </c:pt>
                <c:pt idx="1802">
                  <c:v>0.9382157803910095</c:v>
                </c:pt>
                <c:pt idx="1803">
                  <c:v>0.94154458571888655</c:v>
                </c:pt>
                <c:pt idx="1804">
                  <c:v>1.0050113512254237</c:v>
                </c:pt>
                <c:pt idx="1805">
                  <c:v>1.0376855325038574</c:v>
                </c:pt>
                <c:pt idx="1806">
                  <c:v>1.035912668843886</c:v>
                </c:pt>
                <c:pt idx="1807">
                  <c:v>1.0097377035077257</c:v>
                </c:pt>
                <c:pt idx="1808">
                  <c:v>1.0826152350334053</c:v>
                </c:pt>
                <c:pt idx="1809">
                  <c:v>1.0826419898382462</c:v>
                </c:pt>
                <c:pt idx="1810">
                  <c:v>1.0969775089637945</c:v>
                </c:pt>
                <c:pt idx="1811">
                  <c:v>1.1362020319781436</c:v>
                </c:pt>
                <c:pt idx="1812">
                  <c:v>1.1402914025627917</c:v>
                </c:pt>
                <c:pt idx="1813">
                  <c:v>1.1377531801100682</c:v>
                </c:pt>
                <c:pt idx="1814">
                  <c:v>1.1335241049716247</c:v>
                </c:pt>
                <c:pt idx="1815">
                  <c:v>1.154222632362349</c:v>
                </c:pt>
                <c:pt idx="1816">
                  <c:v>1.155147201646294</c:v>
                </c:pt>
                <c:pt idx="1817">
                  <c:v>1.1719795612356141</c:v>
                </c:pt>
                <c:pt idx="1818">
                  <c:v>1.1706701097009038</c:v>
                </c:pt>
                <c:pt idx="1819">
                  <c:v>1.2228891736516776</c:v>
                </c:pt>
                <c:pt idx="1820">
                  <c:v>1.2557644555473342</c:v>
                </c:pt>
                <c:pt idx="1821">
                  <c:v>1.2433601118807425</c:v>
                </c:pt>
                <c:pt idx="1822">
                  <c:v>1.2310059898824364</c:v>
                </c:pt>
                <c:pt idx="1823">
                  <c:v>1.2483121938575037</c:v>
                </c:pt>
                <c:pt idx="1824">
                  <c:v>1.23294176760253</c:v>
                </c:pt>
                <c:pt idx="1825">
                  <c:v>1.2699299012240752</c:v>
                </c:pt>
                <c:pt idx="1826">
                  <c:v>1.246326833022801</c:v>
                </c:pt>
                <c:pt idx="1827">
                  <c:v>1.249808077220282</c:v>
                </c:pt>
                <c:pt idx="1828">
                  <c:v>1.2472323843974129</c:v>
                </c:pt>
                <c:pt idx="1829">
                  <c:v>1.2886552288531545</c:v>
                </c:pt>
                <c:pt idx="1830">
                  <c:v>1.2976698834591109</c:v>
                </c:pt>
                <c:pt idx="1831">
                  <c:v>1.3062673416326736</c:v>
                </c:pt>
                <c:pt idx="1832">
                  <c:v>1.3068856109086213</c:v>
                </c:pt>
                <c:pt idx="1833">
                  <c:v>1.3281637570409914</c:v>
                </c:pt>
                <c:pt idx="1834">
                  <c:v>1.2678973452771798</c:v>
                </c:pt>
                <c:pt idx="1835">
                  <c:v>1.2642964514865098</c:v>
                </c:pt>
                <c:pt idx="1836">
                  <c:v>1.2636327853027376</c:v>
                </c:pt>
                <c:pt idx="1837">
                  <c:v>1.2742893444321559</c:v>
                </c:pt>
                <c:pt idx="1838">
                  <c:v>1.2111313700017432</c:v>
                </c:pt>
                <c:pt idx="1839">
                  <c:v>1.2326846228092347</c:v>
                </c:pt>
                <c:pt idx="1840">
                  <c:v>1.253227786580505</c:v>
                </c:pt>
                <c:pt idx="1841">
                  <c:v>1.2498930528961909</c:v>
                </c:pt>
                <c:pt idx="1842">
                  <c:v>1.2458974054181131</c:v>
                </c:pt>
                <c:pt idx="1843">
                  <c:v>1.2222071611750547</c:v>
                </c:pt>
                <c:pt idx="1844">
                  <c:v>1.2241696693311532</c:v>
                </c:pt>
                <c:pt idx="1845">
                  <c:v>1.1838356227150775</c:v>
                </c:pt>
                <c:pt idx="1846">
                  <c:v>1.1928253429779963</c:v>
                </c:pt>
                <c:pt idx="1847">
                  <c:v>1.2254609266551997</c:v>
                </c:pt>
                <c:pt idx="1848">
                  <c:v>1.2556193233052251</c:v>
                </c:pt>
                <c:pt idx="1849">
                  <c:v>1.2151070621199569</c:v>
                </c:pt>
                <c:pt idx="1850">
                  <c:v>1.1490300257173436</c:v>
                </c:pt>
                <c:pt idx="1851">
                  <c:v>1.1918704029680676</c:v>
                </c:pt>
                <c:pt idx="1852">
                  <c:v>1.1654803163572054</c:v>
                </c:pt>
                <c:pt idx="1853">
                  <c:v>1.1185407159926422</c:v>
                </c:pt>
                <c:pt idx="1854">
                  <c:v>1.1219001225855494</c:v>
                </c:pt>
                <c:pt idx="1855">
                  <c:v>1.0978566369987923</c:v>
                </c:pt>
                <c:pt idx="1856">
                  <c:v>1.1042430704426851</c:v>
                </c:pt>
                <c:pt idx="1857">
                  <c:v>1.1263702255730441</c:v>
                </c:pt>
                <c:pt idx="1858">
                  <c:v>1.1793011762767878</c:v>
                </c:pt>
                <c:pt idx="1859">
                  <c:v>1.1561432119061985</c:v>
                </c:pt>
                <c:pt idx="1860">
                  <c:v>1.1346363030636222</c:v>
                </c:pt>
                <c:pt idx="1861">
                  <c:v>1.1162828813810446</c:v>
                </c:pt>
                <c:pt idx="1862">
                  <c:v>1.1112300836688025</c:v>
                </c:pt>
                <c:pt idx="1863">
                  <c:v>1.1176977569370301</c:v>
                </c:pt>
                <c:pt idx="1864">
                  <c:v>1.1716070601734501</c:v>
                </c:pt>
                <c:pt idx="1865">
                  <c:v>1.1463830677094953</c:v>
                </c:pt>
                <c:pt idx="1866">
                  <c:v>1.133050809951184</c:v>
                </c:pt>
                <c:pt idx="1867">
                  <c:v>1.1160995815168415</c:v>
                </c:pt>
                <c:pt idx="1868">
                  <c:v>1.1455037540639978</c:v>
                </c:pt>
                <c:pt idx="1869">
                  <c:v>1.1470065487993109</c:v>
                </c:pt>
                <c:pt idx="1870">
                  <c:v>1.1450407310930337</c:v>
                </c:pt>
                <c:pt idx="1871">
                  <c:v>1.100647719435629</c:v>
                </c:pt>
                <c:pt idx="1872">
                  <c:v>1.1028174993087521</c:v>
                </c:pt>
                <c:pt idx="1873">
                  <c:v>1.0861214872460039</c:v>
                </c:pt>
                <c:pt idx="1874">
                  <c:v>1.1213382809080787</c:v>
                </c:pt>
                <c:pt idx="1875">
                  <c:v>1.1184852235958682</c:v>
                </c:pt>
                <c:pt idx="1876">
                  <c:v>1.1336741711959313</c:v>
                </c:pt>
                <c:pt idx="1877">
                  <c:v>1.1199591536065618</c:v>
                </c:pt>
                <c:pt idx="1878">
                  <c:v>1.1037301435971827</c:v>
                </c:pt>
                <c:pt idx="1879">
                  <c:v>1.0464565826207719</c:v>
                </c:pt>
                <c:pt idx="1880">
                  <c:v>1.0441077145296023</c:v>
                </c:pt>
                <c:pt idx="1881">
                  <c:v>1.0529449123794399</c:v>
                </c:pt>
                <c:pt idx="1882">
                  <c:v>1.0795156960095733</c:v>
                </c:pt>
                <c:pt idx="1883">
                  <c:v>1.0897685085828319</c:v>
                </c:pt>
                <c:pt idx="1884">
                  <c:v>1.0805729110485571</c:v>
                </c:pt>
                <c:pt idx="1885">
                  <c:v>1.0989033195632476</c:v>
                </c:pt>
                <c:pt idx="1886">
                  <c:v>1.0770679654965372</c:v>
                </c:pt>
                <c:pt idx="1887">
                  <c:v>1.0799830245579474</c:v>
                </c:pt>
                <c:pt idx="1888">
                  <c:v>1.0563916571676115</c:v>
                </c:pt>
                <c:pt idx="1889">
                  <c:v>1.0565844451132012</c:v>
                </c:pt>
                <c:pt idx="1890">
                  <c:v>1.0568650236245489</c:v>
                </c:pt>
                <c:pt idx="1891">
                  <c:v>1.1317843200568012</c:v>
                </c:pt>
                <c:pt idx="1892">
                  <c:v>1.2173230476331456</c:v>
                </c:pt>
                <c:pt idx="1893">
                  <c:v>1.2743997460152279</c:v>
                </c:pt>
                <c:pt idx="1894">
                  <c:v>1.2790140329768567</c:v>
                </c:pt>
                <c:pt idx="1895">
                  <c:v>1.3086942250627698</c:v>
                </c:pt>
                <c:pt idx="1896">
                  <c:v>1.3079063290301951</c:v>
                </c:pt>
                <c:pt idx="1897">
                  <c:v>1.3591647621148482</c:v>
                </c:pt>
                <c:pt idx="1898">
                  <c:v>1.3055514094659848</c:v>
                </c:pt>
                <c:pt idx="1899">
                  <c:v>1.2998447741102044</c:v>
                </c:pt>
                <c:pt idx="1900">
                  <c:v>1.2903026464904379</c:v>
                </c:pt>
                <c:pt idx="1901">
                  <c:v>1.3227455337767862</c:v>
                </c:pt>
                <c:pt idx="1902">
                  <c:v>1.3484951595768881</c:v>
                </c:pt>
                <c:pt idx="1903">
                  <c:v>1.3817631997668351</c:v>
                </c:pt>
                <c:pt idx="1904">
                  <c:v>1.3751975406690005</c:v>
                </c:pt>
                <c:pt idx="1905">
                  <c:v>1.3747762200345233</c:v>
                </c:pt>
                <c:pt idx="1906">
                  <c:v>1.3328051827526828</c:v>
                </c:pt>
                <c:pt idx="1907">
                  <c:v>1.3322070961852872</c:v>
                </c:pt>
                <c:pt idx="1908">
                  <c:v>1.3614910690248692</c:v>
                </c:pt>
                <c:pt idx="1909">
                  <c:v>1.410611223189616</c:v>
                </c:pt>
                <c:pt idx="1910">
                  <c:v>1.4078295433000769</c:v>
                </c:pt>
                <c:pt idx="1911">
                  <c:v>1.346406925559803</c:v>
                </c:pt>
                <c:pt idx="1912">
                  <c:v>1.2882905005444625</c:v>
                </c:pt>
                <c:pt idx="1913">
                  <c:v>1.2303426305325462</c:v>
                </c:pt>
                <c:pt idx="1914">
                  <c:v>1.182699814227901</c:v>
                </c:pt>
                <c:pt idx="1915">
                  <c:v>1.1096121824323566</c:v>
                </c:pt>
                <c:pt idx="1916">
                  <c:v>1.0701839996483999</c:v>
                </c:pt>
                <c:pt idx="1917">
                  <c:v>0.86763524567656236</c:v>
                </c:pt>
                <c:pt idx="1918">
                  <c:v>0.87324635435958042</c:v>
                </c:pt>
                <c:pt idx="1919">
                  <c:v>0.84851465894042233</c:v>
                </c:pt>
                <c:pt idx="1920">
                  <c:v>0.8410327531993167</c:v>
                </c:pt>
                <c:pt idx="1921">
                  <c:v>0.82992348352468415</c:v>
                </c:pt>
                <c:pt idx="1922">
                  <c:v>0.84290521139823227</c:v>
                </c:pt>
                <c:pt idx="1923">
                  <c:v>0.84002250927695599</c:v>
                </c:pt>
                <c:pt idx="1924">
                  <c:v>0.90098853756725783</c:v>
                </c:pt>
                <c:pt idx="1925">
                  <c:v>0.92127104851264385</c:v>
                </c:pt>
                <c:pt idx="1926">
                  <c:v>0.92221223278530107</c:v>
                </c:pt>
                <c:pt idx="1927">
                  <c:v>0.92151274930216598</c:v>
                </c:pt>
                <c:pt idx="1928">
                  <c:v>0.91968266641083962</c:v>
                </c:pt>
                <c:pt idx="1929">
                  <c:v>0.90450272106489138</c:v>
                </c:pt>
                <c:pt idx="1930">
                  <c:v>0.92443266229965981</c:v>
                </c:pt>
                <c:pt idx="1931">
                  <c:v>1.0774382132856972</c:v>
                </c:pt>
                <c:pt idx="1932">
                  <c:v>1.109171586904119</c:v>
                </c:pt>
                <c:pt idx="1933">
                  <c:v>1.1554605988099718</c:v>
                </c:pt>
                <c:pt idx="1934">
                  <c:v>1.1552610791156863</c:v>
                </c:pt>
                <c:pt idx="1935">
                  <c:v>1.3044563759595833</c:v>
                </c:pt>
                <c:pt idx="1936">
                  <c:v>1.301838178760387</c:v>
                </c:pt>
                <c:pt idx="1937">
                  <c:v>1.3275701163377789</c:v>
                </c:pt>
                <c:pt idx="1938">
                  <c:v>1.3589052388874887</c:v>
                </c:pt>
                <c:pt idx="1939">
                  <c:v>1.3823087467220803</c:v>
                </c:pt>
                <c:pt idx="1940">
                  <c:v>1.3907390328423461</c:v>
                </c:pt>
                <c:pt idx="1941">
                  <c:v>1.3927439632346057</c:v>
                </c:pt>
                <c:pt idx="1942">
                  <c:v>1.3499505738078481</c:v>
                </c:pt>
                <c:pt idx="1943">
                  <c:v>1.3327867701596696</c:v>
                </c:pt>
                <c:pt idx="1944">
                  <c:v>1.4083545873387715</c:v>
                </c:pt>
                <c:pt idx="1945">
                  <c:v>1.3398600029802392</c:v>
                </c:pt>
                <c:pt idx="1946">
                  <c:v>1.2857584192388858</c:v>
                </c:pt>
                <c:pt idx="1947">
                  <c:v>1.2001852826308441</c:v>
                </c:pt>
                <c:pt idx="1948">
                  <c:v>1.2525668358059461</c:v>
                </c:pt>
                <c:pt idx="1949">
                  <c:v>1.3013355208903792</c:v>
                </c:pt>
                <c:pt idx="1950">
                  <c:v>1.3345378897994411</c:v>
                </c:pt>
                <c:pt idx="1951">
                  <c:v>1.3061118925505846</c:v>
                </c:pt>
                <c:pt idx="1952">
                  <c:v>1.3033969764277191</c:v>
                </c:pt>
                <c:pt idx="1953">
                  <c:v>1.2451531780393965</c:v>
                </c:pt>
                <c:pt idx="1954">
                  <c:v>1.2814047607682515</c:v>
                </c:pt>
                <c:pt idx="1955">
                  <c:v>1.2974938265306148</c:v>
                </c:pt>
                <c:pt idx="1956">
                  <c:v>1.3129380932784336</c:v>
                </c:pt>
                <c:pt idx="1957">
                  <c:v>1.3043880407760335</c:v>
                </c:pt>
                <c:pt idx="1958">
                  <c:v>1.3314999320185925</c:v>
                </c:pt>
                <c:pt idx="1959">
                  <c:v>1.3261505956334105</c:v>
                </c:pt>
                <c:pt idx="1960">
                  <c:v>1.2220388089478629</c:v>
                </c:pt>
                <c:pt idx="1961">
                  <c:v>1.2233917897649822</c:v>
                </c:pt>
                <c:pt idx="1962">
                  <c:v>1.2457230278312126</c:v>
                </c:pt>
                <c:pt idx="1963">
                  <c:v>1.2650364585178204</c:v>
                </c:pt>
                <c:pt idx="1964">
                  <c:v>1.2389225945967315</c:v>
                </c:pt>
                <c:pt idx="1965">
                  <c:v>1.1933727438428969</c:v>
                </c:pt>
                <c:pt idx="1966">
                  <c:v>1.2078298673678114</c:v>
                </c:pt>
                <c:pt idx="1967">
                  <c:v>1.2420482249508054</c:v>
                </c:pt>
                <c:pt idx="1968">
                  <c:v>1.2585541786866601</c:v>
                </c:pt>
                <c:pt idx="1969">
                  <c:v>1.2772220214019256</c:v>
                </c:pt>
                <c:pt idx="1970">
                  <c:v>1.2731030061891357</c:v>
                </c:pt>
                <c:pt idx="1971">
                  <c:v>1.2736099476882918</c:v>
                </c:pt>
                <c:pt idx="1972">
                  <c:v>1.3034270037186537</c:v>
                </c:pt>
                <c:pt idx="1973">
                  <c:v>1.2732525099221237</c:v>
                </c:pt>
                <c:pt idx="1974">
                  <c:v>1.2714840636586564</c:v>
                </c:pt>
                <c:pt idx="1975">
                  <c:v>1.2668396736054206</c:v>
                </c:pt>
                <c:pt idx="1976">
                  <c:v>1.2764577422759011</c:v>
                </c:pt>
                <c:pt idx="1977">
                  <c:v>1.2795645811139735</c:v>
                </c:pt>
                <c:pt idx="1978">
                  <c:v>1.2564470981083231</c:v>
                </c:pt>
                <c:pt idx="1979">
                  <c:v>1.2292545633875818</c:v>
                </c:pt>
                <c:pt idx="1980">
                  <c:v>1.2083605308076688</c:v>
                </c:pt>
                <c:pt idx="1981">
                  <c:v>1.1533033017151757</c:v>
                </c:pt>
                <c:pt idx="1982">
                  <c:v>1.1508398232814911</c:v>
                </c:pt>
                <c:pt idx="1983">
                  <c:v>1.1288904633138324</c:v>
                </c:pt>
                <c:pt idx="1984">
                  <c:v>1.1056648283470347</c:v>
                </c:pt>
                <c:pt idx="1985">
                  <c:v>1.1415509212238961</c:v>
                </c:pt>
                <c:pt idx="1986">
                  <c:v>1.1210481548609947</c:v>
                </c:pt>
                <c:pt idx="1987">
                  <c:v>1.1295791098976826</c:v>
                </c:pt>
                <c:pt idx="1988">
                  <c:v>1.0645242853138617</c:v>
                </c:pt>
                <c:pt idx="1989">
                  <c:v>1.1034096060034506</c:v>
                </c:pt>
                <c:pt idx="1990">
                  <c:v>1.1185257641455879</c:v>
                </c:pt>
                <c:pt idx="1991">
                  <c:v>1.0784962391826105</c:v>
                </c:pt>
                <c:pt idx="1992">
                  <c:v>1.0902304406835754</c:v>
                </c:pt>
                <c:pt idx="1993">
                  <c:v>1.1001822732996376</c:v>
                </c:pt>
                <c:pt idx="1994">
                  <c:v>1.1443154857968509</c:v>
                </c:pt>
                <c:pt idx="1995">
                  <c:v>1.1425945470071939</c:v>
                </c:pt>
                <c:pt idx="1996">
                  <c:v>1.1037316015571279</c:v>
                </c:pt>
                <c:pt idx="1997">
                  <c:v>1.1008928455900078</c:v>
                </c:pt>
                <c:pt idx="1998">
                  <c:v>1.0895134419684251</c:v>
                </c:pt>
                <c:pt idx="1999">
                  <c:v>1.0427659946221057</c:v>
                </c:pt>
                <c:pt idx="2000">
                  <c:v>1.0429986059214187</c:v>
                </c:pt>
                <c:pt idx="2001">
                  <c:v>1.046343386636825</c:v>
                </c:pt>
                <c:pt idx="2002">
                  <c:v>1.0453828974585582</c:v>
                </c:pt>
                <c:pt idx="2003">
                  <c:v>1.0447982261342776</c:v>
                </c:pt>
                <c:pt idx="2004">
                  <c:v>1.0849749189325268</c:v>
                </c:pt>
                <c:pt idx="2005">
                  <c:v>1.0988072948722025</c:v>
                </c:pt>
                <c:pt idx="2006">
                  <c:v>1.0873388373117352</c:v>
                </c:pt>
                <c:pt idx="2007">
                  <c:v>1.0794733177240465</c:v>
                </c:pt>
                <c:pt idx="2008">
                  <c:v>1.101544631284926</c:v>
                </c:pt>
                <c:pt idx="2009">
                  <c:v>1.1098609729647873</c:v>
                </c:pt>
                <c:pt idx="2010">
                  <c:v>1.0976171159987134</c:v>
                </c:pt>
                <c:pt idx="2011">
                  <c:v>1.0976832970805628</c:v>
                </c:pt>
                <c:pt idx="2012">
                  <c:v>1.1285502855993779</c:v>
                </c:pt>
                <c:pt idx="2013">
                  <c:v>1.1270172208497764</c:v>
                </c:pt>
                <c:pt idx="2014">
                  <c:v>1.1305338480599312</c:v>
                </c:pt>
                <c:pt idx="2015">
                  <c:v>1.0731824517353254</c:v>
                </c:pt>
                <c:pt idx="2016">
                  <c:v>1.0304432703129918</c:v>
                </c:pt>
                <c:pt idx="2017">
                  <c:v>1.0790287245971479</c:v>
                </c:pt>
                <c:pt idx="2018">
                  <c:v>1.0973167377692303</c:v>
                </c:pt>
                <c:pt idx="2019">
                  <c:v>1.0288550158686893</c:v>
                </c:pt>
                <c:pt idx="2020">
                  <c:v>0.99625990238664563</c:v>
                </c:pt>
                <c:pt idx="2021">
                  <c:v>1.0135104011964224</c:v>
                </c:pt>
                <c:pt idx="2022">
                  <c:v>1.0343224780046827</c:v>
                </c:pt>
                <c:pt idx="2023">
                  <c:v>1.0322305387157806</c:v>
                </c:pt>
                <c:pt idx="2024">
                  <c:v>1.0327114739876508</c:v>
                </c:pt>
                <c:pt idx="2025">
                  <c:v>1.0683869030986122</c:v>
                </c:pt>
                <c:pt idx="2026">
                  <c:v>1.071106689471168</c:v>
                </c:pt>
                <c:pt idx="2027">
                  <c:v>1.0362855861643325</c:v>
                </c:pt>
                <c:pt idx="2028">
                  <c:v>1.027175347933496</c:v>
                </c:pt>
                <c:pt idx="2029">
                  <c:v>1.048643129855483</c:v>
                </c:pt>
                <c:pt idx="2030">
                  <c:v>1.0524915703924314</c:v>
                </c:pt>
                <c:pt idx="2031">
                  <c:v>1.0987451567766886</c:v>
                </c:pt>
                <c:pt idx="2032">
                  <c:v>1.0986060132794617</c:v>
                </c:pt>
                <c:pt idx="2033">
                  <c:v>1.0856186328964486</c:v>
                </c:pt>
                <c:pt idx="2034">
                  <c:v>1.0220322328857694</c:v>
                </c:pt>
                <c:pt idx="2035">
                  <c:v>1.0277083087219314</c:v>
                </c:pt>
                <c:pt idx="2036">
                  <c:v>1.0260217223395633</c:v>
                </c:pt>
                <c:pt idx="2037">
                  <c:v>1.073589157061918</c:v>
                </c:pt>
                <c:pt idx="2038">
                  <c:v>1.1191144384899971</c:v>
                </c:pt>
                <c:pt idx="2039">
                  <c:v>1.1365007800210722</c:v>
                </c:pt>
                <c:pt idx="2040">
                  <c:v>1.1447750368773211</c:v>
                </c:pt>
                <c:pt idx="2041">
                  <c:v>1.1624134623580651</c:v>
                </c:pt>
                <c:pt idx="2042">
                  <c:v>1.1223149823201282</c:v>
                </c:pt>
                <c:pt idx="2043">
                  <c:v>1.1329203439550048</c:v>
                </c:pt>
                <c:pt idx="2044">
                  <c:v>1.1379639511087285</c:v>
                </c:pt>
                <c:pt idx="2045">
                  <c:v>1.157093266589261</c:v>
                </c:pt>
                <c:pt idx="2046">
                  <c:v>1.1928831585218469</c:v>
                </c:pt>
                <c:pt idx="2047">
                  <c:v>1.1722845364853869</c:v>
                </c:pt>
                <c:pt idx="2048">
                  <c:v>1.1761859263455474</c:v>
                </c:pt>
                <c:pt idx="2049">
                  <c:v>1.2244033968267649</c:v>
                </c:pt>
                <c:pt idx="2050">
                  <c:v>1.236941723601483</c:v>
                </c:pt>
                <c:pt idx="2051">
                  <c:v>1.2310459061255623</c:v>
                </c:pt>
                <c:pt idx="2052">
                  <c:v>1.2522496996784744</c:v>
                </c:pt>
                <c:pt idx="2053">
                  <c:v>1.2663703222610081</c:v>
                </c:pt>
                <c:pt idx="2054">
                  <c:v>1.2660682645792498</c:v>
                </c:pt>
                <c:pt idx="2055">
                  <c:v>1.2848457575482186</c:v>
                </c:pt>
                <c:pt idx="2056">
                  <c:v>1.2947904459218778</c:v>
                </c:pt>
                <c:pt idx="2057">
                  <c:v>1.2860865078785049</c:v>
                </c:pt>
                <c:pt idx="2058">
                  <c:v>1.2997860566660382</c:v>
                </c:pt>
                <c:pt idx="2059">
                  <c:v>1.2329883332315268</c:v>
                </c:pt>
                <c:pt idx="2060">
                  <c:v>1.2517930128924821</c:v>
                </c:pt>
                <c:pt idx="2061">
                  <c:v>1.2269663551954513</c:v>
                </c:pt>
                <c:pt idx="2062">
                  <c:v>1.240963844907585</c:v>
                </c:pt>
                <c:pt idx="2063">
                  <c:v>1.2611071581621514</c:v>
                </c:pt>
                <c:pt idx="2064">
                  <c:v>1.2625211503861686</c:v>
                </c:pt>
                <c:pt idx="2065">
                  <c:v>1.2862119826715257</c:v>
                </c:pt>
                <c:pt idx="2066">
                  <c:v>1.2724153879689724</c:v>
                </c:pt>
                <c:pt idx="2067">
                  <c:v>1.2068779900050464</c:v>
                </c:pt>
                <c:pt idx="2068">
                  <c:v>1.1823940743789429</c:v>
                </c:pt>
                <c:pt idx="2069">
                  <c:v>1.1905596578292814</c:v>
                </c:pt>
                <c:pt idx="2070">
                  <c:v>1.2214077049082326</c:v>
                </c:pt>
                <c:pt idx="2071">
                  <c:v>1.1985148376603243</c:v>
                </c:pt>
                <c:pt idx="2072">
                  <c:v>1.2703280868641227</c:v>
                </c:pt>
                <c:pt idx="2073">
                  <c:v>1.2725736886732526</c:v>
                </c:pt>
                <c:pt idx="2074">
                  <c:v>1.2630927651337938</c:v>
                </c:pt>
                <c:pt idx="2075">
                  <c:v>1.2044672118276263</c:v>
                </c:pt>
                <c:pt idx="2076">
                  <c:v>1.1443989036060427</c:v>
                </c:pt>
                <c:pt idx="2077">
                  <c:v>1.1347461612954293</c:v>
                </c:pt>
                <c:pt idx="2078">
                  <c:v>1.0931344786922363</c:v>
                </c:pt>
                <c:pt idx="2079">
                  <c:v>1.0964202986375104</c:v>
                </c:pt>
                <c:pt idx="2080">
                  <c:v>1.1057122321064758</c:v>
                </c:pt>
                <c:pt idx="2081">
                  <c:v>1.1103628898366682</c:v>
                </c:pt>
                <c:pt idx="2082">
                  <c:v>1.0993695162834618</c:v>
                </c:pt>
                <c:pt idx="2083">
                  <c:v>1.1356351202903079</c:v>
                </c:pt>
                <c:pt idx="2084">
                  <c:v>1.177398505765703</c:v>
                </c:pt>
                <c:pt idx="2085">
                  <c:v>1.1519630421913338</c:v>
                </c:pt>
                <c:pt idx="2086">
                  <c:v>1.1916095557410296</c:v>
                </c:pt>
                <c:pt idx="2087">
                  <c:v>1.195513115442655</c:v>
                </c:pt>
                <c:pt idx="2088">
                  <c:v>1.1804546172760206</c:v>
                </c:pt>
                <c:pt idx="2089">
                  <c:v>1.1900057471125589</c:v>
                </c:pt>
                <c:pt idx="2090">
                  <c:v>1.1878943507339983</c:v>
                </c:pt>
                <c:pt idx="2091">
                  <c:v>1.2242693809947955</c:v>
                </c:pt>
                <c:pt idx="2092">
                  <c:v>1.1964789818559243</c:v>
                </c:pt>
                <c:pt idx="2093">
                  <c:v>1.1863032990097346</c:v>
                </c:pt>
                <c:pt idx="2094">
                  <c:v>1.1847667698119215</c:v>
                </c:pt>
                <c:pt idx="2095">
                  <c:v>1.1516299792882272</c:v>
                </c:pt>
                <c:pt idx="2096">
                  <c:v>1.1445658214101231</c:v>
                </c:pt>
                <c:pt idx="2097">
                  <c:v>1.1595924769692492</c:v>
                </c:pt>
                <c:pt idx="2098">
                  <c:v>1.1607417366969903</c:v>
                </c:pt>
                <c:pt idx="2099">
                  <c:v>1.2210805936104114</c:v>
                </c:pt>
                <c:pt idx="2100">
                  <c:v>1.1897253619140891</c:v>
                </c:pt>
                <c:pt idx="2101">
                  <c:v>1.1804667399541302</c:v>
                </c:pt>
                <c:pt idx="2102">
                  <c:v>1.1181915304859789</c:v>
                </c:pt>
                <c:pt idx="2103">
                  <c:v>1.132815077583275</c:v>
                </c:pt>
                <c:pt idx="2104">
                  <c:v>1.1343499834960427</c:v>
                </c:pt>
                <c:pt idx="2105">
                  <c:v>1.1081033293451239</c:v>
                </c:pt>
                <c:pt idx="2106">
                  <c:v>1.1259744694028933</c:v>
                </c:pt>
                <c:pt idx="2107">
                  <c:v>1.1312580729374742</c:v>
                </c:pt>
                <c:pt idx="2108">
                  <c:v>1.136132833823561</c:v>
                </c:pt>
                <c:pt idx="2109">
                  <c:v>1.0862262523362103</c:v>
                </c:pt>
                <c:pt idx="2110">
                  <c:v>1.0774834452151201</c:v>
                </c:pt>
                <c:pt idx="2111">
                  <c:v>1.0189539373478973</c:v>
                </c:pt>
                <c:pt idx="2112">
                  <c:v>1.0249499006539664</c:v>
                </c:pt>
                <c:pt idx="2113">
                  <c:v>1.0038769100715055</c:v>
                </c:pt>
                <c:pt idx="2114">
                  <c:v>1.013800406573117</c:v>
                </c:pt>
                <c:pt idx="2115">
                  <c:v>1.0425455694442411</c:v>
                </c:pt>
                <c:pt idx="2116">
                  <c:v>1.0697300121294977</c:v>
                </c:pt>
                <c:pt idx="2117">
                  <c:v>1.07511966722341</c:v>
                </c:pt>
                <c:pt idx="2118">
                  <c:v>1.0942228649415626</c:v>
                </c:pt>
                <c:pt idx="2119">
                  <c:v>1.094731374177792</c:v>
                </c:pt>
                <c:pt idx="2120">
                  <c:v>1.0733691719582532</c:v>
                </c:pt>
                <c:pt idx="2121">
                  <c:v>1.0167618760770289</c:v>
                </c:pt>
                <c:pt idx="2122">
                  <c:v>1.0016595998756213</c:v>
                </c:pt>
                <c:pt idx="2123">
                  <c:v>0.99564892487723655</c:v>
                </c:pt>
                <c:pt idx="2124">
                  <c:v>1.0355877336194117</c:v>
                </c:pt>
                <c:pt idx="2125">
                  <c:v>1.0436637499638026</c:v>
                </c:pt>
                <c:pt idx="2126">
                  <c:v>1.047778218614178</c:v>
                </c:pt>
                <c:pt idx="2127">
                  <c:v>1.0609839285077438</c:v>
                </c:pt>
                <c:pt idx="2128">
                  <c:v>1.0571682518140995</c:v>
                </c:pt>
                <c:pt idx="2129">
                  <c:v>1.0038803450244642</c:v>
                </c:pt>
                <c:pt idx="2130">
                  <c:v>1.0276633466378908</c:v>
                </c:pt>
                <c:pt idx="2131">
                  <c:v>1.0276144117860289</c:v>
                </c:pt>
                <c:pt idx="2132">
                  <c:v>1.0363235748182797</c:v>
                </c:pt>
                <c:pt idx="2133">
                  <c:v>1.0339843703658775</c:v>
                </c:pt>
                <c:pt idx="2134">
                  <c:v>1.0277776493735038</c:v>
                </c:pt>
                <c:pt idx="2135">
                  <c:v>1.0277525978069095</c:v>
                </c:pt>
                <c:pt idx="2136">
                  <c:v>1.0036127842398461</c:v>
                </c:pt>
                <c:pt idx="2137">
                  <c:v>1.0503479992555946</c:v>
                </c:pt>
                <c:pt idx="2138">
                  <c:v>1.0379261484591153</c:v>
                </c:pt>
                <c:pt idx="2139">
                  <c:v>1.0391970817475598</c:v>
                </c:pt>
                <c:pt idx="2140">
                  <c:v>1.0533615593482824</c:v>
                </c:pt>
                <c:pt idx="2141">
                  <c:v>1.0922911173572143</c:v>
                </c:pt>
                <c:pt idx="2142">
                  <c:v>1.087134586514201</c:v>
                </c:pt>
                <c:pt idx="2143">
                  <c:v>1.1062516186104143</c:v>
                </c:pt>
                <c:pt idx="2144">
                  <c:v>1.1057395195331818</c:v>
                </c:pt>
                <c:pt idx="2145">
                  <c:v>1.0846340025742465</c:v>
                </c:pt>
                <c:pt idx="2146">
                  <c:v>1.0221644827937713</c:v>
                </c:pt>
                <c:pt idx="2147">
                  <c:v>1.0500533648179589</c:v>
                </c:pt>
                <c:pt idx="2148">
                  <c:v>1.0690413043212255</c:v>
                </c:pt>
                <c:pt idx="2149">
                  <c:v>1.064643321633518</c:v>
                </c:pt>
                <c:pt idx="2150">
                  <c:v>1.1169180194038262</c:v>
                </c:pt>
                <c:pt idx="2151">
                  <c:v>1.1157557615984917</c:v>
                </c:pt>
                <c:pt idx="2152">
                  <c:v>1.1157557615984917</c:v>
                </c:pt>
                <c:pt idx="2153">
                  <c:v>1.1369448879171407</c:v>
                </c:pt>
                <c:pt idx="2154">
                  <c:v>1.1411321762522346</c:v>
                </c:pt>
                <c:pt idx="2155">
                  <c:v>1.1530222156945016</c:v>
                </c:pt>
                <c:pt idx="2156">
                  <c:v>1.189365956848583</c:v>
                </c:pt>
                <c:pt idx="2157">
                  <c:v>1.151276952209874</c:v>
                </c:pt>
                <c:pt idx="2158">
                  <c:v>1.1507583206927849</c:v>
                </c:pt>
                <c:pt idx="2159">
                  <c:v>1.1311877594486415</c:v>
                </c:pt>
                <c:pt idx="2160">
                  <c:v>1.1257276063409662</c:v>
                </c:pt>
                <c:pt idx="2161">
                  <c:v>1.1294268712365867</c:v>
                </c:pt>
                <c:pt idx="2162">
                  <c:v>1.1367239173905936</c:v>
                </c:pt>
                <c:pt idx="2163">
                  <c:v>1.1569597495457511</c:v>
                </c:pt>
                <c:pt idx="2164">
                  <c:v>1.195438696948079</c:v>
                </c:pt>
                <c:pt idx="2165">
                  <c:v>1.1966956901036472</c:v>
                </c:pt>
                <c:pt idx="2166">
                  <c:v>1.2063386707329531</c:v>
                </c:pt>
                <c:pt idx="2167">
                  <c:v>1.1873078307909337</c:v>
                </c:pt>
                <c:pt idx="2168">
                  <c:v>1.2075593319708502</c:v>
                </c:pt>
                <c:pt idx="2169">
                  <c:v>1.1999109162335979</c:v>
                </c:pt>
                <c:pt idx="2170">
                  <c:v>1.1792964978685632</c:v>
                </c:pt>
                <c:pt idx="2171">
                  <c:v>1.1751645030358102</c:v>
                </c:pt>
                <c:pt idx="2172">
                  <c:v>1.145104572848533</c:v>
                </c:pt>
                <c:pt idx="2173">
                  <c:v>1.1407486954657877</c:v>
                </c:pt>
                <c:pt idx="2174">
                  <c:v>1.1242409955574268</c:v>
                </c:pt>
                <c:pt idx="2175">
                  <c:v>1.1359005238135951</c:v>
                </c:pt>
                <c:pt idx="2176">
                  <c:v>1.1715328400869944</c:v>
                </c:pt>
                <c:pt idx="2177">
                  <c:v>1.1768020663851151</c:v>
                </c:pt>
                <c:pt idx="2178">
                  <c:v>1.1629176545501267</c:v>
                </c:pt>
                <c:pt idx="2179">
                  <c:v>1.1506817569367853</c:v>
                </c:pt>
                <c:pt idx="2180">
                  <c:v>1.1161551925216777</c:v>
                </c:pt>
                <c:pt idx="2181">
                  <c:v>1.1187362019954361</c:v>
                </c:pt>
                <c:pt idx="2182">
                  <c:v>1.1684080927759655</c:v>
                </c:pt>
                <c:pt idx="2183">
                  <c:v>1.2039759802087171</c:v>
                </c:pt>
                <c:pt idx="2184">
                  <c:v>1.1977951007782077</c:v>
                </c:pt>
                <c:pt idx="2185">
                  <c:v>1.1993847081570284</c:v>
                </c:pt>
                <c:pt idx="2186">
                  <c:v>1.1971647060172355</c:v>
                </c:pt>
                <c:pt idx="2187">
                  <c:v>1.1970456448532234</c:v>
                </c:pt>
                <c:pt idx="2188">
                  <c:v>1.1972024862584645</c:v>
                </c:pt>
                <c:pt idx="2189">
                  <c:v>1.2189111402461188</c:v>
                </c:pt>
                <c:pt idx="2190">
                  <c:v>1.2473254144990285</c:v>
                </c:pt>
                <c:pt idx="2191">
                  <c:v>1.2701716781419838</c:v>
                </c:pt>
                <c:pt idx="2192">
                  <c:v>1.2575957722721485</c:v>
                </c:pt>
                <c:pt idx="2193">
                  <c:v>1.2535047418861385</c:v>
                </c:pt>
                <c:pt idx="2194">
                  <c:v>1.237361858073899</c:v>
                </c:pt>
                <c:pt idx="2195">
                  <c:v>1.2654117043907867</c:v>
                </c:pt>
                <c:pt idx="2196">
                  <c:v>1.2702151143729983</c:v>
                </c:pt>
                <c:pt idx="2197">
                  <c:v>1.2467853376427391</c:v>
                </c:pt>
                <c:pt idx="2198">
                  <c:v>1.2208796527245354</c:v>
                </c:pt>
                <c:pt idx="2199">
                  <c:v>1.2209184878700907</c:v>
                </c:pt>
                <c:pt idx="2200">
                  <c:v>1.2217161474039648</c:v>
                </c:pt>
                <c:pt idx="2201">
                  <c:v>1.2098627261354713</c:v>
                </c:pt>
                <c:pt idx="2202">
                  <c:v>1.2304637010250359</c:v>
                </c:pt>
                <c:pt idx="2203">
                  <c:v>1.2451238224904915</c:v>
                </c:pt>
                <c:pt idx="2204">
                  <c:v>1.2519775621359808</c:v>
                </c:pt>
                <c:pt idx="2205">
                  <c:v>1.305760402939627</c:v>
                </c:pt>
                <c:pt idx="2206">
                  <c:v>1.2880503399172405</c:v>
                </c:pt>
                <c:pt idx="2207">
                  <c:v>1.2741201155956674</c:v>
                </c:pt>
                <c:pt idx="2208">
                  <c:v>1.242452200796621</c:v>
                </c:pt>
                <c:pt idx="2209">
                  <c:v>1.2459416879032388</c:v>
                </c:pt>
                <c:pt idx="2210">
                  <c:v>1.251670148609265</c:v>
                </c:pt>
                <c:pt idx="2211">
                  <c:v>1.2799874280991799</c:v>
                </c:pt>
                <c:pt idx="2212">
                  <c:v>1.2647678902043462</c:v>
                </c:pt>
                <c:pt idx="2213">
                  <c:v>1.2178032323177983</c:v>
                </c:pt>
                <c:pt idx="2214">
                  <c:v>1.2107754236177661</c:v>
                </c:pt>
                <c:pt idx="2215">
                  <c:v>1.201553400691223</c:v>
                </c:pt>
                <c:pt idx="2216">
                  <c:v>1.2035755638642027</c:v>
                </c:pt>
                <c:pt idx="2217">
                  <c:v>1.2027604743342242</c:v>
                </c:pt>
                <c:pt idx="2218">
                  <c:v>1.2654852778700136</c:v>
                </c:pt>
                <c:pt idx="2219">
                  <c:v>1.2585450914156533</c:v>
                </c:pt>
                <c:pt idx="2220">
                  <c:v>1.1892563116135406</c:v>
                </c:pt>
                <c:pt idx="2221">
                  <c:v>1.1902294282843209</c:v>
                </c:pt>
                <c:pt idx="2222">
                  <c:v>1.1907538421704449</c:v>
                </c:pt>
                <c:pt idx="2223">
                  <c:v>1.1728217765458777</c:v>
                </c:pt>
                <c:pt idx="2224">
                  <c:v>1.6486547982152484</c:v>
                </c:pt>
                <c:pt idx="2225">
                  <c:v>1.7877444853299329</c:v>
                </c:pt>
                <c:pt idx="2226">
                  <c:v>1.9949102189344752</c:v>
                </c:pt>
                <c:pt idx="2227">
                  <c:v>2.1279129054858736</c:v>
                </c:pt>
                <c:pt idx="2228">
                  <c:v>2.1150951719028854</c:v>
                </c:pt>
                <c:pt idx="2229">
                  <c:v>2.1802165873637627</c:v>
                </c:pt>
                <c:pt idx="2230">
                  <c:v>2.1788283522356107</c:v>
                </c:pt>
                <c:pt idx="2231">
                  <c:v>2.2122442965428131</c:v>
                </c:pt>
                <c:pt idx="2232">
                  <c:v>2.1576845028393525</c:v>
                </c:pt>
                <c:pt idx="2233">
                  <c:v>2.2223013855631426</c:v>
                </c:pt>
                <c:pt idx="2234">
                  <c:v>2.2612981979893507</c:v>
                </c:pt>
                <c:pt idx="2235">
                  <c:v>2.3878651312537471</c:v>
                </c:pt>
                <c:pt idx="2236">
                  <c:v>2.4708968077365676</c:v>
                </c:pt>
                <c:pt idx="2237">
                  <c:v>2.5335361004757355</c:v>
                </c:pt>
                <c:pt idx="2238">
                  <c:v>2.6615696043163504</c:v>
                </c:pt>
                <c:pt idx="2239">
                  <c:v>2.6505854699166629</c:v>
                </c:pt>
                <c:pt idx="2240">
                  <c:v>2.7509894562694619</c:v>
                </c:pt>
                <c:pt idx="2241">
                  <c:v>2.9327199136559265</c:v>
                </c:pt>
                <c:pt idx="2242">
                  <c:v>2.9069105336378547</c:v>
                </c:pt>
                <c:pt idx="2243">
                  <c:v>2.9295115319950451</c:v>
                </c:pt>
                <c:pt idx="2244">
                  <c:v>2.929800197181081</c:v>
                </c:pt>
                <c:pt idx="2245">
                  <c:v>3.0157345991339817</c:v>
                </c:pt>
                <c:pt idx="2246">
                  <c:v>3.0270504592356273</c:v>
                </c:pt>
                <c:pt idx="2247">
                  <c:v>3.1397594168028706</c:v>
                </c:pt>
                <c:pt idx="2248">
                  <c:v>3.1899306553915707</c:v>
                </c:pt>
                <c:pt idx="2249">
                  <c:v>3.2599138977417268</c:v>
                </c:pt>
                <c:pt idx="2250">
                  <c:v>3.2533629638748653</c:v>
                </c:pt>
                <c:pt idx="2251">
                  <c:v>3.2960073373425751</c:v>
                </c:pt>
                <c:pt idx="2252">
                  <c:v>3.2780239351689047</c:v>
                </c:pt>
                <c:pt idx="2253">
                  <c:v>3.3233478481104313</c:v>
                </c:pt>
                <c:pt idx="2254">
                  <c:v>3.2450060836242858</c:v>
                </c:pt>
                <c:pt idx="2255">
                  <c:v>3.2750340175472923</c:v>
                </c:pt>
                <c:pt idx="2256">
                  <c:v>3.2154637140779134</c:v>
                </c:pt>
                <c:pt idx="2257">
                  <c:v>3.0898896308823858</c:v>
                </c:pt>
                <c:pt idx="2258">
                  <c:v>3.2022363772982083</c:v>
                </c:pt>
                <c:pt idx="2259">
                  <c:v>3.2256755329199129</c:v>
                </c:pt>
                <c:pt idx="2260">
                  <c:v>3.2884237218936136</c:v>
                </c:pt>
                <c:pt idx="2261">
                  <c:v>3.3174300397997123</c:v>
                </c:pt>
                <c:pt idx="2262">
                  <c:v>3.3679238974938768</c:v>
                </c:pt>
                <c:pt idx="2263">
                  <c:v>3.2687457786614802</c:v>
                </c:pt>
                <c:pt idx="2264">
                  <c:v>3.1541285478800205</c:v>
                </c:pt>
                <c:pt idx="2265">
                  <c:v>2.954604510944224</c:v>
                </c:pt>
                <c:pt idx="2266">
                  <c:v>3.0336049834153256</c:v>
                </c:pt>
                <c:pt idx="2267">
                  <c:v>2.8609749162242526</c:v>
                </c:pt>
                <c:pt idx="2268">
                  <c:v>2.8537981144714708</c:v>
                </c:pt>
                <c:pt idx="2269">
                  <c:v>2.8630175584913702</c:v>
                </c:pt>
                <c:pt idx="2270">
                  <c:v>2.8710314739023555</c:v>
                </c:pt>
                <c:pt idx="2271">
                  <c:v>2.8275439364656529</c:v>
                </c:pt>
                <c:pt idx="2272">
                  <c:v>2.8324586006044172</c:v>
                </c:pt>
                <c:pt idx="2273">
                  <c:v>2.9002193535749274</c:v>
                </c:pt>
                <c:pt idx="2274">
                  <c:v>2.9025030022656169</c:v>
                </c:pt>
                <c:pt idx="2275">
                  <c:v>2.8980953713791404</c:v>
                </c:pt>
                <c:pt idx="2276">
                  <c:v>7.4396718194829923</c:v>
                </c:pt>
                <c:pt idx="2277">
                  <c:v>10.020698285944512</c:v>
                </c:pt>
                <c:pt idx="2278">
                  <c:v>11.929076950734771</c:v>
                </c:pt>
                <c:pt idx="2279">
                  <c:v>13.289192934507895</c:v>
                </c:pt>
                <c:pt idx="2280">
                  <c:v>14.4487448287537</c:v>
                </c:pt>
                <c:pt idx="2281">
                  <c:v>15.354131455690373</c:v>
                </c:pt>
                <c:pt idx="2282">
                  <c:v>16.140814490408882</c:v>
                </c:pt>
                <c:pt idx="2283">
                  <c:v>16.697098808496335</c:v>
                </c:pt>
                <c:pt idx="2284">
                  <c:v>17.290679985697967</c:v>
                </c:pt>
                <c:pt idx="2285">
                  <c:v>17.789734961488332</c:v>
                </c:pt>
                <c:pt idx="2286">
                  <c:v>18.131687700006719</c:v>
                </c:pt>
                <c:pt idx="2287">
                  <c:v>18.258665462808572</c:v>
                </c:pt>
                <c:pt idx="2288">
                  <c:v>18.490391667646975</c:v>
                </c:pt>
                <c:pt idx="2289">
                  <c:v>18.586752175589517</c:v>
                </c:pt>
                <c:pt idx="2290">
                  <c:v>18.634483696729522</c:v>
                </c:pt>
                <c:pt idx="2291">
                  <c:v>18.557030442680606</c:v>
                </c:pt>
                <c:pt idx="2292">
                  <c:v>18.826168801010414</c:v>
                </c:pt>
                <c:pt idx="2293">
                  <c:v>19.058814342396303</c:v>
                </c:pt>
                <c:pt idx="2294">
                  <c:v>19.199724626856668</c:v>
                </c:pt>
                <c:pt idx="2295">
                  <c:v>19.423466033605351</c:v>
                </c:pt>
                <c:pt idx="2296">
                  <c:v>19.711591668151865</c:v>
                </c:pt>
                <c:pt idx="2297">
                  <c:v>19.818303118727073</c:v>
                </c:pt>
                <c:pt idx="2298">
                  <c:v>20.07091829076295</c:v>
                </c:pt>
                <c:pt idx="2299">
                  <c:v>20.264715637902682</c:v>
                </c:pt>
                <c:pt idx="2300">
                  <c:v>20.419601254733131</c:v>
                </c:pt>
                <c:pt idx="2301">
                  <c:v>20.62527909947001</c:v>
                </c:pt>
                <c:pt idx="2302">
                  <c:v>20.768136004549088</c:v>
                </c:pt>
                <c:pt idx="2303">
                  <c:v>21.035136727067801</c:v>
                </c:pt>
                <c:pt idx="2304">
                  <c:v>21.297591761220005</c:v>
                </c:pt>
                <c:pt idx="2305">
                  <c:v>21.52995898261544</c:v>
                </c:pt>
                <c:pt idx="2306">
                  <c:v>21.528354414425255</c:v>
                </c:pt>
                <c:pt idx="2307">
                  <c:v>21.443528137074761</c:v>
                </c:pt>
                <c:pt idx="2308">
                  <c:v>21.305426660182462</c:v>
                </c:pt>
                <c:pt idx="2309">
                  <c:v>21.038157137618455</c:v>
                </c:pt>
                <c:pt idx="2310">
                  <c:v>20.671367584562269</c:v>
                </c:pt>
                <c:pt idx="2311">
                  <c:v>20.221359564670177</c:v>
                </c:pt>
                <c:pt idx="2312">
                  <c:v>19.629015281453626</c:v>
                </c:pt>
                <c:pt idx="2313">
                  <c:v>18.93312307941375</c:v>
                </c:pt>
                <c:pt idx="2314">
                  <c:v>18.115783998631059</c:v>
                </c:pt>
                <c:pt idx="2315">
                  <c:v>17.15104495325301</c:v>
                </c:pt>
                <c:pt idx="2316">
                  <c:v>15.959624862355829</c:v>
                </c:pt>
                <c:pt idx="2317">
                  <c:v>14.545972543676116</c:v>
                </c:pt>
                <c:pt idx="2318">
                  <c:v>12.829736601519464</c:v>
                </c:pt>
                <c:pt idx="2319">
                  <c:v>10.680124175953836</c:v>
                </c:pt>
                <c:pt idx="2320">
                  <c:v>7.7304349181006113</c:v>
                </c:pt>
                <c:pt idx="2321">
                  <c:v>1.1142826154645131</c:v>
                </c:pt>
                <c:pt idx="2322">
                  <c:v>1.1053540026907067</c:v>
                </c:pt>
                <c:pt idx="2323">
                  <c:v>1.1107118976315278</c:v>
                </c:pt>
                <c:pt idx="2324">
                  <c:v>1.1264606864693143</c:v>
                </c:pt>
                <c:pt idx="2325">
                  <c:v>1.1381992735048183</c:v>
                </c:pt>
                <c:pt idx="2326">
                  <c:v>1.135744021669769</c:v>
                </c:pt>
                <c:pt idx="2327">
                  <c:v>1.1323871642045276</c:v>
                </c:pt>
                <c:pt idx="2328">
                  <c:v>1.1073967090723937</c:v>
                </c:pt>
                <c:pt idx="2329">
                  <c:v>1.1064658971740591</c:v>
                </c:pt>
                <c:pt idx="2330">
                  <c:v>1.1434261883811572</c:v>
                </c:pt>
                <c:pt idx="2331">
                  <c:v>1.1688525171708157</c:v>
                </c:pt>
                <c:pt idx="2332">
                  <c:v>1.1876395985701866</c:v>
                </c:pt>
                <c:pt idx="2333">
                  <c:v>1.173613145841488</c:v>
                </c:pt>
                <c:pt idx="2334">
                  <c:v>1.1345627544028407</c:v>
                </c:pt>
                <c:pt idx="2335">
                  <c:v>1.0821107513378281</c:v>
                </c:pt>
                <c:pt idx="2336">
                  <c:v>1.0703616318742488</c:v>
                </c:pt>
                <c:pt idx="2337">
                  <c:v>1.1198389149347765</c:v>
                </c:pt>
                <c:pt idx="2338">
                  <c:v>1.1336128796549283</c:v>
                </c:pt>
                <c:pt idx="2339">
                  <c:v>1.1745974610062369</c:v>
                </c:pt>
                <c:pt idx="2340">
                  <c:v>1.2161065156766755</c:v>
                </c:pt>
                <c:pt idx="2341">
                  <c:v>1.2596899819299638</c:v>
                </c:pt>
                <c:pt idx="2342">
                  <c:v>1.2383901767557173</c:v>
                </c:pt>
                <c:pt idx="2343">
                  <c:v>1.2761470386941371</c:v>
                </c:pt>
                <c:pt idx="2344">
                  <c:v>1.2864439090121582</c:v>
                </c:pt>
                <c:pt idx="2345">
                  <c:v>1.3058633907887527</c:v>
                </c:pt>
                <c:pt idx="2346">
                  <c:v>1.2785730192356011</c:v>
                </c:pt>
                <c:pt idx="2347">
                  <c:v>1.2755920869987365</c:v>
                </c:pt>
                <c:pt idx="2348">
                  <c:v>1.2256100521780977</c:v>
                </c:pt>
                <c:pt idx="2349">
                  <c:v>1.2664680273768523</c:v>
                </c:pt>
                <c:pt idx="2350">
                  <c:v>1.2601286195984258</c:v>
                </c:pt>
                <c:pt idx="2351">
                  <c:v>1.256858700532183</c:v>
                </c:pt>
                <c:pt idx="2352">
                  <c:v>1.2669374786123597</c:v>
                </c:pt>
                <c:pt idx="2353">
                  <c:v>1.2704648438820454</c:v>
                </c:pt>
                <c:pt idx="2354">
                  <c:v>1.2653633343099882</c:v>
                </c:pt>
                <c:pt idx="2355">
                  <c:v>1.2556863306254233</c:v>
                </c:pt>
                <c:pt idx="2356">
                  <c:v>1.2544825832685511</c:v>
                </c:pt>
                <c:pt idx="2357">
                  <c:v>1.240886038651229</c:v>
                </c:pt>
                <c:pt idx="2358">
                  <c:v>1.2279653295491337</c:v>
                </c:pt>
                <c:pt idx="2359">
                  <c:v>1.2698368073265867</c:v>
                </c:pt>
                <c:pt idx="2360">
                  <c:v>1.2299696753574252</c:v>
                </c:pt>
                <c:pt idx="2361">
                  <c:v>1.1933821347499003</c:v>
                </c:pt>
                <c:pt idx="2362">
                  <c:v>1.1837227463514775</c:v>
                </c:pt>
                <c:pt idx="2363">
                  <c:v>1.2038264662813902</c:v>
                </c:pt>
                <c:pt idx="2364">
                  <c:v>1.1983141414542327</c:v>
                </c:pt>
                <c:pt idx="2365">
                  <c:v>1.2002607475332032</c:v>
                </c:pt>
                <c:pt idx="2366">
                  <c:v>1.2247131496193604</c:v>
                </c:pt>
                <c:pt idx="2367">
                  <c:v>1.1817058097046211</c:v>
                </c:pt>
                <c:pt idx="2368">
                  <c:v>1.1881191549826899</c:v>
                </c:pt>
                <c:pt idx="2369">
                  <c:v>1.1365600954523747</c:v>
                </c:pt>
                <c:pt idx="2370">
                  <c:v>1.1580795140747195</c:v>
                </c:pt>
                <c:pt idx="2371">
                  <c:v>1.1614792391551836</c:v>
                </c:pt>
                <c:pt idx="2372">
                  <c:v>1.1841724400677844</c:v>
                </c:pt>
                <c:pt idx="2373">
                  <c:v>1.1719219404391901</c:v>
                </c:pt>
                <c:pt idx="2374">
                  <c:v>1.1742692029170905</c:v>
                </c:pt>
                <c:pt idx="2375">
                  <c:v>1.1516595222427559</c:v>
                </c:pt>
                <c:pt idx="2376">
                  <c:v>1.1739274880189303</c:v>
                </c:pt>
                <c:pt idx="2377">
                  <c:v>1.1950118548923829</c:v>
                </c:pt>
                <c:pt idx="2378">
                  <c:v>1.1999279671866898</c:v>
                </c:pt>
                <c:pt idx="2379">
                  <c:v>1.1946134372121453</c:v>
                </c:pt>
                <c:pt idx="2380">
                  <c:v>1.235895552258343</c:v>
                </c:pt>
                <c:pt idx="2381">
                  <c:v>1.2526323547202325</c:v>
                </c:pt>
                <c:pt idx="2382">
                  <c:v>1.2337746958014664</c:v>
                </c:pt>
                <c:pt idx="2383">
                  <c:v>1.2276624362874609</c:v>
                </c:pt>
                <c:pt idx="2384">
                  <c:v>1.2249267395405243</c:v>
                </c:pt>
                <c:pt idx="2385">
                  <c:v>1.2083342766544078</c:v>
                </c:pt>
                <c:pt idx="2386">
                  <c:v>1.1953948513251647</c:v>
                </c:pt>
                <c:pt idx="2387">
                  <c:v>1.2286070984244113</c:v>
                </c:pt>
                <c:pt idx="2388">
                  <c:v>1.2269916486052899</c:v>
                </c:pt>
                <c:pt idx="2389">
                  <c:v>1.1641882870979647</c:v>
                </c:pt>
                <c:pt idx="2390">
                  <c:v>1.1837998432866588</c:v>
                </c:pt>
                <c:pt idx="2391">
                  <c:v>1.1755636456855372</c:v>
                </c:pt>
                <c:pt idx="2392">
                  <c:v>1.1845744179764051</c:v>
                </c:pt>
                <c:pt idx="2393">
                  <c:v>1.1705640648358628</c:v>
                </c:pt>
                <c:pt idx="2394">
                  <c:v>1.1688335869673616</c:v>
                </c:pt>
                <c:pt idx="2395">
                  <c:v>1.1662700146734619</c:v>
                </c:pt>
                <c:pt idx="2396">
                  <c:v>1.1427532793526629</c:v>
                </c:pt>
                <c:pt idx="2397">
                  <c:v>1.2032504349450293</c:v>
                </c:pt>
                <c:pt idx="2398">
                  <c:v>1.1879508097715081</c:v>
                </c:pt>
                <c:pt idx="2399">
                  <c:v>1.1774763584516863</c:v>
                </c:pt>
                <c:pt idx="2400">
                  <c:v>1.1433355618087595</c:v>
                </c:pt>
                <c:pt idx="2401">
                  <c:v>1.1537224112839493</c:v>
                </c:pt>
                <c:pt idx="2402">
                  <c:v>1.1323600113931516</c:v>
                </c:pt>
                <c:pt idx="2403">
                  <c:v>1.1429675028817214</c:v>
                </c:pt>
                <c:pt idx="2404">
                  <c:v>1.1155888605338107</c:v>
                </c:pt>
                <c:pt idx="2405">
                  <c:v>1.1029440227143801</c:v>
                </c:pt>
                <c:pt idx="2406">
                  <c:v>1.0807370835120633</c:v>
                </c:pt>
                <c:pt idx="2407">
                  <c:v>1.0416364225494463</c:v>
                </c:pt>
                <c:pt idx="2408">
                  <c:v>1.0543765385560655</c:v>
                </c:pt>
                <c:pt idx="2409">
                  <c:v>1.0143069090502763</c:v>
                </c:pt>
                <c:pt idx="2410">
                  <c:v>0.97593344647779212</c:v>
                </c:pt>
                <c:pt idx="2411">
                  <c:v>0.9401347421159012</c:v>
                </c:pt>
                <c:pt idx="2412">
                  <c:v>0.96274655000172749</c:v>
                </c:pt>
                <c:pt idx="2413">
                  <c:v>0.97373200778679592</c:v>
                </c:pt>
                <c:pt idx="2414">
                  <c:v>0.92862925801989116</c:v>
                </c:pt>
                <c:pt idx="2415">
                  <c:v>0.93191935174719831</c:v>
                </c:pt>
                <c:pt idx="2416">
                  <c:v>0.93293068079703145</c:v>
                </c:pt>
                <c:pt idx="2417">
                  <c:v>0.89486941190757852</c:v>
                </c:pt>
                <c:pt idx="2418">
                  <c:v>0.90626231263930623</c:v>
                </c:pt>
                <c:pt idx="2419">
                  <c:v>0.86117595355914622</c:v>
                </c:pt>
                <c:pt idx="2420">
                  <c:v>0.85451612980209635</c:v>
                </c:pt>
                <c:pt idx="2421">
                  <c:v>0.86685910772378538</c:v>
                </c:pt>
                <c:pt idx="2422">
                  <c:v>0.85808561317634802</c:v>
                </c:pt>
                <c:pt idx="2423">
                  <c:v>0.85136374710522922</c:v>
                </c:pt>
                <c:pt idx="2424">
                  <c:v>0.8611437004974275</c:v>
                </c:pt>
                <c:pt idx="2425">
                  <c:v>0.8630302219628021</c:v>
                </c:pt>
                <c:pt idx="2426">
                  <c:v>0.87801933277004107</c:v>
                </c:pt>
                <c:pt idx="2427">
                  <c:v>0.83488598945282066</c:v>
                </c:pt>
                <c:pt idx="2428">
                  <c:v>0.84859197105165529</c:v>
                </c:pt>
                <c:pt idx="2429">
                  <c:v>0.86644158169651231</c:v>
                </c:pt>
                <c:pt idx="2430">
                  <c:v>0.86300170148087962</c:v>
                </c:pt>
                <c:pt idx="2431">
                  <c:v>0.79781574107682096</c:v>
                </c:pt>
                <c:pt idx="2432">
                  <c:v>0.81685663485385374</c:v>
                </c:pt>
                <c:pt idx="2433">
                  <c:v>0.75590499960051349</c:v>
                </c:pt>
                <c:pt idx="2434">
                  <c:v>0.77626787442576617</c:v>
                </c:pt>
                <c:pt idx="2435">
                  <c:v>0.79656062137756434</c:v>
                </c:pt>
                <c:pt idx="2436">
                  <c:v>0.82107309626595637</c:v>
                </c:pt>
                <c:pt idx="2437">
                  <c:v>0.81568759338364305</c:v>
                </c:pt>
                <c:pt idx="2438">
                  <c:v>0.77714557072355361</c:v>
                </c:pt>
                <c:pt idx="2439">
                  <c:v>0.79628395178361577</c:v>
                </c:pt>
                <c:pt idx="2440">
                  <c:v>0.76340247139587725</c:v>
                </c:pt>
                <c:pt idx="2441">
                  <c:v>0.79704520612450869</c:v>
                </c:pt>
                <c:pt idx="2442">
                  <c:v>0.76149135970744319</c:v>
                </c:pt>
                <c:pt idx="2443">
                  <c:v>0.68197099970925723</c:v>
                </c:pt>
                <c:pt idx="2444">
                  <c:v>0.72311824759163645</c:v>
                </c:pt>
                <c:pt idx="2445">
                  <c:v>0.76404936265363654</c:v>
                </c:pt>
                <c:pt idx="2446">
                  <c:v>0.82360415827253375</c:v>
                </c:pt>
                <c:pt idx="2447">
                  <c:v>0.89767291741851385</c:v>
                </c:pt>
                <c:pt idx="2448">
                  <c:v>0.82314640253116567</c:v>
                </c:pt>
                <c:pt idx="2449">
                  <c:v>0.93289424195171566</c:v>
                </c:pt>
                <c:pt idx="2450">
                  <c:v>1.1001969520650978</c:v>
                </c:pt>
                <c:pt idx="2451">
                  <c:v>0.6434671708797558</c:v>
                </c:pt>
              </c:numCache>
            </c:numRef>
          </c:val>
          <c:smooth val="0"/>
          <c:extLst>
            <c:ext xmlns:c16="http://schemas.microsoft.com/office/drawing/2014/chart" uri="{C3380CC4-5D6E-409C-BE32-E72D297353CC}">
              <c16:uniqueId val="{00000001-6950-4ED7-9FB8-753F466A9E67}"/>
            </c:ext>
          </c:extLst>
        </c:ser>
        <c:ser>
          <c:idx val="4"/>
          <c:order val="4"/>
          <c:tx>
            <c:strRef>
              <c:f>'DRT Rolling Stdev'!$G$1</c:f>
              <c:strCache>
                <c:ptCount val="1"/>
                <c:pt idx="0">
                  <c:v>Ambient Temperature</c:v>
                </c:pt>
              </c:strCache>
            </c:strRef>
          </c:tx>
          <c:spPr>
            <a:ln w="28575" cap="rnd">
              <a:solidFill>
                <a:schemeClr val="accent5"/>
              </a:solidFill>
              <a:round/>
            </a:ln>
            <a:effectLst/>
          </c:spPr>
          <c:marker>
            <c:symbol val="none"/>
          </c:marker>
          <c:cat>
            <c:numRef>
              <c:f>'DRT Rolling Stdev'!$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G$2:$G$2453</c:f>
              <c:numCache>
                <c:formatCode>#,##0.00</c:formatCode>
                <c:ptCount val="2452"/>
                <c:pt idx="0">
                  <c:v>3.3952299195925675</c:v>
                </c:pt>
                <c:pt idx="1">
                  <c:v>3.3562431103976884</c:v>
                </c:pt>
                <c:pt idx="2">
                  <c:v>3.3986136456860874</c:v>
                </c:pt>
                <c:pt idx="3">
                  <c:v>3.3044727612563332</c:v>
                </c:pt>
                <c:pt idx="4">
                  <c:v>3.3598371608050348</c:v>
                </c:pt>
                <c:pt idx="5">
                  <c:v>3.4274081222961477</c:v>
                </c:pt>
                <c:pt idx="6">
                  <c:v>3.4006422652334303</c:v>
                </c:pt>
                <c:pt idx="7">
                  <c:v>3.4006422652334303</c:v>
                </c:pt>
                <c:pt idx="8">
                  <c:v>3.3433756772968595</c:v>
                </c:pt>
                <c:pt idx="9">
                  <c:v>3.3461248817307947</c:v>
                </c:pt>
                <c:pt idx="10">
                  <c:v>3.3086441991821376</c:v>
                </c:pt>
                <c:pt idx="11">
                  <c:v>3.337181686572579</c:v>
                </c:pt>
                <c:pt idx="12">
                  <c:v>3.3937061421564398</c:v>
                </c:pt>
                <c:pt idx="13">
                  <c:v>3.3828505968959881</c:v>
                </c:pt>
                <c:pt idx="14">
                  <c:v>3.390487029742272</c:v>
                </c:pt>
                <c:pt idx="15">
                  <c:v>3.3500729105121172</c:v>
                </c:pt>
                <c:pt idx="16">
                  <c:v>3.3700847562587826</c:v>
                </c:pt>
                <c:pt idx="17">
                  <c:v>3.3986136456860874</c:v>
                </c:pt>
                <c:pt idx="18">
                  <c:v>3.2449784371350248</c:v>
                </c:pt>
                <c:pt idx="19">
                  <c:v>3.2091822283430149</c:v>
                </c:pt>
                <c:pt idx="20">
                  <c:v>3.2652823714829391</c:v>
                </c:pt>
                <c:pt idx="21">
                  <c:v>3.2236553821692087</c:v>
                </c:pt>
                <c:pt idx="22">
                  <c:v>3.314891513628528</c:v>
                </c:pt>
                <c:pt idx="23">
                  <c:v>3.3192230083726439</c:v>
                </c:pt>
                <c:pt idx="24">
                  <c:v>3.2816102019041478</c:v>
                </c:pt>
                <c:pt idx="25">
                  <c:v>3.4031763391576257</c:v>
                </c:pt>
                <c:pt idx="26">
                  <c:v>3.4788358470291056</c:v>
                </c:pt>
                <c:pt idx="27">
                  <c:v>3.5712775009099684</c:v>
                </c:pt>
                <c:pt idx="28">
                  <c:v>3.6382388059602966</c:v>
                </c:pt>
                <c:pt idx="29">
                  <c:v>3.5789936298209373</c:v>
                </c:pt>
                <c:pt idx="30">
                  <c:v>3.5789936298209373</c:v>
                </c:pt>
                <c:pt idx="31">
                  <c:v>3.5572493570883879</c:v>
                </c:pt>
                <c:pt idx="32">
                  <c:v>3.4534673563838982</c:v>
                </c:pt>
                <c:pt idx="33">
                  <c:v>3.4534673563838982</c:v>
                </c:pt>
                <c:pt idx="34">
                  <c:v>3.3741750801143042</c:v>
                </c:pt>
                <c:pt idx="35">
                  <c:v>3.3500729105121163</c:v>
                </c:pt>
                <c:pt idx="36">
                  <c:v>3.3536735733791403</c:v>
                </c:pt>
                <c:pt idx="37">
                  <c:v>3.3904870297422725</c:v>
                </c:pt>
                <c:pt idx="38">
                  <c:v>3.3521309057367379</c:v>
                </c:pt>
                <c:pt idx="39">
                  <c:v>3.2120462915889529</c:v>
                </c:pt>
                <c:pt idx="40">
                  <c:v>3.2947188671862584</c:v>
                </c:pt>
                <c:pt idx="41">
                  <c:v>3.23433448181073</c:v>
                </c:pt>
                <c:pt idx="42">
                  <c:v>3.1905031491643427</c:v>
                </c:pt>
                <c:pt idx="43">
                  <c:v>3.2492262562597602</c:v>
                </c:pt>
                <c:pt idx="44">
                  <c:v>3.2772289949067446</c:v>
                </c:pt>
                <c:pt idx="45">
                  <c:v>3.2737198076974061</c:v>
                </c:pt>
                <c:pt idx="46">
                  <c:v>3.2428524409881785</c:v>
                </c:pt>
                <c:pt idx="47">
                  <c:v>3.3268327418062396</c:v>
                </c:pt>
                <c:pt idx="48">
                  <c:v>3.321127076381039</c:v>
                </c:pt>
                <c:pt idx="49">
                  <c:v>3.3904870297422725</c:v>
                </c:pt>
                <c:pt idx="50">
                  <c:v>3.4655944407253152</c:v>
                </c:pt>
                <c:pt idx="51">
                  <c:v>3.4011492310620564</c:v>
                </c:pt>
                <c:pt idx="52">
                  <c:v>3.3495582141358669</c:v>
                </c:pt>
                <c:pt idx="53">
                  <c:v>3.4389586769266649</c:v>
                </c:pt>
                <c:pt idx="54">
                  <c:v>3.5143384459445106</c:v>
                </c:pt>
                <c:pt idx="55">
                  <c:v>3.4132938216103925</c:v>
                </c:pt>
                <c:pt idx="56">
                  <c:v>3.4576252564141625</c:v>
                </c:pt>
                <c:pt idx="57">
                  <c:v>3.4132938216103925</c:v>
                </c:pt>
                <c:pt idx="58">
                  <c:v>3.4589547288294993</c:v>
                </c:pt>
                <c:pt idx="59">
                  <c:v>3.4589547288294993</c:v>
                </c:pt>
                <c:pt idx="60">
                  <c:v>3.3782604514988064</c:v>
                </c:pt>
                <c:pt idx="61">
                  <c:v>3.4813130037221676</c:v>
                </c:pt>
                <c:pt idx="62">
                  <c:v>3.4839533628455417</c:v>
                </c:pt>
                <c:pt idx="63">
                  <c:v>3.514992519735014</c:v>
                </c:pt>
                <c:pt idx="64">
                  <c:v>3.6079414323559003</c:v>
                </c:pt>
                <c:pt idx="65">
                  <c:v>3.6514837167011072</c:v>
                </c:pt>
                <c:pt idx="66">
                  <c:v>3.6990213057901755</c:v>
                </c:pt>
                <c:pt idx="67">
                  <c:v>3.6811105270887592</c:v>
                </c:pt>
                <c:pt idx="68">
                  <c:v>3.7430395172354523</c:v>
                </c:pt>
                <c:pt idx="69">
                  <c:v>3.7594325812991158</c:v>
                </c:pt>
                <c:pt idx="70">
                  <c:v>3.6728265916612228</c:v>
                </c:pt>
                <c:pt idx="71">
                  <c:v>3.6477043639029714</c:v>
                </c:pt>
                <c:pt idx="72">
                  <c:v>3.6168507289356442</c:v>
                </c:pt>
                <c:pt idx="73">
                  <c:v>3.554016668891498</c:v>
                </c:pt>
                <c:pt idx="74">
                  <c:v>3.5905367318812527</c:v>
                </c:pt>
                <c:pt idx="75">
                  <c:v>3.5881349812511467</c:v>
                </c:pt>
                <c:pt idx="76">
                  <c:v>3.5378089199422558</c:v>
                </c:pt>
                <c:pt idx="77">
                  <c:v>3.4971252561884691</c:v>
                </c:pt>
                <c:pt idx="78">
                  <c:v>3.5051685974503024</c:v>
                </c:pt>
                <c:pt idx="79">
                  <c:v>3.562254226246885</c:v>
                </c:pt>
                <c:pt idx="80">
                  <c:v>3.4349454980701872</c:v>
                </c:pt>
                <c:pt idx="81">
                  <c:v>3.3828505968959881</c:v>
                </c:pt>
                <c:pt idx="82">
                  <c:v>3.4389586769266649</c:v>
                </c:pt>
                <c:pt idx="83">
                  <c:v>3.376899210201878</c:v>
                </c:pt>
                <c:pt idx="84">
                  <c:v>3.376899210201878</c:v>
                </c:pt>
                <c:pt idx="85">
                  <c:v>3.3630856110997542</c:v>
                </c:pt>
                <c:pt idx="86">
                  <c:v>3.2279312616418983</c:v>
                </c:pt>
                <c:pt idx="87">
                  <c:v>3.1330643073551787</c:v>
                </c:pt>
                <c:pt idx="88">
                  <c:v>3.0103270529158852</c:v>
                </c:pt>
                <c:pt idx="89">
                  <c:v>3.1200132625712813</c:v>
                </c:pt>
                <c:pt idx="90">
                  <c:v>3.0589984086899777</c:v>
                </c:pt>
                <c:pt idx="91">
                  <c:v>2.9641536560292754</c:v>
                </c:pt>
                <c:pt idx="92">
                  <c:v>3.0369373562434778</c:v>
                </c:pt>
                <c:pt idx="93">
                  <c:v>2.8945052978946562</c:v>
                </c:pt>
                <c:pt idx="94">
                  <c:v>2.8302552583797476</c:v>
                </c:pt>
                <c:pt idx="95">
                  <c:v>2.8373534698101457</c:v>
                </c:pt>
                <c:pt idx="96">
                  <c:v>2.914292958553732</c:v>
                </c:pt>
                <c:pt idx="97">
                  <c:v>2.9767296720108609</c:v>
                </c:pt>
                <c:pt idx="98">
                  <c:v>2.8687776242628606</c:v>
                </c:pt>
                <c:pt idx="99">
                  <c:v>2.8687776242628602</c:v>
                </c:pt>
                <c:pt idx="100">
                  <c:v>3.0484591924898488</c:v>
                </c:pt>
                <c:pt idx="101">
                  <c:v>3.0484591924898488</c:v>
                </c:pt>
                <c:pt idx="102">
                  <c:v>3.0484591924898488</c:v>
                </c:pt>
                <c:pt idx="103">
                  <c:v>3.0680032069997778</c:v>
                </c:pt>
                <c:pt idx="104">
                  <c:v>3.0889123183322678</c:v>
                </c:pt>
                <c:pt idx="105">
                  <c:v>3.169720245823219</c:v>
                </c:pt>
                <c:pt idx="106">
                  <c:v>3.2767028564084661</c:v>
                </c:pt>
                <c:pt idx="107">
                  <c:v>3.268800616627507</c:v>
                </c:pt>
                <c:pt idx="108">
                  <c:v>3.322684138623091</c:v>
                </c:pt>
                <c:pt idx="109">
                  <c:v>3.3911649915626341</c:v>
                </c:pt>
                <c:pt idx="110">
                  <c:v>3.4011492310620564</c:v>
                </c:pt>
                <c:pt idx="111">
                  <c:v>3.4971252561884687</c:v>
                </c:pt>
                <c:pt idx="112">
                  <c:v>3.3598371608050348</c:v>
                </c:pt>
                <c:pt idx="113">
                  <c:v>3.4971252561884683</c:v>
                </c:pt>
                <c:pt idx="114">
                  <c:v>3.430927624974927</c:v>
                </c:pt>
                <c:pt idx="115">
                  <c:v>3.4349454980701863</c:v>
                </c:pt>
                <c:pt idx="116">
                  <c:v>3.4381229843000689</c:v>
                </c:pt>
                <c:pt idx="117">
                  <c:v>3.4509702117373968</c:v>
                </c:pt>
                <c:pt idx="118">
                  <c:v>3.4481379282757518</c:v>
                </c:pt>
                <c:pt idx="119">
                  <c:v>3.3321837098008369</c:v>
                </c:pt>
                <c:pt idx="120">
                  <c:v>3.4514697852017937</c:v>
                </c:pt>
                <c:pt idx="121">
                  <c:v>3.430927624974927</c:v>
                </c:pt>
                <c:pt idx="122">
                  <c:v>3.4414645372166102</c:v>
                </c:pt>
                <c:pt idx="123">
                  <c:v>3.4898868670527974</c:v>
                </c:pt>
                <c:pt idx="124">
                  <c:v>3.4898868670527978</c:v>
                </c:pt>
                <c:pt idx="125">
                  <c:v>3.5202207349807639</c:v>
                </c:pt>
                <c:pt idx="126">
                  <c:v>3.4489711942622217</c:v>
                </c:pt>
                <c:pt idx="127">
                  <c:v>3.4200221818195766</c:v>
                </c:pt>
                <c:pt idx="128">
                  <c:v>3.4589547288294997</c:v>
                </c:pt>
                <c:pt idx="129">
                  <c:v>3.4589547288295002</c:v>
                </c:pt>
                <c:pt idx="130">
                  <c:v>3.298205712132011</c:v>
                </c:pt>
                <c:pt idx="131">
                  <c:v>3.383530088837539</c:v>
                </c:pt>
                <c:pt idx="132">
                  <c:v>3.3392476267332554</c:v>
                </c:pt>
                <c:pt idx="133">
                  <c:v>3.3774097399818306</c:v>
                </c:pt>
                <c:pt idx="134">
                  <c:v>3.2983799576197379</c:v>
                </c:pt>
                <c:pt idx="135">
                  <c:v>3.2745974570543983</c:v>
                </c:pt>
                <c:pt idx="136">
                  <c:v>3.2412570287523907</c:v>
                </c:pt>
                <c:pt idx="137">
                  <c:v>3.1832897030168867</c:v>
                </c:pt>
                <c:pt idx="138">
                  <c:v>3.1484351157616248</c:v>
                </c:pt>
                <c:pt idx="139">
                  <c:v>2.9905982948098426</c:v>
                </c:pt>
                <c:pt idx="140">
                  <c:v>3.0363695805822215</c:v>
                </c:pt>
                <c:pt idx="141">
                  <c:v>2.8687776242628606</c:v>
                </c:pt>
                <c:pt idx="142">
                  <c:v>2.8705800607294463</c:v>
                </c:pt>
                <c:pt idx="143">
                  <c:v>2.5910988216292092</c:v>
                </c:pt>
                <c:pt idx="144">
                  <c:v>2.8785772347727145</c:v>
                </c:pt>
                <c:pt idx="145">
                  <c:v>2.9651229355607676</c:v>
                </c:pt>
                <c:pt idx="146">
                  <c:v>2.9728657948993864</c:v>
                </c:pt>
                <c:pt idx="147">
                  <c:v>3.0477049967354843</c:v>
                </c:pt>
                <c:pt idx="148">
                  <c:v>3.2021903423290978</c:v>
                </c:pt>
                <c:pt idx="149">
                  <c:v>3.2322014845584124</c:v>
                </c:pt>
                <c:pt idx="150">
                  <c:v>3.1805804429416638</c:v>
                </c:pt>
                <c:pt idx="151">
                  <c:v>3.1805804429416638</c:v>
                </c:pt>
                <c:pt idx="152">
                  <c:v>3.1456958369891033</c:v>
                </c:pt>
                <c:pt idx="153">
                  <c:v>3.1456958369891037</c:v>
                </c:pt>
                <c:pt idx="154">
                  <c:v>3.0866788311867741</c:v>
                </c:pt>
                <c:pt idx="155">
                  <c:v>2.9913668885760178</c:v>
                </c:pt>
                <c:pt idx="156">
                  <c:v>3.0926312124293047</c:v>
                </c:pt>
                <c:pt idx="157">
                  <c:v>3.1154048094006623</c:v>
                </c:pt>
                <c:pt idx="158">
                  <c:v>3.1037611591959409</c:v>
                </c:pt>
                <c:pt idx="159">
                  <c:v>3.2428524409881785</c:v>
                </c:pt>
                <c:pt idx="160">
                  <c:v>3.2837111049374683</c:v>
                </c:pt>
                <c:pt idx="161">
                  <c:v>3.2809096019384554</c:v>
                </c:pt>
                <c:pt idx="162">
                  <c:v>3.2640500897666613</c:v>
                </c:pt>
                <c:pt idx="163">
                  <c:v>3.3598371608050344</c:v>
                </c:pt>
                <c:pt idx="164">
                  <c:v>3.4006422652334298</c:v>
                </c:pt>
                <c:pt idx="165">
                  <c:v>3.4154819925420936</c:v>
                </c:pt>
                <c:pt idx="166">
                  <c:v>3.343375677296859</c:v>
                </c:pt>
                <c:pt idx="167">
                  <c:v>3.3060376672795586</c:v>
                </c:pt>
                <c:pt idx="168">
                  <c:v>3.3060376672795586</c:v>
                </c:pt>
                <c:pt idx="169">
                  <c:v>3.3060376672795586</c:v>
                </c:pt>
                <c:pt idx="170">
                  <c:v>3.1702641392545949</c:v>
                </c:pt>
                <c:pt idx="171">
                  <c:v>3.1227750700188182</c:v>
                </c:pt>
                <c:pt idx="172">
                  <c:v>3.1227750700188182</c:v>
                </c:pt>
                <c:pt idx="173">
                  <c:v>3.0926312124293056</c:v>
                </c:pt>
                <c:pt idx="174">
                  <c:v>3.1000556168537052</c:v>
                </c:pt>
                <c:pt idx="175">
                  <c:v>3.0522273758720839</c:v>
                </c:pt>
                <c:pt idx="176">
                  <c:v>3.0522273758720839</c:v>
                </c:pt>
                <c:pt idx="177">
                  <c:v>3.1222229039690559</c:v>
                </c:pt>
                <c:pt idx="178">
                  <c:v>3.1015383650512947</c:v>
                </c:pt>
                <c:pt idx="179">
                  <c:v>3.1015383650512947</c:v>
                </c:pt>
                <c:pt idx="180">
                  <c:v>3.0618152530285312</c:v>
                </c:pt>
                <c:pt idx="181">
                  <c:v>3.1551818352977854</c:v>
                </c:pt>
                <c:pt idx="182">
                  <c:v>3.2377088536015179</c:v>
                </c:pt>
                <c:pt idx="183">
                  <c:v>3.2000359193386361</c:v>
                </c:pt>
                <c:pt idx="184">
                  <c:v>3.1484351157616253</c:v>
                </c:pt>
                <c:pt idx="185">
                  <c:v>3.2120462915889534</c:v>
                </c:pt>
                <c:pt idx="186">
                  <c:v>3.1666364184883227</c:v>
                </c:pt>
                <c:pt idx="187">
                  <c:v>3.0754870654345425</c:v>
                </c:pt>
                <c:pt idx="188">
                  <c:v>3.0859339762456237</c:v>
                </c:pt>
                <c:pt idx="189">
                  <c:v>3.0227109701715449</c:v>
                </c:pt>
                <c:pt idx="190">
                  <c:v>2.9827087896973667</c:v>
                </c:pt>
                <c:pt idx="191">
                  <c:v>2.9827087896973667</c:v>
                </c:pt>
                <c:pt idx="192">
                  <c:v>3.0066975047479372</c:v>
                </c:pt>
                <c:pt idx="193">
                  <c:v>2.844636008875038</c:v>
                </c:pt>
                <c:pt idx="194">
                  <c:v>2.6986586706528222</c:v>
                </c:pt>
                <c:pt idx="195">
                  <c:v>2.8057822069974447</c:v>
                </c:pt>
                <c:pt idx="196">
                  <c:v>2.8202877492386742</c:v>
                </c:pt>
                <c:pt idx="197">
                  <c:v>2.8031181324317784</c:v>
                </c:pt>
                <c:pt idx="198">
                  <c:v>2.8615565252369972</c:v>
                </c:pt>
                <c:pt idx="199">
                  <c:v>3.013570837959894</c:v>
                </c:pt>
                <c:pt idx="200">
                  <c:v>3.0665042435747694</c:v>
                </c:pt>
                <c:pt idx="201">
                  <c:v>3.0859339762456242</c:v>
                </c:pt>
                <c:pt idx="202">
                  <c:v>3.2640500897666609</c:v>
                </c:pt>
                <c:pt idx="203">
                  <c:v>3.3190498571161871</c:v>
                </c:pt>
                <c:pt idx="204">
                  <c:v>3.244092774726778</c:v>
                </c:pt>
                <c:pt idx="205">
                  <c:v>3.2348675113661063</c:v>
                </c:pt>
                <c:pt idx="206">
                  <c:v>3.2668660506827409</c:v>
                </c:pt>
                <c:pt idx="207">
                  <c:v>3.2525851787197806</c:v>
                </c:pt>
                <c:pt idx="208">
                  <c:v>3.2525851787197806</c:v>
                </c:pt>
                <c:pt idx="209">
                  <c:v>3.1688135493185507</c:v>
                </c:pt>
                <c:pt idx="210">
                  <c:v>3.196441987477693</c:v>
                </c:pt>
                <c:pt idx="211">
                  <c:v>3.1622776601683795</c:v>
                </c:pt>
                <c:pt idx="212">
                  <c:v>3.2215153141868234</c:v>
                </c:pt>
                <c:pt idx="213">
                  <c:v>3.2851109605291118</c:v>
                </c:pt>
                <c:pt idx="214">
                  <c:v>3.4614461133177126</c:v>
                </c:pt>
                <c:pt idx="215">
                  <c:v>3.4073956077312491</c:v>
                </c:pt>
                <c:pt idx="216">
                  <c:v>3.4409635111487988</c:v>
                </c:pt>
                <c:pt idx="217">
                  <c:v>3.5486762952227502</c:v>
                </c:pt>
                <c:pt idx="218">
                  <c:v>3.5977323637146137</c:v>
                </c:pt>
                <c:pt idx="219">
                  <c:v>3.6736088930165902</c:v>
                </c:pt>
                <c:pt idx="220">
                  <c:v>3.6811105270887592</c:v>
                </c:pt>
                <c:pt idx="221">
                  <c:v>3.6811105270887592</c:v>
                </c:pt>
                <c:pt idx="222">
                  <c:v>3.6552591618419998</c:v>
                </c:pt>
                <c:pt idx="223">
                  <c:v>3.6709483882187062</c:v>
                </c:pt>
                <c:pt idx="224">
                  <c:v>3.6829835481701454</c:v>
                </c:pt>
                <c:pt idx="225">
                  <c:v>3.6263721144752479</c:v>
                </c:pt>
                <c:pt idx="226">
                  <c:v>3.7078667535483212</c:v>
                </c:pt>
                <c:pt idx="227">
                  <c:v>3.7632524450954974</c:v>
                </c:pt>
                <c:pt idx="228">
                  <c:v>3.6514837167011072</c:v>
                </c:pt>
                <c:pt idx="229">
                  <c:v>3.6001277116555026</c:v>
                </c:pt>
                <c:pt idx="230">
                  <c:v>3.5202207349807635</c:v>
                </c:pt>
                <c:pt idx="231">
                  <c:v>3.5733689310287255</c:v>
                </c:pt>
                <c:pt idx="232">
                  <c:v>3.5280485309561165</c:v>
                </c:pt>
                <c:pt idx="233">
                  <c:v>3.5733689310287255</c:v>
                </c:pt>
                <c:pt idx="234">
                  <c:v>3.4832934606968355</c:v>
                </c:pt>
                <c:pt idx="235">
                  <c:v>3.4389586769266667</c:v>
                </c:pt>
                <c:pt idx="236">
                  <c:v>3.2605267186083018</c:v>
                </c:pt>
                <c:pt idx="237">
                  <c:v>2.9664793948382657</c:v>
                </c:pt>
                <c:pt idx="238">
                  <c:v>2.6920487433888729</c:v>
                </c:pt>
                <c:pt idx="239">
                  <c:v>2.6971675223608473</c:v>
                </c:pt>
                <c:pt idx="240">
                  <c:v>2.4506625892678047</c:v>
                </c:pt>
                <c:pt idx="241">
                  <c:v>1.9061304607327711</c:v>
                </c:pt>
                <c:pt idx="242">
                  <c:v>1.8864306744895689</c:v>
                </c:pt>
                <c:pt idx="243">
                  <c:v>1.066199610389819</c:v>
                </c:pt>
                <c:pt idx="244">
                  <c:v>1.0400044208570938</c:v>
                </c:pt>
                <c:pt idx="245">
                  <c:v>1.0699661612438485</c:v>
                </c:pt>
                <c:pt idx="246">
                  <c:v>1.0333518722845683</c:v>
                </c:pt>
                <c:pt idx="247">
                  <c:v>1.0613372610104652</c:v>
                </c:pt>
                <c:pt idx="248">
                  <c:v>1.0806553992619587</c:v>
                </c:pt>
                <c:pt idx="249">
                  <c:v>1.1244411127720095</c:v>
                </c:pt>
                <c:pt idx="250">
                  <c:v>1.1188047809743373</c:v>
                </c:pt>
                <c:pt idx="251">
                  <c:v>1.1547005383792519</c:v>
                </c:pt>
                <c:pt idx="252">
                  <c:v>1.112106833535071</c:v>
                </c:pt>
                <c:pt idx="253">
                  <c:v>1.0726484571581121</c:v>
                </c:pt>
                <c:pt idx="254">
                  <c:v>1.0726484571581119</c:v>
                </c:pt>
                <c:pt idx="255">
                  <c:v>1.0933445471810683</c:v>
                </c:pt>
                <c:pt idx="256">
                  <c:v>1.0661996103898193</c:v>
                </c:pt>
                <c:pt idx="257">
                  <c:v>1.0742546199601597</c:v>
                </c:pt>
                <c:pt idx="258">
                  <c:v>1.2507469032909713</c:v>
                </c:pt>
                <c:pt idx="259">
                  <c:v>1.4890404223224918</c:v>
                </c:pt>
                <c:pt idx="260">
                  <c:v>1.489040422322492</c:v>
                </c:pt>
                <c:pt idx="261">
                  <c:v>1.5698305055298021</c:v>
                </c:pt>
                <c:pt idx="262">
                  <c:v>1.57749984061059</c:v>
                </c:pt>
                <c:pt idx="263">
                  <c:v>1.5391444107819707</c:v>
                </c:pt>
                <c:pt idx="264">
                  <c:v>1.5391444107819707</c:v>
                </c:pt>
                <c:pt idx="265">
                  <c:v>1.5624913792865638</c:v>
                </c:pt>
                <c:pt idx="266">
                  <c:v>1.920548293359591</c:v>
                </c:pt>
                <c:pt idx="267">
                  <c:v>1.9475891374404053</c:v>
                </c:pt>
                <c:pt idx="268">
                  <c:v>1.98152385340404</c:v>
                </c:pt>
                <c:pt idx="269">
                  <c:v>2.3116397126108428</c:v>
                </c:pt>
                <c:pt idx="270">
                  <c:v>2.6076809620810595</c:v>
                </c:pt>
                <c:pt idx="271">
                  <c:v>2.9329675843034329</c:v>
                </c:pt>
                <c:pt idx="272">
                  <c:v>3.0552385763833056</c:v>
                </c:pt>
                <c:pt idx="273">
                  <c:v>3.0618152530285294</c:v>
                </c:pt>
                <c:pt idx="274">
                  <c:v>3.0595619850282305</c:v>
                </c:pt>
                <c:pt idx="275">
                  <c:v>3.0295479728072023</c:v>
                </c:pt>
                <c:pt idx="276">
                  <c:v>3.0295479728072023</c:v>
                </c:pt>
                <c:pt idx="277">
                  <c:v>2.9790455927491539</c:v>
                </c:pt>
                <c:pt idx="278">
                  <c:v>3.0371265912099354</c:v>
                </c:pt>
                <c:pt idx="279">
                  <c:v>3.0702502799624001</c:v>
                </c:pt>
                <c:pt idx="280">
                  <c:v>3.0371265912099354</c:v>
                </c:pt>
                <c:pt idx="281">
                  <c:v>3.0477049967354835</c:v>
                </c:pt>
                <c:pt idx="282">
                  <c:v>3.0702502799623996</c:v>
                </c:pt>
                <c:pt idx="283">
                  <c:v>3.0522273758720839</c:v>
                </c:pt>
                <c:pt idx="284">
                  <c:v>3.0894704378269902</c:v>
                </c:pt>
                <c:pt idx="285">
                  <c:v>3.1037611591959418</c:v>
                </c:pt>
                <c:pt idx="286">
                  <c:v>3.0665042435747689</c:v>
                </c:pt>
                <c:pt idx="287">
                  <c:v>3.1126364624103529</c:v>
                </c:pt>
                <c:pt idx="288">
                  <c:v>3.1919438822019468</c:v>
                </c:pt>
                <c:pt idx="289">
                  <c:v>3.3060376672795582</c:v>
                </c:pt>
                <c:pt idx="290">
                  <c:v>3.2263284709246283</c:v>
                </c:pt>
                <c:pt idx="291">
                  <c:v>3.30186293637012</c:v>
                </c:pt>
                <c:pt idx="292">
                  <c:v>3.2555875928490456</c:v>
                </c:pt>
                <c:pt idx="293">
                  <c:v>3.236998751859542</c:v>
                </c:pt>
                <c:pt idx="294">
                  <c:v>3.1876197295521123</c:v>
                </c:pt>
                <c:pt idx="295">
                  <c:v>3.1892419738577522</c:v>
                </c:pt>
                <c:pt idx="296">
                  <c:v>3.1905031491643427</c:v>
                </c:pt>
                <c:pt idx="297">
                  <c:v>3.1154048094006623</c:v>
                </c:pt>
                <c:pt idx="298">
                  <c:v>3.1784113721440641</c:v>
                </c:pt>
                <c:pt idx="299">
                  <c:v>3.0635041164105474</c:v>
                </c:pt>
                <c:pt idx="300">
                  <c:v>2.9300268721061866</c:v>
                </c:pt>
                <c:pt idx="301">
                  <c:v>2.7934652809480327</c:v>
                </c:pt>
                <c:pt idx="302">
                  <c:v>2.7934652809480327</c:v>
                </c:pt>
                <c:pt idx="303">
                  <c:v>2.7753015783108528</c:v>
                </c:pt>
                <c:pt idx="304">
                  <c:v>2.8585423501876077</c:v>
                </c:pt>
                <c:pt idx="305">
                  <c:v>2.8958948352023639</c:v>
                </c:pt>
                <c:pt idx="306">
                  <c:v>2.9563879794535537</c:v>
                </c:pt>
                <c:pt idx="307">
                  <c:v>3.1037611591959409</c:v>
                </c:pt>
                <c:pt idx="308">
                  <c:v>3.0095633012727636</c:v>
                </c:pt>
                <c:pt idx="309">
                  <c:v>3.0095633012727636</c:v>
                </c:pt>
                <c:pt idx="310">
                  <c:v>3.0467619895045392</c:v>
                </c:pt>
                <c:pt idx="311">
                  <c:v>3.2555875928490456</c:v>
                </c:pt>
                <c:pt idx="312">
                  <c:v>3.2555875928490456</c:v>
                </c:pt>
                <c:pt idx="313">
                  <c:v>3.3268327418062396</c:v>
                </c:pt>
                <c:pt idx="314">
                  <c:v>3.3461248817307956</c:v>
                </c:pt>
                <c:pt idx="315">
                  <c:v>3.4514697852017941</c:v>
                </c:pt>
                <c:pt idx="316">
                  <c:v>3.5280485309561165</c:v>
                </c:pt>
                <c:pt idx="317">
                  <c:v>3.4813130037221671</c:v>
                </c:pt>
                <c:pt idx="318">
                  <c:v>3.575780599610626</c:v>
                </c:pt>
                <c:pt idx="319">
                  <c:v>3.4641016151377544</c:v>
                </c:pt>
                <c:pt idx="320">
                  <c:v>3.6263721144752479</c:v>
                </c:pt>
                <c:pt idx="321">
                  <c:v>3.5559566344665812</c:v>
                </c:pt>
                <c:pt idx="322">
                  <c:v>3.5559566344665812</c:v>
                </c:pt>
                <c:pt idx="323">
                  <c:v>3.5712775009099684</c:v>
                </c:pt>
                <c:pt idx="324">
                  <c:v>3.6759547981661749</c:v>
                </c:pt>
                <c:pt idx="325">
                  <c:v>3.6045947689408671</c:v>
                </c:pt>
                <c:pt idx="326">
                  <c:v>3.6168507289356437</c:v>
                </c:pt>
                <c:pt idx="327">
                  <c:v>3.724568940576003</c:v>
                </c:pt>
                <c:pt idx="328">
                  <c:v>3.7039897718386121</c:v>
                </c:pt>
                <c:pt idx="329">
                  <c:v>3.7973069707208369</c:v>
                </c:pt>
                <c:pt idx="330">
                  <c:v>3.8981280505969242</c:v>
                </c:pt>
                <c:pt idx="331">
                  <c:v>3.7667632985265254</c:v>
                </c:pt>
                <c:pt idx="332">
                  <c:v>3.7667632985265254</c:v>
                </c:pt>
                <c:pt idx="333">
                  <c:v>3.7667632985265254</c:v>
                </c:pt>
                <c:pt idx="334">
                  <c:v>3.6212971575732733</c:v>
                </c:pt>
                <c:pt idx="335">
                  <c:v>3.5712775009099684</c:v>
                </c:pt>
                <c:pt idx="336">
                  <c:v>3.4031763391576262</c:v>
                </c:pt>
                <c:pt idx="337">
                  <c:v>3.4389586769266649</c:v>
                </c:pt>
                <c:pt idx="338">
                  <c:v>3.6045947689408671</c:v>
                </c:pt>
                <c:pt idx="339">
                  <c:v>3.6045947689408671</c:v>
                </c:pt>
                <c:pt idx="340">
                  <c:v>3.5084462946294117</c:v>
                </c:pt>
                <c:pt idx="341">
                  <c:v>3.5421923206937276</c:v>
                </c:pt>
                <c:pt idx="342">
                  <c:v>3.5680575223444233</c:v>
                </c:pt>
                <c:pt idx="343">
                  <c:v>3.4314301163914385</c:v>
                </c:pt>
                <c:pt idx="344">
                  <c:v>3.4456369212532318</c:v>
                </c:pt>
                <c:pt idx="345">
                  <c:v>3.4456369212532318</c:v>
                </c:pt>
                <c:pt idx="346">
                  <c:v>3.3155849330511589</c:v>
                </c:pt>
                <c:pt idx="347">
                  <c:v>3.30186293637012</c:v>
                </c:pt>
                <c:pt idx="348">
                  <c:v>3.2091822283430163</c:v>
                </c:pt>
                <c:pt idx="349">
                  <c:v>3.1957227160942669</c:v>
                </c:pt>
                <c:pt idx="350">
                  <c:v>3.0998702234607909</c:v>
                </c:pt>
                <c:pt idx="351">
                  <c:v>3.1811224795479127</c:v>
                </c:pt>
                <c:pt idx="352">
                  <c:v>3.1566386895069183</c:v>
                </c:pt>
                <c:pt idx="353">
                  <c:v>3.0889123183322686</c:v>
                </c:pt>
                <c:pt idx="354">
                  <c:v>3.0454412888246853</c:v>
                </c:pt>
                <c:pt idx="355">
                  <c:v>3.0454412888246853</c:v>
                </c:pt>
                <c:pt idx="356">
                  <c:v>3.0278401694861672</c:v>
                </c:pt>
                <c:pt idx="357">
                  <c:v>2.9867523591975975</c:v>
                </c:pt>
                <c:pt idx="358">
                  <c:v>3.041664698472045</c:v>
                </c:pt>
                <c:pt idx="359">
                  <c:v>3.1015383650512951</c:v>
                </c:pt>
                <c:pt idx="360">
                  <c:v>3.0325816929042371</c:v>
                </c:pt>
                <c:pt idx="361">
                  <c:v>3.0340974154494083</c:v>
                </c:pt>
                <c:pt idx="362">
                  <c:v>3.0026807945605851</c:v>
                </c:pt>
                <c:pt idx="363">
                  <c:v>3.0444975804295487</c:v>
                </c:pt>
                <c:pt idx="364">
                  <c:v>3.1396610110596037</c:v>
                </c:pt>
                <c:pt idx="365">
                  <c:v>3.1805804429416638</c:v>
                </c:pt>
                <c:pt idx="366">
                  <c:v>3.1941037632761273</c:v>
                </c:pt>
                <c:pt idx="367">
                  <c:v>3.0859339762456242</c:v>
                </c:pt>
                <c:pt idx="368">
                  <c:v>2.9282610272443543</c:v>
                </c:pt>
                <c:pt idx="369">
                  <c:v>2.9300268721061871</c:v>
                </c:pt>
                <c:pt idx="370">
                  <c:v>2.8974820618686445</c:v>
                </c:pt>
                <c:pt idx="371">
                  <c:v>2.8777785174335948</c:v>
                </c:pt>
                <c:pt idx="372">
                  <c:v>2.8825675017766446</c:v>
                </c:pt>
                <c:pt idx="373">
                  <c:v>2.8639655812482645</c:v>
                </c:pt>
                <c:pt idx="374">
                  <c:v>2.9048117037912728</c:v>
                </c:pt>
                <c:pt idx="375">
                  <c:v>2.9470421563432661</c:v>
                </c:pt>
                <c:pt idx="376">
                  <c:v>2.9836720413903928</c:v>
                </c:pt>
                <c:pt idx="377">
                  <c:v>2.9836720413903928</c:v>
                </c:pt>
                <c:pt idx="378">
                  <c:v>3.0026807945605851</c:v>
                </c:pt>
                <c:pt idx="379">
                  <c:v>3.1222229039690559</c:v>
                </c:pt>
                <c:pt idx="380">
                  <c:v>3.1236951298690809</c:v>
                </c:pt>
                <c:pt idx="381">
                  <c:v>3.2107935782760704</c:v>
                </c:pt>
                <c:pt idx="382">
                  <c:v>3.2816102019041478</c:v>
                </c:pt>
                <c:pt idx="383">
                  <c:v>3.3190498571161879</c:v>
                </c:pt>
                <c:pt idx="384">
                  <c:v>3.4788358470291052</c:v>
                </c:pt>
                <c:pt idx="385">
                  <c:v>3.5300027677368591</c:v>
                </c:pt>
                <c:pt idx="386">
                  <c:v>3.5467323475034855</c:v>
                </c:pt>
                <c:pt idx="387">
                  <c:v>3.5030364496842012</c:v>
                </c:pt>
                <c:pt idx="388">
                  <c:v>3.594376194819493</c:v>
                </c:pt>
                <c:pt idx="389">
                  <c:v>3.4349454980701868</c:v>
                </c:pt>
                <c:pt idx="390">
                  <c:v>3.3782604514988064</c:v>
                </c:pt>
                <c:pt idx="391">
                  <c:v>3.397768030076052</c:v>
                </c:pt>
                <c:pt idx="392">
                  <c:v>3.3577838887692222</c:v>
                </c:pt>
                <c:pt idx="393">
                  <c:v>3.2863353450309964</c:v>
                </c:pt>
                <c:pt idx="394">
                  <c:v>3.2661622880613295</c:v>
                </c:pt>
                <c:pt idx="395">
                  <c:v>3.4107672646097291</c:v>
                </c:pt>
                <c:pt idx="396">
                  <c:v>3.5378089199422558</c:v>
                </c:pt>
                <c:pt idx="397">
                  <c:v>3.5519138438344733</c:v>
                </c:pt>
                <c:pt idx="398">
                  <c:v>3.5669298431209904</c:v>
                </c:pt>
                <c:pt idx="399">
                  <c:v>3.5330947653140661</c:v>
                </c:pt>
                <c:pt idx="400">
                  <c:v>3.6960681189921121</c:v>
                </c:pt>
                <c:pt idx="401">
                  <c:v>3.6960681189921121</c:v>
                </c:pt>
                <c:pt idx="402">
                  <c:v>3.7101909979648373</c:v>
                </c:pt>
                <c:pt idx="403">
                  <c:v>3.7594325812991163</c:v>
                </c:pt>
                <c:pt idx="404">
                  <c:v>3.7132877274898095</c:v>
                </c:pt>
                <c:pt idx="405">
                  <c:v>3.6358685660905095</c:v>
                </c:pt>
                <c:pt idx="406">
                  <c:v>3.5475424551743377</c:v>
                </c:pt>
                <c:pt idx="407">
                  <c:v>3.6459708512652513</c:v>
                </c:pt>
                <c:pt idx="408">
                  <c:v>3.7736229124089062</c:v>
                </c:pt>
                <c:pt idx="409">
                  <c:v>3.7368928023281525</c:v>
                </c:pt>
                <c:pt idx="410">
                  <c:v>3.7850279763311114</c:v>
                </c:pt>
                <c:pt idx="411">
                  <c:v>3.6923344016127979</c:v>
                </c:pt>
                <c:pt idx="412">
                  <c:v>3.605391875332367</c:v>
                </c:pt>
                <c:pt idx="413">
                  <c:v>3.5501335574682353</c:v>
                </c:pt>
                <c:pt idx="414">
                  <c:v>3.3952299195925675</c:v>
                </c:pt>
                <c:pt idx="415">
                  <c:v>3.3500729105121159</c:v>
                </c:pt>
                <c:pt idx="416">
                  <c:v>3.3500729105121163</c:v>
                </c:pt>
                <c:pt idx="417">
                  <c:v>3.4374542839175311</c:v>
                </c:pt>
                <c:pt idx="418">
                  <c:v>3.3185303491396492</c:v>
                </c:pt>
                <c:pt idx="419">
                  <c:v>3.3185303491396492</c:v>
                </c:pt>
                <c:pt idx="420">
                  <c:v>3.3392476267332558</c:v>
                </c:pt>
                <c:pt idx="421">
                  <c:v>3.2851109605291127</c:v>
                </c:pt>
                <c:pt idx="422">
                  <c:v>3.2414343355564275</c:v>
                </c:pt>
                <c:pt idx="423">
                  <c:v>3.1478874507038612</c:v>
                </c:pt>
                <c:pt idx="424">
                  <c:v>3.1176177170854453</c:v>
                </c:pt>
                <c:pt idx="425">
                  <c:v>3.0399637021426469</c:v>
                </c:pt>
                <c:pt idx="426">
                  <c:v>3.075487065434543</c:v>
                </c:pt>
                <c:pt idx="427">
                  <c:v>3.1259021686252582</c:v>
                </c:pt>
                <c:pt idx="428">
                  <c:v>3.1347147847306922</c:v>
                </c:pt>
                <c:pt idx="429">
                  <c:v>3.1832897030168859</c:v>
                </c:pt>
                <c:pt idx="430">
                  <c:v>3.0931886609054451</c:v>
                </c:pt>
                <c:pt idx="431">
                  <c:v>2.9767296720108596</c:v>
                </c:pt>
                <c:pt idx="432">
                  <c:v>2.97672967201086</c:v>
                </c:pt>
                <c:pt idx="433">
                  <c:v>2.8809720581775866</c:v>
                </c:pt>
                <c:pt idx="434">
                  <c:v>2.8494806947731823</c:v>
                </c:pt>
                <c:pt idx="435">
                  <c:v>2.9844424188990715</c:v>
                </c:pt>
                <c:pt idx="436">
                  <c:v>2.9767296720108605</c:v>
                </c:pt>
                <c:pt idx="437">
                  <c:v>2.9400132926433407</c:v>
                </c:pt>
                <c:pt idx="438">
                  <c:v>2.9400132926433407</c:v>
                </c:pt>
                <c:pt idx="439">
                  <c:v>2.8945052978946553</c:v>
                </c:pt>
                <c:pt idx="440">
                  <c:v>2.9790455927491548</c:v>
                </c:pt>
                <c:pt idx="441">
                  <c:v>2.8705800607294467</c:v>
                </c:pt>
                <c:pt idx="442">
                  <c:v>2.8849590128365992</c:v>
                </c:pt>
                <c:pt idx="443">
                  <c:v>2.889736097404688</c:v>
                </c:pt>
                <c:pt idx="444">
                  <c:v>2.8689779509014386</c:v>
                </c:pt>
                <c:pt idx="445">
                  <c:v>2.9651229355607671</c:v>
                </c:pt>
                <c:pt idx="446">
                  <c:v>2.8849590128365992</c:v>
                </c:pt>
                <c:pt idx="447">
                  <c:v>2.8373534698101466</c:v>
                </c:pt>
                <c:pt idx="448">
                  <c:v>2.881570453045017</c:v>
                </c:pt>
                <c:pt idx="449">
                  <c:v>2.8815704530450166</c:v>
                </c:pt>
                <c:pt idx="450">
                  <c:v>2.887945616707051</c:v>
                </c:pt>
                <c:pt idx="451">
                  <c:v>2.97518472332913</c:v>
                </c:pt>
                <c:pt idx="452">
                  <c:v>2.9796242916750817</c:v>
                </c:pt>
                <c:pt idx="453">
                  <c:v>3.0589984086899777</c:v>
                </c:pt>
                <c:pt idx="454">
                  <c:v>3.0680032069997769</c:v>
                </c:pt>
                <c:pt idx="455">
                  <c:v>2.9952068989998155</c:v>
                </c:pt>
                <c:pt idx="456">
                  <c:v>2.7618085029372605</c:v>
                </c:pt>
                <c:pt idx="457">
                  <c:v>2.9135040324541235</c:v>
                </c:pt>
                <c:pt idx="458">
                  <c:v>3.0392073981871324</c:v>
                </c:pt>
                <c:pt idx="459">
                  <c:v>2.8518999514943251</c:v>
                </c:pt>
                <c:pt idx="460">
                  <c:v>2.8809720581775866</c:v>
                </c:pt>
                <c:pt idx="461">
                  <c:v>2.8809720581775871</c:v>
                </c:pt>
                <c:pt idx="462">
                  <c:v>2.8615565252369968</c:v>
                </c:pt>
                <c:pt idx="463">
                  <c:v>2.9534705865721982</c:v>
                </c:pt>
                <c:pt idx="464">
                  <c:v>2.9048117037912733</c:v>
                </c:pt>
                <c:pt idx="465">
                  <c:v>2.9016444010052398</c:v>
                </c:pt>
                <c:pt idx="466">
                  <c:v>2.9093586606143891</c:v>
                </c:pt>
                <c:pt idx="467">
                  <c:v>2.9633780041368833</c:v>
                </c:pt>
                <c:pt idx="468">
                  <c:v>2.9633780041368833</c:v>
                </c:pt>
                <c:pt idx="469">
                  <c:v>2.9633780041368833</c:v>
                </c:pt>
                <c:pt idx="470">
                  <c:v>2.8496823779453764</c:v>
                </c:pt>
                <c:pt idx="471">
                  <c:v>2.9495762407505257</c:v>
                </c:pt>
                <c:pt idx="472">
                  <c:v>3.0567430642629314</c:v>
                </c:pt>
                <c:pt idx="473">
                  <c:v>3.1222229039690559</c:v>
                </c:pt>
                <c:pt idx="474">
                  <c:v>3.1222229039690559</c:v>
                </c:pt>
                <c:pt idx="475">
                  <c:v>3.0295479728072023</c:v>
                </c:pt>
                <c:pt idx="476">
                  <c:v>3.0295479728072028</c:v>
                </c:pt>
                <c:pt idx="477">
                  <c:v>3.0217601630107276</c:v>
                </c:pt>
                <c:pt idx="478">
                  <c:v>2.955804731235709</c:v>
                </c:pt>
                <c:pt idx="479">
                  <c:v>2.9882913274095722</c:v>
                </c:pt>
                <c:pt idx="480">
                  <c:v>3.0595619850282301</c:v>
                </c:pt>
                <c:pt idx="481">
                  <c:v>3.0323921743156137</c:v>
                </c:pt>
                <c:pt idx="482">
                  <c:v>3.1486176496120128</c:v>
                </c:pt>
                <c:pt idx="483">
                  <c:v>3.1139286639449426</c:v>
                </c:pt>
                <c:pt idx="484">
                  <c:v>3.002106540108282</c:v>
                </c:pt>
                <c:pt idx="485">
                  <c:v>3.002106540108282</c:v>
                </c:pt>
                <c:pt idx="486">
                  <c:v>2.965122935560768</c:v>
                </c:pt>
                <c:pt idx="487">
                  <c:v>2.9093586606143886</c:v>
                </c:pt>
                <c:pt idx="488">
                  <c:v>2.8424127682002118</c:v>
                </c:pt>
                <c:pt idx="489">
                  <c:v>2.8424127682002118</c:v>
                </c:pt>
                <c:pt idx="490">
                  <c:v>2.9819379643092012</c:v>
                </c:pt>
                <c:pt idx="491">
                  <c:v>2.9651229355607671</c:v>
                </c:pt>
                <c:pt idx="492">
                  <c:v>2.9942473580817115</c:v>
                </c:pt>
                <c:pt idx="493">
                  <c:v>2.9749915483314697</c:v>
                </c:pt>
                <c:pt idx="494">
                  <c:v>2.9896372747346396</c:v>
                </c:pt>
                <c:pt idx="495">
                  <c:v>3.0708117912811361</c:v>
                </c:pt>
                <c:pt idx="496">
                  <c:v>3.0680032069997778</c:v>
                </c:pt>
                <c:pt idx="497">
                  <c:v>3.2000359193386365</c:v>
                </c:pt>
                <c:pt idx="498">
                  <c:v>3.0369373562434778</c:v>
                </c:pt>
                <c:pt idx="499">
                  <c:v>3.0340974154494083</c:v>
                </c:pt>
                <c:pt idx="500">
                  <c:v>3.0708117912811361</c:v>
                </c:pt>
                <c:pt idx="501">
                  <c:v>3.0126171460983087</c:v>
                </c:pt>
                <c:pt idx="502">
                  <c:v>3.0126171460983087</c:v>
                </c:pt>
                <c:pt idx="503">
                  <c:v>2.9633780041368833</c:v>
                </c:pt>
                <c:pt idx="504">
                  <c:v>2.9470421563432669</c:v>
                </c:pt>
                <c:pt idx="505">
                  <c:v>2.9911747586494517</c:v>
                </c:pt>
                <c:pt idx="506">
                  <c:v>2.916461404928373</c:v>
                </c:pt>
                <c:pt idx="507">
                  <c:v>2.916461404928373</c:v>
                </c:pt>
                <c:pt idx="508">
                  <c:v>2.916461404928373</c:v>
                </c:pt>
                <c:pt idx="509">
                  <c:v>2.8905315106037341</c:v>
                </c:pt>
                <c:pt idx="510">
                  <c:v>2.8343135559308421</c:v>
                </c:pt>
                <c:pt idx="511">
                  <c:v>2.8488755595889033</c:v>
                </c:pt>
                <c:pt idx="512">
                  <c:v>2.7503395819592811</c:v>
                </c:pt>
                <c:pt idx="513">
                  <c:v>2.788523277465246</c:v>
                </c:pt>
                <c:pt idx="514">
                  <c:v>2.8235463150271594</c:v>
                </c:pt>
                <c:pt idx="515">
                  <c:v>2.7628487713469467</c:v>
                </c:pt>
                <c:pt idx="516">
                  <c:v>2.943139304470185</c:v>
                </c:pt>
                <c:pt idx="517">
                  <c:v>2.9680288749098862</c:v>
                </c:pt>
                <c:pt idx="518">
                  <c:v>3.0189059447833548</c:v>
                </c:pt>
                <c:pt idx="519">
                  <c:v>3.0278401694861681</c:v>
                </c:pt>
                <c:pt idx="520">
                  <c:v>2.8326909346122604</c:v>
                </c:pt>
                <c:pt idx="521">
                  <c:v>2.881570453045017</c:v>
                </c:pt>
                <c:pt idx="522">
                  <c:v>2.9323796777894642</c:v>
                </c:pt>
                <c:pt idx="523">
                  <c:v>2.944701065951532</c:v>
                </c:pt>
                <c:pt idx="524">
                  <c:v>2.944701065951532</c:v>
                </c:pt>
                <c:pt idx="525">
                  <c:v>2.944701065951532</c:v>
                </c:pt>
                <c:pt idx="526">
                  <c:v>3.0670664407091244</c:v>
                </c:pt>
                <c:pt idx="527">
                  <c:v>2.9798171663421877</c:v>
                </c:pt>
                <c:pt idx="528">
                  <c:v>3.0454412888246853</c:v>
                </c:pt>
                <c:pt idx="529">
                  <c:v>3.1043166090454437</c:v>
                </c:pt>
                <c:pt idx="530">
                  <c:v>3.2000359193386365</c:v>
                </c:pt>
                <c:pt idx="531">
                  <c:v>3.2898310755640825</c:v>
                </c:pt>
                <c:pt idx="532">
                  <c:v>3.1905031491643427</c:v>
                </c:pt>
                <c:pt idx="533">
                  <c:v>3.1266375020084305</c:v>
                </c:pt>
                <c:pt idx="534">
                  <c:v>3.1579128856102807</c:v>
                </c:pt>
                <c:pt idx="535">
                  <c:v>3.0931886609054451</c:v>
                </c:pt>
                <c:pt idx="536">
                  <c:v>3.2000359193386361</c:v>
                </c:pt>
                <c:pt idx="537">
                  <c:v>3.2348675113661072</c:v>
                </c:pt>
                <c:pt idx="538">
                  <c:v>3.2976829204273361</c:v>
                </c:pt>
                <c:pt idx="539">
                  <c:v>3.4275757996095382</c:v>
                </c:pt>
                <c:pt idx="540">
                  <c:v>3.5272339460751434</c:v>
                </c:pt>
                <c:pt idx="541">
                  <c:v>3.5084462946294122</c:v>
                </c:pt>
                <c:pt idx="542">
                  <c:v>3.580920064138144</c:v>
                </c:pt>
                <c:pt idx="543">
                  <c:v>3.6773616229230335</c:v>
                </c:pt>
                <c:pt idx="544">
                  <c:v>3.6547874444853585</c:v>
                </c:pt>
                <c:pt idx="545">
                  <c:v>3.6426591272367741</c:v>
                </c:pt>
                <c:pt idx="546">
                  <c:v>3.5402448126271331</c:v>
                </c:pt>
                <c:pt idx="547">
                  <c:v>3.5977323637146137</c:v>
                </c:pt>
                <c:pt idx="548">
                  <c:v>3.5977323637146141</c:v>
                </c:pt>
                <c:pt idx="549">
                  <c:v>3.7046103615676618</c:v>
                </c:pt>
                <c:pt idx="550">
                  <c:v>3.81542543687697</c:v>
                </c:pt>
                <c:pt idx="551">
                  <c:v>3.8393007026094574</c:v>
                </c:pt>
                <c:pt idx="552">
                  <c:v>3.8200920732720394</c:v>
                </c:pt>
                <c:pt idx="553">
                  <c:v>3.7295033720723265</c:v>
                </c:pt>
                <c:pt idx="554">
                  <c:v>3.8536443417424597</c:v>
                </c:pt>
                <c:pt idx="555">
                  <c:v>3.7663055467213984</c:v>
                </c:pt>
                <c:pt idx="556">
                  <c:v>3.6358685660905095</c:v>
                </c:pt>
                <c:pt idx="557">
                  <c:v>3.5977323637146137</c:v>
                </c:pt>
                <c:pt idx="558">
                  <c:v>3.530491157911595</c:v>
                </c:pt>
                <c:pt idx="559">
                  <c:v>3.4874158004914242</c:v>
                </c:pt>
                <c:pt idx="560">
                  <c:v>3.4006422652334303</c:v>
                </c:pt>
                <c:pt idx="561">
                  <c:v>3.4073956077312491</c:v>
                </c:pt>
                <c:pt idx="562">
                  <c:v>3.4046958781936025</c:v>
                </c:pt>
                <c:pt idx="563">
                  <c:v>3.4213662660458874</c:v>
                </c:pt>
                <c:pt idx="564">
                  <c:v>3.4240528516707336</c:v>
                </c:pt>
                <c:pt idx="565">
                  <c:v>3.4972895909201771</c:v>
                </c:pt>
                <c:pt idx="566">
                  <c:v>3.4255631301467333</c:v>
                </c:pt>
                <c:pt idx="567">
                  <c:v>3.5182610647222066</c:v>
                </c:pt>
                <c:pt idx="568">
                  <c:v>3.4349454980701868</c:v>
                </c:pt>
                <c:pt idx="569">
                  <c:v>3.3495582141358677</c:v>
                </c:pt>
                <c:pt idx="570">
                  <c:v>3.2483417520222582</c:v>
                </c:pt>
                <c:pt idx="571">
                  <c:v>3.2745974570543974</c:v>
                </c:pt>
                <c:pt idx="572">
                  <c:v>3.2377088536015179</c:v>
                </c:pt>
                <c:pt idx="573">
                  <c:v>3.1148513368337043</c:v>
                </c:pt>
                <c:pt idx="574">
                  <c:v>3.1413080224572094</c:v>
                </c:pt>
                <c:pt idx="575">
                  <c:v>3.1747929609389627</c:v>
                </c:pt>
                <c:pt idx="576">
                  <c:v>3.1440511241492826</c:v>
                </c:pt>
                <c:pt idx="577">
                  <c:v>3.0670664407091244</c:v>
                </c:pt>
                <c:pt idx="578">
                  <c:v>3.0249916880288574</c:v>
                </c:pt>
                <c:pt idx="579">
                  <c:v>2.9417720830318825</c:v>
                </c:pt>
                <c:pt idx="580">
                  <c:v>2.7959330069424668</c:v>
                </c:pt>
                <c:pt idx="581">
                  <c:v>2.7659672291340827</c:v>
                </c:pt>
                <c:pt idx="582">
                  <c:v>2.6909811055347133</c:v>
                </c:pt>
                <c:pt idx="583">
                  <c:v>2.6909811055347133</c:v>
                </c:pt>
                <c:pt idx="584">
                  <c:v>2.5289132643984793</c:v>
                </c:pt>
                <c:pt idx="585">
                  <c:v>2.5325467623418674</c:v>
                </c:pt>
                <c:pt idx="586">
                  <c:v>2.6307203681068829</c:v>
                </c:pt>
                <c:pt idx="587">
                  <c:v>2.6643668243529532</c:v>
                </c:pt>
                <c:pt idx="588">
                  <c:v>2.7156422156974509</c:v>
                </c:pt>
                <c:pt idx="589">
                  <c:v>2.6952491194863515</c:v>
                </c:pt>
                <c:pt idx="590">
                  <c:v>2.6971675223608487</c:v>
                </c:pt>
                <c:pt idx="591">
                  <c:v>2.6643668243529532</c:v>
                </c:pt>
                <c:pt idx="592">
                  <c:v>2.7131014614698588</c:v>
                </c:pt>
                <c:pt idx="593">
                  <c:v>2.7907894487270868</c:v>
                </c:pt>
                <c:pt idx="594">
                  <c:v>2.7678366173294773</c:v>
                </c:pt>
                <c:pt idx="595">
                  <c:v>2.6986586706528222</c:v>
                </c:pt>
                <c:pt idx="596">
                  <c:v>2.6617771265198682</c:v>
                </c:pt>
                <c:pt idx="597">
                  <c:v>2.7003618318641123</c:v>
                </c:pt>
                <c:pt idx="598">
                  <c:v>2.8424127682002114</c:v>
                </c:pt>
                <c:pt idx="599">
                  <c:v>2.8424127682002114</c:v>
                </c:pt>
                <c:pt idx="600">
                  <c:v>2.928457284811496</c:v>
                </c:pt>
                <c:pt idx="601">
                  <c:v>2.9680288749098871</c:v>
                </c:pt>
                <c:pt idx="602">
                  <c:v>2.9243331099467849</c:v>
                </c:pt>
                <c:pt idx="603">
                  <c:v>2.9243331099467849</c:v>
                </c:pt>
                <c:pt idx="604">
                  <c:v>2.9211869733608857</c:v>
                </c:pt>
                <c:pt idx="605">
                  <c:v>2.8929164379984051</c:v>
                </c:pt>
                <c:pt idx="606">
                  <c:v>2.9980836791401333</c:v>
                </c:pt>
                <c:pt idx="607">
                  <c:v>3.0363695805822215</c:v>
                </c:pt>
                <c:pt idx="608">
                  <c:v>2.978080844644984</c:v>
                </c:pt>
                <c:pt idx="609">
                  <c:v>3.0026807945605851</c:v>
                </c:pt>
                <c:pt idx="610">
                  <c:v>2.9882913274095722</c:v>
                </c:pt>
                <c:pt idx="611">
                  <c:v>2.9563879794535546</c:v>
                </c:pt>
                <c:pt idx="612">
                  <c:v>2.899861272940286</c:v>
                </c:pt>
                <c:pt idx="613">
                  <c:v>2.8705800607294463</c:v>
                </c:pt>
                <c:pt idx="614">
                  <c:v>2.8719811736968208</c:v>
                </c:pt>
                <c:pt idx="615">
                  <c:v>2.8849590128365996</c:v>
                </c:pt>
                <c:pt idx="616">
                  <c:v>2.7659672291340844</c:v>
                </c:pt>
                <c:pt idx="617">
                  <c:v>2.8211027435481975</c:v>
                </c:pt>
                <c:pt idx="618">
                  <c:v>2.8123291774432895</c:v>
                </c:pt>
                <c:pt idx="619">
                  <c:v>2.8123291774432895</c:v>
                </c:pt>
                <c:pt idx="620">
                  <c:v>2.8373534698101461</c:v>
                </c:pt>
                <c:pt idx="621">
                  <c:v>2.6175798245576067</c:v>
                </c:pt>
                <c:pt idx="622">
                  <c:v>2.6120850877693704</c:v>
                </c:pt>
                <c:pt idx="623">
                  <c:v>2.3510819226255295</c:v>
                </c:pt>
                <c:pt idx="624">
                  <c:v>2.3576727274274467</c:v>
                </c:pt>
                <c:pt idx="625">
                  <c:v>2.4030631792939103</c:v>
                </c:pt>
                <c:pt idx="626">
                  <c:v>2.3588912259983403</c:v>
                </c:pt>
                <c:pt idx="627">
                  <c:v>1.9181528470973292</c:v>
                </c:pt>
                <c:pt idx="628">
                  <c:v>1.9181528470973292</c:v>
                </c:pt>
                <c:pt idx="629">
                  <c:v>1.925031720891057</c:v>
                </c:pt>
                <c:pt idx="630">
                  <c:v>1.4367908045682762</c:v>
                </c:pt>
                <c:pt idx="631">
                  <c:v>1.4367908045682762</c:v>
                </c:pt>
                <c:pt idx="632">
                  <c:v>1.234094204567515</c:v>
                </c:pt>
                <c:pt idx="633">
                  <c:v>1.222866427231762</c:v>
                </c:pt>
                <c:pt idx="634">
                  <c:v>1.2015315896469556</c:v>
                </c:pt>
                <c:pt idx="635">
                  <c:v>1.1841869998335202</c:v>
                </c:pt>
                <c:pt idx="636">
                  <c:v>1.1426929274467317</c:v>
                </c:pt>
                <c:pt idx="637">
                  <c:v>1.1841869998335202</c:v>
                </c:pt>
                <c:pt idx="638">
                  <c:v>1.1591713250937243</c:v>
                </c:pt>
                <c:pt idx="639">
                  <c:v>1.1591713250937243</c:v>
                </c:pt>
                <c:pt idx="640">
                  <c:v>1.1325893433586842</c:v>
                </c:pt>
                <c:pt idx="641">
                  <c:v>1.1665845619713491</c:v>
                </c:pt>
                <c:pt idx="642">
                  <c:v>1.1651056880677462</c:v>
                </c:pt>
                <c:pt idx="643">
                  <c:v>1.1290317283753195</c:v>
                </c:pt>
                <c:pt idx="644">
                  <c:v>1.0875470659652646</c:v>
                </c:pt>
                <c:pt idx="645">
                  <c:v>1.0806553992619585</c:v>
                </c:pt>
                <c:pt idx="646">
                  <c:v>1.0613372610104652</c:v>
                </c:pt>
                <c:pt idx="647">
                  <c:v>1.8815498624956692</c:v>
                </c:pt>
                <c:pt idx="648">
                  <c:v>1.9640446187314118</c:v>
                </c:pt>
                <c:pt idx="649">
                  <c:v>2.0014362658942657</c:v>
                </c:pt>
                <c:pt idx="650">
                  <c:v>2.0758601596203081</c:v>
                </c:pt>
                <c:pt idx="651">
                  <c:v>2.0758601596203081</c:v>
                </c:pt>
                <c:pt idx="652">
                  <c:v>2.5379872557490959</c:v>
                </c:pt>
                <c:pt idx="653">
                  <c:v>2.8245638458955447</c:v>
                </c:pt>
                <c:pt idx="654">
                  <c:v>2.8478667152074038</c:v>
                </c:pt>
                <c:pt idx="655">
                  <c:v>2.8131464774249273</c:v>
                </c:pt>
                <c:pt idx="656">
                  <c:v>2.8131464774249273</c:v>
                </c:pt>
                <c:pt idx="657">
                  <c:v>2.7742659793426316</c:v>
                </c:pt>
                <c:pt idx="658">
                  <c:v>2.8416038857796773</c:v>
                </c:pt>
                <c:pt idx="659">
                  <c:v>2.9942473580817115</c:v>
                </c:pt>
                <c:pt idx="660">
                  <c:v>3.130311577896463</c:v>
                </c:pt>
                <c:pt idx="661">
                  <c:v>3.1037611591959413</c:v>
                </c:pt>
                <c:pt idx="662">
                  <c:v>3.1037611591959413</c:v>
                </c:pt>
                <c:pt idx="663">
                  <c:v>3.1139286639449422</c:v>
                </c:pt>
                <c:pt idx="664">
                  <c:v>3.1374636509319971</c:v>
                </c:pt>
                <c:pt idx="665">
                  <c:v>3.1015383650512947</c:v>
                </c:pt>
                <c:pt idx="666">
                  <c:v>3.0866788311867741</c:v>
                </c:pt>
                <c:pt idx="667">
                  <c:v>3.0618152530285303</c:v>
                </c:pt>
                <c:pt idx="668">
                  <c:v>3.0618152530285303</c:v>
                </c:pt>
                <c:pt idx="669">
                  <c:v>3.022710970171544</c:v>
                </c:pt>
                <c:pt idx="670">
                  <c:v>3.022710970171544</c:v>
                </c:pt>
                <c:pt idx="671">
                  <c:v>3.1200132625712818</c:v>
                </c:pt>
                <c:pt idx="672">
                  <c:v>3.1784113721440646</c:v>
                </c:pt>
                <c:pt idx="673">
                  <c:v>3.1985988311694578</c:v>
                </c:pt>
                <c:pt idx="674">
                  <c:v>3.1593684804723705</c:v>
                </c:pt>
                <c:pt idx="675">
                  <c:v>3.0618152530285312</c:v>
                </c:pt>
                <c:pt idx="676">
                  <c:v>3.0709989389054861</c:v>
                </c:pt>
                <c:pt idx="677">
                  <c:v>3.0255615988615636</c:v>
                </c:pt>
                <c:pt idx="678">
                  <c:v>3.1347147847306931</c:v>
                </c:pt>
                <c:pt idx="679">
                  <c:v>3.1286587776755779</c:v>
                </c:pt>
                <c:pt idx="680">
                  <c:v>3.2200878120388854</c:v>
                </c:pt>
                <c:pt idx="681">
                  <c:v>3.1396610110596042</c:v>
                </c:pt>
                <c:pt idx="682">
                  <c:v>3.0970879908372804</c:v>
                </c:pt>
                <c:pt idx="683">
                  <c:v>3.1588227110017155</c:v>
                </c:pt>
                <c:pt idx="684">
                  <c:v>3.0209993018220298</c:v>
                </c:pt>
                <c:pt idx="685">
                  <c:v>3.158822711001716</c:v>
                </c:pt>
                <c:pt idx="686">
                  <c:v>3.1015383650512947</c:v>
                </c:pt>
                <c:pt idx="687">
                  <c:v>3.1593684804723705</c:v>
                </c:pt>
                <c:pt idx="688">
                  <c:v>3.1941037632761269</c:v>
                </c:pt>
                <c:pt idx="689">
                  <c:v>3.2348675113661067</c:v>
                </c:pt>
                <c:pt idx="690">
                  <c:v>3.2021903423290978</c:v>
                </c:pt>
                <c:pt idx="691">
                  <c:v>3.2745974570543974</c:v>
                </c:pt>
                <c:pt idx="692">
                  <c:v>3.2562936409147856</c:v>
                </c:pt>
                <c:pt idx="693">
                  <c:v>3.28720962617792</c:v>
                </c:pt>
                <c:pt idx="694">
                  <c:v>3.3459531226319617</c:v>
                </c:pt>
                <c:pt idx="695">
                  <c:v>3.3459531226319617</c:v>
                </c:pt>
                <c:pt idx="696">
                  <c:v>3.4912040540659364</c:v>
                </c:pt>
                <c:pt idx="697">
                  <c:v>3.5095927654516195</c:v>
                </c:pt>
                <c:pt idx="698">
                  <c:v>3.4516362936219505</c:v>
                </c:pt>
                <c:pt idx="699">
                  <c:v>3.3474986372568964</c:v>
                </c:pt>
                <c:pt idx="700">
                  <c:v>3.3666723568860526</c:v>
                </c:pt>
                <c:pt idx="701">
                  <c:v>3.2767028564084661</c:v>
                </c:pt>
                <c:pt idx="702">
                  <c:v>3.1876197295521127</c:v>
                </c:pt>
                <c:pt idx="703">
                  <c:v>3.1259021686252586</c:v>
                </c:pt>
                <c:pt idx="704">
                  <c:v>3.0933744547405473</c:v>
                </c:pt>
                <c:pt idx="705">
                  <c:v>3.124982758573128</c:v>
                </c:pt>
                <c:pt idx="706">
                  <c:v>3.0917019082788646</c:v>
                </c:pt>
                <c:pt idx="707">
                  <c:v>3.0747394992918911</c:v>
                </c:pt>
                <c:pt idx="708">
                  <c:v>2.9361010975735176</c:v>
                </c:pt>
                <c:pt idx="709">
                  <c:v>2.9117281671784245</c:v>
                </c:pt>
                <c:pt idx="710">
                  <c:v>2.7957274463049839</c:v>
                </c:pt>
                <c:pt idx="711">
                  <c:v>2.9323796777894642</c:v>
                </c:pt>
                <c:pt idx="712">
                  <c:v>2.9703515794846784</c:v>
                </c:pt>
                <c:pt idx="713">
                  <c:v>2.897482061868645</c:v>
                </c:pt>
                <c:pt idx="714">
                  <c:v>3.022710970171544</c:v>
                </c:pt>
                <c:pt idx="715">
                  <c:v>2.9517187667799445</c:v>
                </c:pt>
                <c:pt idx="716">
                  <c:v>3.1006117305216194</c:v>
                </c:pt>
                <c:pt idx="717">
                  <c:v>2.9867523591975975</c:v>
                </c:pt>
                <c:pt idx="718">
                  <c:v>3.0164301043970241</c:v>
                </c:pt>
                <c:pt idx="719">
                  <c:v>3.041664698472045</c:v>
                </c:pt>
                <c:pt idx="720">
                  <c:v>3.1919438822019468</c:v>
                </c:pt>
                <c:pt idx="721">
                  <c:v>3.1688135493185507</c:v>
                </c:pt>
                <c:pt idx="722">
                  <c:v>3.1549996812211796</c:v>
                </c:pt>
                <c:pt idx="723">
                  <c:v>3.1413080224572094</c:v>
                </c:pt>
                <c:pt idx="724">
                  <c:v>3.0625659739551057</c:v>
                </c:pt>
                <c:pt idx="725">
                  <c:v>3.0792221737643906</c:v>
                </c:pt>
                <c:pt idx="726">
                  <c:v>2.9882913274095722</c:v>
                </c:pt>
                <c:pt idx="727">
                  <c:v>2.9635719361422042</c:v>
                </c:pt>
                <c:pt idx="728">
                  <c:v>2.9635719361422042</c:v>
                </c:pt>
                <c:pt idx="729">
                  <c:v>2.9703515794846789</c:v>
                </c:pt>
                <c:pt idx="730">
                  <c:v>2.8464537323790648</c:v>
                </c:pt>
                <c:pt idx="731">
                  <c:v>2.8397830579274803</c:v>
                </c:pt>
                <c:pt idx="732">
                  <c:v>2.8332995265055452</c:v>
                </c:pt>
                <c:pt idx="733">
                  <c:v>2.8245638458955442</c:v>
                </c:pt>
                <c:pt idx="734">
                  <c:v>2.97518472332913</c:v>
                </c:pt>
                <c:pt idx="735">
                  <c:v>3.0680032069997769</c:v>
                </c:pt>
                <c:pt idx="736">
                  <c:v>3.0505322693649344</c:v>
                </c:pt>
                <c:pt idx="737">
                  <c:v>2.9988503544318208</c:v>
                </c:pt>
                <c:pt idx="738">
                  <c:v>3.0552385763833056</c:v>
                </c:pt>
                <c:pt idx="739">
                  <c:v>3.0595619850282305</c:v>
                </c:pt>
                <c:pt idx="740">
                  <c:v>3.079222173764391</c:v>
                </c:pt>
                <c:pt idx="741">
                  <c:v>2.9703515794846802</c:v>
                </c:pt>
                <c:pt idx="742">
                  <c:v>2.9519134647628604</c:v>
                </c:pt>
                <c:pt idx="743">
                  <c:v>2.9353180328582766</c:v>
                </c:pt>
                <c:pt idx="744">
                  <c:v>2.7841918285080554</c:v>
                </c:pt>
                <c:pt idx="745">
                  <c:v>2.7841918285080562</c:v>
                </c:pt>
                <c:pt idx="746">
                  <c:v>2.6076809620810599</c:v>
                </c:pt>
                <c:pt idx="747">
                  <c:v>2.5928726358514265</c:v>
                </c:pt>
                <c:pt idx="748">
                  <c:v>2.5944237284527412</c:v>
                </c:pt>
                <c:pt idx="749">
                  <c:v>2.5289132643984789</c:v>
                </c:pt>
                <c:pt idx="750">
                  <c:v>2.3242845889810293</c:v>
                </c:pt>
                <c:pt idx="751">
                  <c:v>2.3242845889810293</c:v>
                </c:pt>
                <c:pt idx="752">
                  <c:v>2.4737704480984197</c:v>
                </c:pt>
                <c:pt idx="753">
                  <c:v>2.5042492623171708</c:v>
                </c:pt>
                <c:pt idx="754">
                  <c:v>2.515240899319426</c:v>
                </c:pt>
                <c:pt idx="755">
                  <c:v>2.463527048205759</c:v>
                </c:pt>
                <c:pt idx="756">
                  <c:v>2.413801313614937</c:v>
                </c:pt>
                <c:pt idx="757">
                  <c:v>2.4646932149211107</c:v>
                </c:pt>
                <c:pt idx="758">
                  <c:v>2.4876707473310122</c:v>
                </c:pt>
                <c:pt idx="759">
                  <c:v>2.5721765013355884</c:v>
                </c:pt>
                <c:pt idx="760">
                  <c:v>2.6663074470696078</c:v>
                </c:pt>
                <c:pt idx="761">
                  <c:v>2.7659672291340831</c:v>
                </c:pt>
                <c:pt idx="762">
                  <c:v>2.7534722071236346</c:v>
                </c:pt>
                <c:pt idx="763">
                  <c:v>2.8245638458955447</c:v>
                </c:pt>
                <c:pt idx="764">
                  <c:v>2.8088529994312252</c:v>
                </c:pt>
                <c:pt idx="765">
                  <c:v>2.7209278336372811</c:v>
                </c:pt>
                <c:pt idx="766">
                  <c:v>2.7792333351186049</c:v>
                </c:pt>
                <c:pt idx="767">
                  <c:v>2.9253155837221763</c:v>
                </c:pt>
                <c:pt idx="768">
                  <c:v>2.8879456167070514</c:v>
                </c:pt>
                <c:pt idx="769">
                  <c:v>2.9370796348769974</c:v>
                </c:pt>
                <c:pt idx="770">
                  <c:v>3.0931886609054451</c:v>
                </c:pt>
                <c:pt idx="771">
                  <c:v>3.2640500897666604</c:v>
                </c:pt>
                <c:pt idx="772">
                  <c:v>3.2263284709246292</c:v>
                </c:pt>
                <c:pt idx="773">
                  <c:v>3.3190498571161879</c:v>
                </c:pt>
                <c:pt idx="774">
                  <c:v>3.4733798836424383</c:v>
                </c:pt>
                <c:pt idx="775">
                  <c:v>3.568862789348366</c:v>
                </c:pt>
                <c:pt idx="776">
                  <c:v>3.6212971575732751</c:v>
                </c:pt>
                <c:pt idx="777">
                  <c:v>3.6679725992032362</c:v>
                </c:pt>
                <c:pt idx="778">
                  <c:v>3.7114299998353952</c:v>
                </c:pt>
                <c:pt idx="779">
                  <c:v>3.7245689405760034</c:v>
                </c:pt>
                <c:pt idx="780">
                  <c:v>3.7355083975953995</c:v>
                </c:pt>
                <c:pt idx="781">
                  <c:v>3.6728265916612224</c:v>
                </c:pt>
                <c:pt idx="782">
                  <c:v>3.6585594803507524</c:v>
                </c:pt>
                <c:pt idx="783">
                  <c:v>3.573368931028726</c:v>
                </c:pt>
                <c:pt idx="784">
                  <c:v>3.6096932082202313</c:v>
                </c:pt>
                <c:pt idx="785">
                  <c:v>3.5969335599205556</c:v>
                </c:pt>
                <c:pt idx="786">
                  <c:v>3.584769827010331</c:v>
                </c:pt>
                <c:pt idx="787">
                  <c:v>3.4912040540659364</c:v>
                </c:pt>
                <c:pt idx="788">
                  <c:v>3.5182610647222061</c:v>
                </c:pt>
                <c:pt idx="789">
                  <c:v>3.4832934606968355</c:v>
                </c:pt>
                <c:pt idx="790">
                  <c:v>3.3397639120910538</c:v>
                </c:pt>
                <c:pt idx="791">
                  <c:v>3.3624019876327678</c:v>
                </c:pt>
                <c:pt idx="792">
                  <c:v>3.2661622880613308</c:v>
                </c:pt>
                <c:pt idx="793">
                  <c:v>3.1015383650512951</c:v>
                </c:pt>
                <c:pt idx="794">
                  <c:v>3.2547048173798907</c:v>
                </c:pt>
                <c:pt idx="795">
                  <c:v>3.2243684225190412</c:v>
                </c:pt>
                <c:pt idx="796">
                  <c:v>3.2243684225190412</c:v>
                </c:pt>
                <c:pt idx="797">
                  <c:v>3.3051683665184863</c:v>
                </c:pt>
                <c:pt idx="798">
                  <c:v>3.2772289949067432</c:v>
                </c:pt>
                <c:pt idx="799">
                  <c:v>3.2350451683677171</c:v>
                </c:pt>
                <c:pt idx="800">
                  <c:v>3.2206231994915897</c:v>
                </c:pt>
                <c:pt idx="801">
                  <c:v>3.1396610110596037</c:v>
                </c:pt>
                <c:pt idx="802">
                  <c:v>3.2172309075731071</c:v>
                </c:pt>
                <c:pt idx="803">
                  <c:v>3.1065374152975651</c:v>
                </c:pt>
                <c:pt idx="804">
                  <c:v>3.0805283917558359</c:v>
                </c:pt>
                <c:pt idx="805">
                  <c:v>2.9796242916750808</c:v>
                </c:pt>
                <c:pt idx="806">
                  <c:v>2.9796242916750808</c:v>
                </c:pt>
                <c:pt idx="807">
                  <c:v>2.9211869733608853</c:v>
                </c:pt>
                <c:pt idx="808">
                  <c:v>2.9211869733608853</c:v>
                </c:pt>
                <c:pt idx="809">
                  <c:v>2.9211869733608853</c:v>
                </c:pt>
                <c:pt idx="810">
                  <c:v>2.8839627909025363</c:v>
                </c:pt>
                <c:pt idx="811">
                  <c:v>2.8729815503246354</c:v>
                </c:pt>
                <c:pt idx="812">
                  <c:v>2.8494806947731814</c:v>
                </c:pt>
                <c:pt idx="813">
                  <c:v>3.0227109701715449</c:v>
                </c:pt>
                <c:pt idx="814">
                  <c:v>3.0227109701715449</c:v>
                </c:pt>
                <c:pt idx="815">
                  <c:v>3.0028721883074452</c:v>
                </c:pt>
                <c:pt idx="816">
                  <c:v>3.1126364624103529</c:v>
                </c:pt>
                <c:pt idx="817">
                  <c:v>3.2241901772151365</c:v>
                </c:pt>
                <c:pt idx="818">
                  <c:v>3.2236553821692087</c:v>
                </c:pt>
                <c:pt idx="819">
                  <c:v>3.224190177215136</c:v>
                </c:pt>
                <c:pt idx="820">
                  <c:v>3.2449784371350248</c:v>
                </c:pt>
                <c:pt idx="821">
                  <c:v>3.2091822283430154</c:v>
                </c:pt>
                <c:pt idx="822">
                  <c:v>3.2976829204273361</c:v>
                </c:pt>
                <c:pt idx="823">
                  <c:v>3.3433756772968595</c:v>
                </c:pt>
                <c:pt idx="824">
                  <c:v>3.2215153141868242</c:v>
                </c:pt>
                <c:pt idx="825">
                  <c:v>3.2215153141868242</c:v>
                </c:pt>
                <c:pt idx="826">
                  <c:v>3.2419661977858754</c:v>
                </c:pt>
                <c:pt idx="827">
                  <c:v>3.1332477366640425</c:v>
                </c:pt>
                <c:pt idx="828">
                  <c:v>3.0529804544366832</c:v>
                </c:pt>
                <c:pt idx="829">
                  <c:v>3.0181443640586267</c:v>
                </c:pt>
                <c:pt idx="830">
                  <c:v>2.9519134647628604</c:v>
                </c:pt>
                <c:pt idx="831">
                  <c:v>2.900653909629392</c:v>
                </c:pt>
                <c:pt idx="832">
                  <c:v>2.8488755595889033</c:v>
                </c:pt>
                <c:pt idx="833">
                  <c:v>2.8343135559308421</c:v>
                </c:pt>
                <c:pt idx="834">
                  <c:v>2.6487906587767527</c:v>
                </c:pt>
                <c:pt idx="835">
                  <c:v>2.6208711370918985</c:v>
                </c:pt>
                <c:pt idx="836">
                  <c:v>2.750966392370874</c:v>
                </c:pt>
                <c:pt idx="837">
                  <c:v>2.8879456167070523</c:v>
                </c:pt>
                <c:pt idx="838">
                  <c:v>2.8039381172767066</c:v>
                </c:pt>
                <c:pt idx="839">
                  <c:v>2.8039381172767066</c:v>
                </c:pt>
                <c:pt idx="840">
                  <c:v>2.8569334898658809</c:v>
                </c:pt>
                <c:pt idx="841">
                  <c:v>2.8767798089123051</c:v>
                </c:pt>
                <c:pt idx="842">
                  <c:v>2.8569334898658809</c:v>
                </c:pt>
                <c:pt idx="843">
                  <c:v>2.7603514685425576</c:v>
                </c:pt>
                <c:pt idx="844">
                  <c:v>2.7603514685425576</c:v>
                </c:pt>
                <c:pt idx="845">
                  <c:v>2.740920224698435</c:v>
                </c:pt>
                <c:pt idx="846">
                  <c:v>2.7342022728696422</c:v>
                </c:pt>
                <c:pt idx="847">
                  <c:v>2.5855478087369352</c:v>
                </c:pt>
                <c:pt idx="848">
                  <c:v>2.6843522731632632</c:v>
                </c:pt>
                <c:pt idx="849">
                  <c:v>2.6826389477784613</c:v>
                </c:pt>
                <c:pt idx="850">
                  <c:v>2.7586853440699257</c:v>
                </c:pt>
                <c:pt idx="851">
                  <c:v>2.8998612729402855</c:v>
                </c:pt>
                <c:pt idx="852">
                  <c:v>2.797576948291002</c:v>
                </c:pt>
                <c:pt idx="853">
                  <c:v>2.725992384941422</c:v>
                </c:pt>
                <c:pt idx="854">
                  <c:v>2.7478309104898866</c:v>
                </c:pt>
                <c:pt idx="855">
                  <c:v>2.8735816091365516</c:v>
                </c:pt>
                <c:pt idx="856">
                  <c:v>2.8488755595889037</c:v>
                </c:pt>
                <c:pt idx="857">
                  <c:v>2.8488755595889037</c:v>
                </c:pt>
                <c:pt idx="858">
                  <c:v>2.944115502481861</c:v>
                </c:pt>
                <c:pt idx="859">
                  <c:v>3.0589984086899777</c:v>
                </c:pt>
                <c:pt idx="860">
                  <c:v>3.0550504633038931</c:v>
                </c:pt>
                <c:pt idx="861">
                  <c:v>3.1148513368337034</c:v>
                </c:pt>
                <c:pt idx="862">
                  <c:v>3.1704454163304931</c:v>
                </c:pt>
                <c:pt idx="863">
                  <c:v>3.1964419874776935</c:v>
                </c:pt>
                <c:pt idx="864">
                  <c:v>3.2322014845584133</c:v>
                </c:pt>
                <c:pt idx="865">
                  <c:v>3.2412570287523912</c:v>
                </c:pt>
                <c:pt idx="866">
                  <c:v>3.2428524409881785</c:v>
                </c:pt>
                <c:pt idx="867">
                  <c:v>3.0820205344404572</c:v>
                </c:pt>
                <c:pt idx="868">
                  <c:v>3.0597498207398006</c:v>
                </c:pt>
                <c:pt idx="869">
                  <c:v>3.158822711001716</c:v>
                </c:pt>
                <c:pt idx="870">
                  <c:v>3.2703825921213827</c:v>
                </c:pt>
                <c:pt idx="871">
                  <c:v>3.2476339751858756</c:v>
                </c:pt>
                <c:pt idx="872">
                  <c:v>3.3500729105121163</c:v>
                </c:pt>
                <c:pt idx="873">
                  <c:v>3.2955909242850341</c:v>
                </c:pt>
                <c:pt idx="874">
                  <c:v>3.2955909242850341</c:v>
                </c:pt>
                <c:pt idx="875">
                  <c:v>3.3044727612563332</c:v>
                </c:pt>
                <c:pt idx="876">
                  <c:v>3.2455097185701551</c:v>
                </c:pt>
                <c:pt idx="877">
                  <c:v>3.2767028564084661</c:v>
                </c:pt>
                <c:pt idx="878">
                  <c:v>3.268800616627507</c:v>
                </c:pt>
                <c:pt idx="879">
                  <c:v>3.3680377315166088</c:v>
                </c:pt>
                <c:pt idx="880">
                  <c:v>3.3392476267332554</c:v>
                </c:pt>
                <c:pt idx="881">
                  <c:v>3.2263284709246292</c:v>
                </c:pt>
                <c:pt idx="882">
                  <c:v>3.360350282781321</c:v>
                </c:pt>
                <c:pt idx="883">
                  <c:v>3.3782604514988064</c:v>
                </c:pt>
                <c:pt idx="884">
                  <c:v>3.3500729105121163</c:v>
                </c:pt>
                <c:pt idx="885">
                  <c:v>3.3945527696218143</c:v>
                </c:pt>
                <c:pt idx="886">
                  <c:v>3.4799920729200249</c:v>
                </c:pt>
                <c:pt idx="887">
                  <c:v>3.5475424551743382</c:v>
                </c:pt>
                <c:pt idx="888">
                  <c:v>3.5862124226305787</c:v>
                </c:pt>
                <c:pt idx="889">
                  <c:v>3.4713937709000504</c:v>
                </c:pt>
                <c:pt idx="890">
                  <c:v>3.4708970651377156</c:v>
                </c:pt>
                <c:pt idx="891">
                  <c:v>3.4708970651377156</c:v>
                </c:pt>
                <c:pt idx="892">
                  <c:v>3.3164515034465141</c:v>
                </c:pt>
                <c:pt idx="893">
                  <c:v>3.2064948456846611</c:v>
                </c:pt>
                <c:pt idx="894">
                  <c:v>3.2021903423290983</c:v>
                </c:pt>
                <c:pt idx="895">
                  <c:v>3.3356313917471745</c:v>
                </c:pt>
                <c:pt idx="896">
                  <c:v>3.2767028564084661</c:v>
                </c:pt>
                <c:pt idx="897">
                  <c:v>3.2767028564084661</c:v>
                </c:pt>
                <c:pt idx="898">
                  <c:v>3.2428524409881789</c:v>
                </c:pt>
                <c:pt idx="899">
                  <c:v>3.1374636509319966</c:v>
                </c:pt>
                <c:pt idx="900">
                  <c:v>3.0782888215639406</c:v>
                </c:pt>
                <c:pt idx="901">
                  <c:v>3.1660919018617388</c:v>
                </c:pt>
                <c:pt idx="902">
                  <c:v>3.1154048094006623</c:v>
                </c:pt>
                <c:pt idx="903">
                  <c:v>3.1832897030168854</c:v>
                </c:pt>
                <c:pt idx="904">
                  <c:v>3.0926312124293052</c:v>
                </c:pt>
                <c:pt idx="905">
                  <c:v>3.0663168216240657</c:v>
                </c:pt>
                <c:pt idx="906">
                  <c:v>3.1037611591959409</c:v>
                </c:pt>
                <c:pt idx="907">
                  <c:v>3.2027287216321976</c:v>
                </c:pt>
                <c:pt idx="908">
                  <c:v>3.0437424030446394</c:v>
                </c:pt>
                <c:pt idx="909">
                  <c:v>2.9913668885760178</c:v>
                </c:pt>
                <c:pt idx="910">
                  <c:v>3.0437424030446389</c:v>
                </c:pt>
                <c:pt idx="911">
                  <c:v>3.1957227160942669</c:v>
                </c:pt>
                <c:pt idx="912">
                  <c:v>3.0842573949268433</c:v>
                </c:pt>
                <c:pt idx="913">
                  <c:v>3.1484351157616248</c:v>
                </c:pt>
                <c:pt idx="914">
                  <c:v>3.139661011059605</c:v>
                </c:pt>
                <c:pt idx="915">
                  <c:v>3.139661011059605</c:v>
                </c:pt>
                <c:pt idx="916">
                  <c:v>3.1396610110596046</c:v>
                </c:pt>
                <c:pt idx="917">
                  <c:v>3.0112814700645343</c:v>
                </c:pt>
                <c:pt idx="918">
                  <c:v>3.0325816929042375</c:v>
                </c:pt>
                <c:pt idx="919">
                  <c:v>3.0171921178244632</c:v>
                </c:pt>
                <c:pt idx="920">
                  <c:v>3.0171921178244632</c:v>
                </c:pt>
                <c:pt idx="921">
                  <c:v>2.9836720413903928</c:v>
                </c:pt>
                <c:pt idx="922">
                  <c:v>2.9934795038934023</c:v>
                </c:pt>
                <c:pt idx="923">
                  <c:v>2.9728657948993864</c:v>
                </c:pt>
                <c:pt idx="924">
                  <c:v>3.0931886609054451</c:v>
                </c:pt>
                <c:pt idx="925">
                  <c:v>3.0747394992918906</c:v>
                </c:pt>
                <c:pt idx="926">
                  <c:v>3.0931886609054451</c:v>
                </c:pt>
                <c:pt idx="927">
                  <c:v>3.1117131327758436</c:v>
                </c:pt>
                <c:pt idx="928">
                  <c:v>3.1529952918367683</c:v>
                </c:pt>
                <c:pt idx="929">
                  <c:v>3.1905031491643423</c:v>
                </c:pt>
                <c:pt idx="930">
                  <c:v>3.2492262562597602</c:v>
                </c:pt>
                <c:pt idx="931">
                  <c:v>3.1724387805112886</c:v>
                </c:pt>
                <c:pt idx="932">
                  <c:v>3.1303115778964625</c:v>
                </c:pt>
                <c:pt idx="933">
                  <c:v>3.0323921743156137</c:v>
                </c:pt>
                <c:pt idx="934">
                  <c:v>3.1303115778964625</c:v>
                </c:pt>
                <c:pt idx="935">
                  <c:v>3.1447822138287713</c:v>
                </c:pt>
                <c:pt idx="936">
                  <c:v>3.2263284709246292</c:v>
                </c:pt>
                <c:pt idx="937">
                  <c:v>3.2369987518595416</c:v>
                </c:pt>
                <c:pt idx="938">
                  <c:v>3.2793327047595739</c:v>
                </c:pt>
                <c:pt idx="939">
                  <c:v>3.3930286880839842</c:v>
                </c:pt>
                <c:pt idx="940">
                  <c:v>3.430927624974927</c:v>
                </c:pt>
                <c:pt idx="941">
                  <c:v>3.28720962617792</c:v>
                </c:pt>
                <c:pt idx="942">
                  <c:v>3.2835360810264129</c:v>
                </c:pt>
                <c:pt idx="943">
                  <c:v>3.1813031378937175</c:v>
                </c:pt>
                <c:pt idx="944">
                  <c:v>3.1566386895069187</c:v>
                </c:pt>
                <c:pt idx="945">
                  <c:v>3.1139286639449422</c:v>
                </c:pt>
                <c:pt idx="946">
                  <c:v>3.0369373562434778</c:v>
                </c:pt>
                <c:pt idx="947">
                  <c:v>3.0363695805822215</c:v>
                </c:pt>
                <c:pt idx="948">
                  <c:v>2.9905982948098426</c:v>
                </c:pt>
                <c:pt idx="949">
                  <c:v>3.1347147847306926</c:v>
                </c:pt>
                <c:pt idx="950">
                  <c:v>3.2172309075731071</c:v>
                </c:pt>
                <c:pt idx="951">
                  <c:v>3.3072543044771687</c:v>
                </c:pt>
                <c:pt idx="952">
                  <c:v>3.308123057100437</c:v>
                </c:pt>
                <c:pt idx="953">
                  <c:v>3.337181686572579</c:v>
                </c:pt>
                <c:pt idx="954">
                  <c:v>3.16318623012253</c:v>
                </c:pt>
                <c:pt idx="955">
                  <c:v>3.1456958369891033</c:v>
                </c:pt>
                <c:pt idx="956">
                  <c:v>3.196441987477693</c:v>
                </c:pt>
                <c:pt idx="957">
                  <c:v>3.230600812417932</c:v>
                </c:pt>
                <c:pt idx="958">
                  <c:v>3.2476339751858743</c:v>
                </c:pt>
                <c:pt idx="959">
                  <c:v>3.2941955221162926</c:v>
                </c:pt>
                <c:pt idx="960">
                  <c:v>3.258234484198919</c:v>
                </c:pt>
                <c:pt idx="961">
                  <c:v>3.2816102019041478</c:v>
                </c:pt>
                <c:pt idx="962">
                  <c:v>3.4107672646097291</c:v>
                </c:pt>
                <c:pt idx="963">
                  <c:v>3.4416315296973465</c:v>
                </c:pt>
                <c:pt idx="964">
                  <c:v>3.337181686572579</c:v>
                </c:pt>
                <c:pt idx="965">
                  <c:v>3.328905104595548</c:v>
                </c:pt>
                <c:pt idx="966">
                  <c:v>3.2877340832705504</c:v>
                </c:pt>
                <c:pt idx="967">
                  <c:v>3.1566386895069183</c:v>
                </c:pt>
                <c:pt idx="968">
                  <c:v>3.1566386895069183</c:v>
                </c:pt>
                <c:pt idx="969">
                  <c:v>3.0595619850282296</c:v>
                </c:pt>
                <c:pt idx="970">
                  <c:v>2.9400132926433407</c:v>
                </c:pt>
                <c:pt idx="971">
                  <c:v>3.0597498207398006</c:v>
                </c:pt>
                <c:pt idx="972">
                  <c:v>3.2107935782760704</c:v>
                </c:pt>
                <c:pt idx="973">
                  <c:v>3.2091822283430154</c:v>
                </c:pt>
                <c:pt idx="974">
                  <c:v>3.335803682307541</c:v>
                </c:pt>
                <c:pt idx="975">
                  <c:v>3.2534685293182668</c:v>
                </c:pt>
                <c:pt idx="976">
                  <c:v>3.2027287216321985</c:v>
                </c:pt>
                <c:pt idx="977">
                  <c:v>3.2027287216321985</c:v>
                </c:pt>
                <c:pt idx="978">
                  <c:v>3.3081230571004374</c:v>
                </c:pt>
                <c:pt idx="979">
                  <c:v>3.315064882082067</c:v>
                </c:pt>
                <c:pt idx="980">
                  <c:v>3.3569279880928899</c:v>
                </c:pt>
                <c:pt idx="981">
                  <c:v>3.2455097185701551</c:v>
                </c:pt>
                <c:pt idx="982">
                  <c:v>3.28720962617792</c:v>
                </c:pt>
                <c:pt idx="983">
                  <c:v>3.3233759321218685</c:v>
                </c:pt>
                <c:pt idx="984">
                  <c:v>3.3107279471786701</c:v>
                </c:pt>
                <c:pt idx="985">
                  <c:v>3.3569279880928899</c:v>
                </c:pt>
                <c:pt idx="986">
                  <c:v>3.3122898979129363</c:v>
                </c:pt>
                <c:pt idx="987">
                  <c:v>3.3252776221494371</c:v>
                </c:pt>
                <c:pt idx="988">
                  <c:v>3.1551818352977854</c:v>
                </c:pt>
                <c:pt idx="989">
                  <c:v>3.1941037632761264</c:v>
                </c:pt>
                <c:pt idx="990">
                  <c:v>3.2000359193386361</c:v>
                </c:pt>
                <c:pt idx="991">
                  <c:v>3.2737198076974061</c:v>
                </c:pt>
                <c:pt idx="992">
                  <c:v>3.2048813344359717</c:v>
                </c:pt>
                <c:pt idx="993">
                  <c:v>3.1506248240006611</c:v>
                </c:pt>
                <c:pt idx="994">
                  <c:v>3.1919438822019468</c:v>
                </c:pt>
                <c:pt idx="995">
                  <c:v>3.3107279471786697</c:v>
                </c:pt>
                <c:pt idx="996">
                  <c:v>3.3107279471786697</c:v>
                </c:pt>
                <c:pt idx="997">
                  <c:v>3.3569279880928899</c:v>
                </c:pt>
                <c:pt idx="998">
                  <c:v>3.4534673563838991</c:v>
                </c:pt>
                <c:pt idx="999">
                  <c:v>3.4854376858680123</c:v>
                </c:pt>
                <c:pt idx="1000">
                  <c:v>3.5076271574758437</c:v>
                </c:pt>
                <c:pt idx="1001">
                  <c:v>3.5202207349807635</c:v>
                </c:pt>
                <c:pt idx="1002">
                  <c:v>3.4813130037221662</c:v>
                </c:pt>
                <c:pt idx="1003">
                  <c:v>3.5109025594010994</c:v>
                </c:pt>
                <c:pt idx="1004">
                  <c:v>3.5109025594010994</c:v>
                </c:pt>
                <c:pt idx="1005">
                  <c:v>3.5207104821116104</c:v>
                </c:pt>
                <c:pt idx="1006">
                  <c:v>3.6160561484807618</c:v>
                </c:pt>
                <c:pt idx="1007">
                  <c:v>3.7016616337227148</c:v>
                </c:pt>
                <c:pt idx="1008">
                  <c:v>3.6339712610912027</c:v>
                </c:pt>
                <c:pt idx="1009">
                  <c:v>3.5494859592217924</c:v>
                </c:pt>
                <c:pt idx="1010">
                  <c:v>3.4514697852017937</c:v>
                </c:pt>
                <c:pt idx="1011">
                  <c:v>3.5272339460751434</c:v>
                </c:pt>
                <c:pt idx="1012">
                  <c:v>3.4456369212532314</c:v>
                </c:pt>
                <c:pt idx="1013">
                  <c:v>3.3700847562587826</c:v>
                </c:pt>
                <c:pt idx="1014">
                  <c:v>3.4576252564141621</c:v>
                </c:pt>
                <c:pt idx="1015">
                  <c:v>3.501067160790809</c:v>
                </c:pt>
                <c:pt idx="1016">
                  <c:v>3.4872510004629556</c:v>
                </c:pt>
                <c:pt idx="1017">
                  <c:v>3.5519138438344742</c:v>
                </c:pt>
                <c:pt idx="1018">
                  <c:v>3.643447905992093</c:v>
                </c:pt>
                <c:pt idx="1019">
                  <c:v>3.5849301440796628</c:v>
                </c:pt>
                <c:pt idx="1020">
                  <c:v>3.6834516546242364</c:v>
                </c:pt>
                <c:pt idx="1021">
                  <c:v>3.7545374847160504</c:v>
                </c:pt>
                <c:pt idx="1022">
                  <c:v>3.7882152410658607</c:v>
                </c:pt>
                <c:pt idx="1023">
                  <c:v>3.7882152410658607</c:v>
                </c:pt>
                <c:pt idx="1024">
                  <c:v>3.7918545488375783</c:v>
                </c:pt>
                <c:pt idx="1025">
                  <c:v>3.7207093625973449</c:v>
                </c:pt>
                <c:pt idx="1026">
                  <c:v>3.7632524450954974</c:v>
                </c:pt>
                <c:pt idx="1027">
                  <c:v>3.7299656403458887</c:v>
                </c:pt>
                <c:pt idx="1028">
                  <c:v>3.689220083918308</c:v>
                </c:pt>
                <c:pt idx="1029">
                  <c:v>3.689220083918308</c:v>
                </c:pt>
                <c:pt idx="1030">
                  <c:v>3.6453402786470344</c:v>
                </c:pt>
                <c:pt idx="1031">
                  <c:v>3.6287485572789451</c:v>
                </c:pt>
                <c:pt idx="1032">
                  <c:v>3.549485959221792</c:v>
                </c:pt>
                <c:pt idx="1033">
                  <c:v>3.5369965829197807</c:v>
                </c:pt>
                <c:pt idx="1034">
                  <c:v>3.5010671607908082</c:v>
                </c:pt>
                <c:pt idx="1035">
                  <c:v>3.5693458623475345</c:v>
                </c:pt>
                <c:pt idx="1036">
                  <c:v>3.6396602089730314</c:v>
                </c:pt>
                <c:pt idx="1037">
                  <c:v>3.6396602089730314</c:v>
                </c:pt>
                <c:pt idx="1038">
                  <c:v>3.6001277116555022</c:v>
                </c:pt>
                <c:pt idx="1039">
                  <c:v>3.5564414605148449</c:v>
                </c:pt>
                <c:pt idx="1040">
                  <c:v>3.5823642100341133</c:v>
                </c:pt>
                <c:pt idx="1041">
                  <c:v>3.5501335574682353</c:v>
                </c:pt>
                <c:pt idx="1042">
                  <c:v>3.5785118592002432</c:v>
                </c:pt>
                <c:pt idx="1043">
                  <c:v>3.6015641557267992</c:v>
                </c:pt>
                <c:pt idx="1044">
                  <c:v>3.5757805996106256</c:v>
                </c:pt>
                <c:pt idx="1045">
                  <c:v>3.4476378720149423</c:v>
                </c:pt>
                <c:pt idx="1046">
                  <c:v>3.3624019876327678</c:v>
                </c:pt>
                <c:pt idx="1047">
                  <c:v>3.3392476267332558</c:v>
                </c:pt>
                <c:pt idx="1048">
                  <c:v>3.1264536848765494</c:v>
                </c:pt>
                <c:pt idx="1049">
                  <c:v>3.1486176496120128</c:v>
                </c:pt>
                <c:pt idx="1050">
                  <c:v>3.0926312124293047</c:v>
                </c:pt>
                <c:pt idx="1051">
                  <c:v>3.0580588839868721</c:v>
                </c:pt>
                <c:pt idx="1052">
                  <c:v>2.8945052978946562</c:v>
                </c:pt>
                <c:pt idx="1053">
                  <c:v>2.7678366173294782</c:v>
                </c:pt>
                <c:pt idx="1054">
                  <c:v>2.6714755490543789</c:v>
                </c:pt>
                <c:pt idx="1055">
                  <c:v>2.6357402066177928</c:v>
                </c:pt>
                <c:pt idx="1056">
                  <c:v>2.5855478087369348</c:v>
                </c:pt>
                <c:pt idx="1057">
                  <c:v>2.5855478087369348</c:v>
                </c:pt>
                <c:pt idx="1058">
                  <c:v>2.5596335944683637</c:v>
                </c:pt>
                <c:pt idx="1059">
                  <c:v>2.5596335944683637</c:v>
                </c:pt>
                <c:pt idx="1060">
                  <c:v>2.5777563085378912</c:v>
                </c:pt>
                <c:pt idx="1061">
                  <c:v>2.4590905710814326</c:v>
                </c:pt>
                <c:pt idx="1062">
                  <c:v>2.4681884091350281</c:v>
                </c:pt>
                <c:pt idx="1063">
                  <c:v>2.4730733822559707</c:v>
                </c:pt>
                <c:pt idx="1064">
                  <c:v>2.4259137394524899</c:v>
                </c:pt>
                <c:pt idx="1065">
                  <c:v>2.1573184717388725</c:v>
                </c:pt>
                <c:pt idx="1066">
                  <c:v>1.6049492418657725</c:v>
                </c:pt>
                <c:pt idx="1067">
                  <c:v>1.5916448515084438</c:v>
                </c:pt>
                <c:pt idx="1068">
                  <c:v>1.5085960589122316</c:v>
                </c:pt>
                <c:pt idx="1069">
                  <c:v>1.4735210781716319</c:v>
                </c:pt>
                <c:pt idx="1070">
                  <c:v>0.94443317550184869</c:v>
                </c:pt>
                <c:pt idx="1071">
                  <c:v>0.9128709291752769</c:v>
                </c:pt>
                <c:pt idx="1072">
                  <c:v>0.97143098618457724</c:v>
                </c:pt>
                <c:pt idx="1073">
                  <c:v>0.93710240611164242</c:v>
                </c:pt>
                <c:pt idx="1074">
                  <c:v>0.93710240611164242</c:v>
                </c:pt>
                <c:pt idx="1075">
                  <c:v>0.92288901712558846</c:v>
                </c:pt>
                <c:pt idx="1076">
                  <c:v>0.89955289021760709</c:v>
                </c:pt>
                <c:pt idx="1077">
                  <c:v>0.92288901712558846</c:v>
                </c:pt>
                <c:pt idx="1078">
                  <c:v>0.96132093030084542</c:v>
                </c:pt>
                <c:pt idx="1079">
                  <c:v>0.9732042112432564</c:v>
                </c:pt>
                <c:pt idx="1080">
                  <c:v>0.99481413963302379</c:v>
                </c:pt>
                <c:pt idx="1081">
                  <c:v>0.98026503570712209</c:v>
                </c:pt>
                <c:pt idx="1082">
                  <c:v>0.99481413963302379</c:v>
                </c:pt>
                <c:pt idx="1083">
                  <c:v>1.0080138659874616</c:v>
                </c:pt>
                <c:pt idx="1084">
                  <c:v>0.9855274566525748</c:v>
                </c:pt>
                <c:pt idx="1085">
                  <c:v>1.6262925893598903</c:v>
                </c:pt>
                <c:pt idx="1086">
                  <c:v>1.6262925893598903</c:v>
                </c:pt>
                <c:pt idx="1087">
                  <c:v>2.0566684364455212</c:v>
                </c:pt>
                <c:pt idx="1088">
                  <c:v>2.1605129233480698</c:v>
                </c:pt>
                <c:pt idx="1089">
                  <c:v>2.3850588561137096</c:v>
                </c:pt>
                <c:pt idx="1090">
                  <c:v>2.4023455970813381</c:v>
                </c:pt>
                <c:pt idx="1091">
                  <c:v>2.4059313679168901</c:v>
                </c:pt>
                <c:pt idx="1092">
                  <c:v>2.4374944739106241</c:v>
                </c:pt>
                <c:pt idx="1093">
                  <c:v>2.6714755490543798</c:v>
                </c:pt>
                <c:pt idx="1094">
                  <c:v>2.6714755490543798</c:v>
                </c:pt>
                <c:pt idx="1095">
                  <c:v>2.6193357059051983</c:v>
                </c:pt>
                <c:pt idx="1096">
                  <c:v>2.6120850877693713</c:v>
                </c:pt>
                <c:pt idx="1097">
                  <c:v>2.6997232723237459</c:v>
                </c:pt>
                <c:pt idx="1098">
                  <c:v>2.6843522731632641</c:v>
                </c:pt>
                <c:pt idx="1099">
                  <c:v>2.7636807041485016</c:v>
                </c:pt>
                <c:pt idx="1100">
                  <c:v>2.7584770077524388</c:v>
                </c:pt>
                <c:pt idx="1101">
                  <c:v>2.8657710442673054</c:v>
                </c:pt>
                <c:pt idx="1102">
                  <c:v>2.865771044267305</c:v>
                </c:pt>
                <c:pt idx="1103">
                  <c:v>2.9594966953276316</c:v>
                </c:pt>
                <c:pt idx="1104">
                  <c:v>2.9836720413903928</c:v>
                </c:pt>
                <c:pt idx="1105">
                  <c:v>3.0141429082351698</c:v>
                </c:pt>
                <c:pt idx="1106">
                  <c:v>2.9873295651860179</c:v>
                </c:pt>
                <c:pt idx="1107">
                  <c:v>2.9819379643092025</c:v>
                </c:pt>
                <c:pt idx="1108">
                  <c:v>2.937862230050726</c:v>
                </c:pt>
                <c:pt idx="1109">
                  <c:v>3.1043166090454428</c:v>
                </c:pt>
                <c:pt idx="1110">
                  <c:v>3.2449784371350239</c:v>
                </c:pt>
                <c:pt idx="1111">
                  <c:v>3.2449784371350239</c:v>
                </c:pt>
                <c:pt idx="1112">
                  <c:v>3.2898310755640829</c:v>
                </c:pt>
                <c:pt idx="1113">
                  <c:v>3.231312320148708</c:v>
                </c:pt>
                <c:pt idx="1114">
                  <c:v>3.194103763276126</c:v>
                </c:pt>
                <c:pt idx="1115">
                  <c:v>3.1037611591959413</c:v>
                </c:pt>
                <c:pt idx="1116">
                  <c:v>3.1856358646381677</c:v>
                </c:pt>
                <c:pt idx="1117">
                  <c:v>3.0933744547405473</c:v>
                </c:pt>
                <c:pt idx="1118">
                  <c:v>3.1440511241492821</c:v>
                </c:pt>
                <c:pt idx="1119">
                  <c:v>3.0931886609054451</c:v>
                </c:pt>
                <c:pt idx="1120">
                  <c:v>3.1403931227661994</c:v>
                </c:pt>
                <c:pt idx="1121">
                  <c:v>3.1403931227661994</c:v>
                </c:pt>
                <c:pt idx="1122">
                  <c:v>3.1286587776755779</c:v>
                </c:pt>
                <c:pt idx="1123">
                  <c:v>3.0904004129956486</c:v>
                </c:pt>
                <c:pt idx="1124">
                  <c:v>3.1065374152975656</c:v>
                </c:pt>
                <c:pt idx="1125">
                  <c:v>3.1065374152975656</c:v>
                </c:pt>
                <c:pt idx="1126">
                  <c:v>3.1236951298690809</c:v>
                </c:pt>
                <c:pt idx="1127">
                  <c:v>3.0730568105584282</c:v>
                </c:pt>
                <c:pt idx="1128">
                  <c:v>3.0859339762456242</c:v>
                </c:pt>
                <c:pt idx="1129">
                  <c:v>3.0278401694861685</c:v>
                </c:pt>
                <c:pt idx="1130">
                  <c:v>3.0708117912811357</c:v>
                </c:pt>
                <c:pt idx="1131">
                  <c:v>3.1259021686252577</c:v>
                </c:pt>
                <c:pt idx="1132">
                  <c:v>3.0680032069997782</c:v>
                </c:pt>
                <c:pt idx="1133">
                  <c:v>2.9905982948098426</c:v>
                </c:pt>
                <c:pt idx="1134">
                  <c:v>3.1549996812211796</c:v>
                </c:pt>
                <c:pt idx="1135">
                  <c:v>3.15499968122118</c:v>
                </c:pt>
                <c:pt idx="1136">
                  <c:v>3.1549996812211796</c:v>
                </c:pt>
                <c:pt idx="1137">
                  <c:v>3.1469744638083843</c:v>
                </c:pt>
                <c:pt idx="1138">
                  <c:v>3.1369140703974456</c:v>
                </c:pt>
                <c:pt idx="1139">
                  <c:v>2.9790455927491548</c:v>
                </c:pt>
                <c:pt idx="1140">
                  <c:v>2.8464537323790653</c:v>
                </c:pt>
                <c:pt idx="1141">
                  <c:v>2.9024365507336225</c:v>
                </c:pt>
                <c:pt idx="1142">
                  <c:v>2.955804731235709</c:v>
                </c:pt>
                <c:pt idx="1143">
                  <c:v>2.9548323950367505</c:v>
                </c:pt>
                <c:pt idx="1144">
                  <c:v>2.9896372747346391</c:v>
                </c:pt>
                <c:pt idx="1145">
                  <c:v>3.1588227110017151</c:v>
                </c:pt>
                <c:pt idx="1146">
                  <c:v>3.2941955221162926</c:v>
                </c:pt>
                <c:pt idx="1147">
                  <c:v>3.308644199182138</c:v>
                </c:pt>
                <c:pt idx="1148">
                  <c:v>3.2688006166275065</c:v>
                </c:pt>
                <c:pt idx="1149">
                  <c:v>3.428078782340195</c:v>
                </c:pt>
                <c:pt idx="1150">
                  <c:v>3.5306539396235523</c:v>
                </c:pt>
                <c:pt idx="1151">
                  <c:v>3.4997536859140483</c:v>
                </c:pt>
                <c:pt idx="1152">
                  <c:v>3.4997536859140483</c:v>
                </c:pt>
                <c:pt idx="1153">
                  <c:v>3.4589547288294993</c:v>
                </c:pt>
                <c:pt idx="1154">
                  <c:v>3.4589547288294993</c:v>
                </c:pt>
                <c:pt idx="1155">
                  <c:v>3.4748687232294349</c:v>
                </c:pt>
                <c:pt idx="1156">
                  <c:v>3.4748687232294344</c:v>
                </c:pt>
                <c:pt idx="1157">
                  <c:v>3.5525609995005594</c:v>
                </c:pt>
                <c:pt idx="1158">
                  <c:v>3.512866334641481</c:v>
                </c:pt>
                <c:pt idx="1159">
                  <c:v>3.6287485572789446</c:v>
                </c:pt>
                <c:pt idx="1160">
                  <c:v>3.5109025594010999</c:v>
                </c:pt>
                <c:pt idx="1161">
                  <c:v>3.4389586769266649</c:v>
                </c:pt>
                <c:pt idx="1162">
                  <c:v>3.4389586769266649</c:v>
                </c:pt>
                <c:pt idx="1163">
                  <c:v>3.4389586769266649</c:v>
                </c:pt>
                <c:pt idx="1164">
                  <c:v>3.3564143429230113</c:v>
                </c:pt>
                <c:pt idx="1165">
                  <c:v>3.3977680300760515</c:v>
                </c:pt>
                <c:pt idx="1166">
                  <c:v>3.4053710112318059</c:v>
                </c:pt>
                <c:pt idx="1167">
                  <c:v>3.4708970651377156</c:v>
                </c:pt>
                <c:pt idx="1168">
                  <c:v>3.4680810554104049</c:v>
                </c:pt>
                <c:pt idx="1169">
                  <c:v>3.4314301163914376</c:v>
                </c:pt>
                <c:pt idx="1170">
                  <c:v>3.4574590364176037</c:v>
                </c:pt>
                <c:pt idx="1171">
                  <c:v>3.3086441991821367</c:v>
                </c:pt>
                <c:pt idx="1172">
                  <c:v>3.2879088837110748</c:v>
                </c:pt>
                <c:pt idx="1173">
                  <c:v>3.3356313917471754</c:v>
                </c:pt>
                <c:pt idx="1174">
                  <c:v>3.2107935782760699</c:v>
                </c:pt>
                <c:pt idx="1175">
                  <c:v>3.2816102019041478</c:v>
                </c:pt>
                <c:pt idx="1176">
                  <c:v>3.2107935782760704</c:v>
                </c:pt>
                <c:pt idx="1177">
                  <c:v>3.2107935782760704</c:v>
                </c:pt>
                <c:pt idx="1178">
                  <c:v>3.1724387805112899</c:v>
                </c:pt>
                <c:pt idx="1179">
                  <c:v>3.0792221737643906</c:v>
                </c:pt>
                <c:pt idx="1180">
                  <c:v>3.0011492051752673</c:v>
                </c:pt>
                <c:pt idx="1181">
                  <c:v>3.0141429082351694</c:v>
                </c:pt>
                <c:pt idx="1182">
                  <c:v>2.9767296720108609</c:v>
                </c:pt>
                <c:pt idx="1183">
                  <c:v>2.9767296720108609</c:v>
                </c:pt>
                <c:pt idx="1184">
                  <c:v>3.0782888215639406</c:v>
                </c:pt>
                <c:pt idx="1185">
                  <c:v>3.1148513368337043</c:v>
                </c:pt>
                <c:pt idx="1186">
                  <c:v>3.0567430642629327</c:v>
                </c:pt>
                <c:pt idx="1187">
                  <c:v>3.1028351884843244</c:v>
                </c:pt>
                <c:pt idx="1188">
                  <c:v>3.2012928422855929</c:v>
                </c:pt>
                <c:pt idx="1189">
                  <c:v>3.0642544235774212</c:v>
                </c:pt>
                <c:pt idx="1190">
                  <c:v>3.1227750700188177</c:v>
                </c:pt>
                <c:pt idx="1191">
                  <c:v>3.139661011059605</c:v>
                </c:pt>
                <c:pt idx="1192">
                  <c:v>3.139661011059605</c:v>
                </c:pt>
                <c:pt idx="1193">
                  <c:v>3.2968114166936182</c:v>
                </c:pt>
                <c:pt idx="1194">
                  <c:v>3.2968114166936182</c:v>
                </c:pt>
                <c:pt idx="1195">
                  <c:v>3.2215153141868242</c:v>
                </c:pt>
                <c:pt idx="1196">
                  <c:v>3.215622783390097</c:v>
                </c:pt>
                <c:pt idx="1197">
                  <c:v>3.1811224795479118</c:v>
                </c:pt>
                <c:pt idx="1198">
                  <c:v>3.3371816865725794</c:v>
                </c:pt>
                <c:pt idx="1199">
                  <c:v>3.2731931051265941</c:v>
                </c:pt>
                <c:pt idx="1200">
                  <c:v>3.2236553821692082</c:v>
                </c:pt>
                <c:pt idx="1201">
                  <c:v>3.2731931051265946</c:v>
                </c:pt>
                <c:pt idx="1202">
                  <c:v>3.3002960508094579</c:v>
                </c:pt>
                <c:pt idx="1203">
                  <c:v>3.2348675113661072</c:v>
                </c:pt>
                <c:pt idx="1204">
                  <c:v>3.1666364184883227</c:v>
                </c:pt>
                <c:pt idx="1205">
                  <c:v>3.1043166090454428</c:v>
                </c:pt>
                <c:pt idx="1206">
                  <c:v>3.1941037632761264</c:v>
                </c:pt>
                <c:pt idx="1207">
                  <c:v>3.1513543886333415</c:v>
                </c:pt>
                <c:pt idx="1208">
                  <c:v>3.1506248240006607</c:v>
                </c:pt>
                <c:pt idx="1209">
                  <c:v>3.1332477366640425</c:v>
                </c:pt>
                <c:pt idx="1210">
                  <c:v>3.1957227160942669</c:v>
                </c:pt>
                <c:pt idx="1211">
                  <c:v>3.1957227160942669</c:v>
                </c:pt>
                <c:pt idx="1212">
                  <c:v>3.2476339751858743</c:v>
                </c:pt>
                <c:pt idx="1213">
                  <c:v>3.2941955221162926</c:v>
                </c:pt>
                <c:pt idx="1214">
                  <c:v>3.2941955221162931</c:v>
                </c:pt>
                <c:pt idx="1215">
                  <c:v>3.2412570287523912</c:v>
                </c:pt>
                <c:pt idx="1216">
                  <c:v>3.3397639120910543</c:v>
                </c:pt>
                <c:pt idx="1217">
                  <c:v>3.1805804429416638</c:v>
                </c:pt>
                <c:pt idx="1218">
                  <c:v>3.00975425735311</c:v>
                </c:pt>
                <c:pt idx="1219">
                  <c:v>3.0567430642629319</c:v>
                </c:pt>
                <c:pt idx="1220">
                  <c:v>2.9290459786127605</c:v>
                </c:pt>
                <c:pt idx="1221">
                  <c:v>2.9323796777894642</c:v>
                </c:pt>
                <c:pt idx="1222">
                  <c:v>2.9959743104648817</c:v>
                </c:pt>
                <c:pt idx="1223">
                  <c:v>2.9323796777894642</c:v>
                </c:pt>
                <c:pt idx="1224">
                  <c:v>2.8879456167070523</c:v>
                </c:pt>
                <c:pt idx="1225">
                  <c:v>2.9282610272443539</c:v>
                </c:pt>
                <c:pt idx="1226">
                  <c:v>2.9674479146965296</c:v>
                </c:pt>
                <c:pt idx="1227">
                  <c:v>2.7866677665949546</c:v>
                </c:pt>
                <c:pt idx="1228">
                  <c:v>2.7866677665949546</c:v>
                </c:pt>
                <c:pt idx="1229">
                  <c:v>2.8488755595889033</c:v>
                </c:pt>
                <c:pt idx="1230">
                  <c:v>2.8839627909025367</c:v>
                </c:pt>
                <c:pt idx="1231">
                  <c:v>2.944701065951532</c:v>
                </c:pt>
                <c:pt idx="1232">
                  <c:v>2.9447010659515316</c:v>
                </c:pt>
                <c:pt idx="1233">
                  <c:v>2.8719811736968204</c:v>
                </c:pt>
                <c:pt idx="1234">
                  <c:v>2.8000410506021995</c:v>
                </c:pt>
                <c:pt idx="1235">
                  <c:v>2.8615565252369968</c:v>
                </c:pt>
                <c:pt idx="1236">
                  <c:v>2.556038601690775</c:v>
                </c:pt>
                <c:pt idx="1237">
                  <c:v>2.5515377378330517</c:v>
                </c:pt>
                <c:pt idx="1238">
                  <c:v>2.5452231571200654</c:v>
                </c:pt>
                <c:pt idx="1239">
                  <c:v>2.4719111690322144</c:v>
                </c:pt>
                <c:pt idx="1240">
                  <c:v>2.5008044682673107</c:v>
                </c:pt>
                <c:pt idx="1241">
                  <c:v>2.3588912259983399</c:v>
                </c:pt>
                <c:pt idx="1242">
                  <c:v>2.1237572430921121</c:v>
                </c:pt>
                <c:pt idx="1243">
                  <c:v>2.0956989342433001</c:v>
                </c:pt>
                <c:pt idx="1244">
                  <c:v>2.0869049843711394</c:v>
                </c:pt>
                <c:pt idx="1245">
                  <c:v>2.1283526628524849</c:v>
                </c:pt>
                <c:pt idx="1246">
                  <c:v>2.0998084203800231</c:v>
                </c:pt>
                <c:pt idx="1247">
                  <c:v>2.0956989342433001</c:v>
                </c:pt>
                <c:pt idx="1248">
                  <c:v>2.0083160441856096</c:v>
                </c:pt>
                <c:pt idx="1249">
                  <c:v>2.0060254063781162</c:v>
                </c:pt>
                <c:pt idx="1250">
                  <c:v>2.0423673439947319</c:v>
                </c:pt>
                <c:pt idx="1251">
                  <c:v>2.0423673439947319</c:v>
                </c:pt>
                <c:pt idx="1252">
                  <c:v>2.0160277319749236</c:v>
                </c:pt>
                <c:pt idx="1253">
                  <c:v>2.0231419743250512</c:v>
                </c:pt>
                <c:pt idx="1254">
                  <c:v>1.8096167118144559</c:v>
                </c:pt>
                <c:pt idx="1255">
                  <c:v>1.8096167118144559</c:v>
                </c:pt>
                <c:pt idx="1256">
                  <c:v>1.837039096937831</c:v>
                </c:pt>
                <c:pt idx="1257">
                  <c:v>1.795268365940627</c:v>
                </c:pt>
                <c:pt idx="1258">
                  <c:v>1.7603552410558057</c:v>
                </c:pt>
                <c:pt idx="1259">
                  <c:v>1.4840144374549429</c:v>
                </c:pt>
                <c:pt idx="1260">
                  <c:v>1.1371470653683551</c:v>
                </c:pt>
                <c:pt idx="1261">
                  <c:v>1.1043279539543756</c:v>
                </c:pt>
                <c:pt idx="1262">
                  <c:v>1.132589343358684</c:v>
                </c:pt>
                <c:pt idx="1263">
                  <c:v>1.1043279539543756</c:v>
                </c:pt>
                <c:pt idx="1264">
                  <c:v>1.1058881072455413</c:v>
                </c:pt>
                <c:pt idx="1265">
                  <c:v>1.0699661612438482</c:v>
                </c:pt>
                <c:pt idx="1266">
                  <c:v>1.1058881072455413</c:v>
                </c:pt>
                <c:pt idx="1267">
                  <c:v>1.1366415543118706</c:v>
                </c:pt>
                <c:pt idx="1268">
                  <c:v>1.1366415543118706</c:v>
                </c:pt>
                <c:pt idx="1269">
                  <c:v>1.1366415543118706</c:v>
                </c:pt>
                <c:pt idx="1270">
                  <c:v>1.1058881072455413</c:v>
                </c:pt>
                <c:pt idx="1271">
                  <c:v>1.0742546199601595</c:v>
                </c:pt>
                <c:pt idx="1272">
                  <c:v>1.1058881072455413</c:v>
                </c:pt>
                <c:pt idx="1273">
                  <c:v>1.1058881072455413</c:v>
                </c:pt>
                <c:pt idx="1274">
                  <c:v>1.0747894741730137</c:v>
                </c:pt>
                <c:pt idx="1275">
                  <c:v>1.0416609195243758</c:v>
                </c:pt>
                <c:pt idx="1276">
                  <c:v>1.0699661612438485</c:v>
                </c:pt>
                <c:pt idx="1277">
                  <c:v>1.5844067746592754</c:v>
                </c:pt>
                <c:pt idx="1278">
                  <c:v>1.5613875350094093</c:v>
                </c:pt>
                <c:pt idx="1279">
                  <c:v>1.5554871358790012</c:v>
                </c:pt>
                <c:pt idx="1280">
                  <c:v>1.6914252984479941</c:v>
                </c:pt>
                <c:pt idx="1281">
                  <c:v>1.6887048699909157</c:v>
                </c:pt>
                <c:pt idx="1282">
                  <c:v>2.2180036586726044</c:v>
                </c:pt>
                <c:pt idx="1283">
                  <c:v>2.2151515866242968</c:v>
                </c:pt>
                <c:pt idx="1284">
                  <c:v>2.2334963055994606</c:v>
                </c:pt>
                <c:pt idx="1285">
                  <c:v>2.5270945563139748</c:v>
                </c:pt>
                <c:pt idx="1286">
                  <c:v>2.4795717094024456</c:v>
                </c:pt>
                <c:pt idx="1287">
                  <c:v>2.5106668986271492</c:v>
                </c:pt>
                <c:pt idx="1288">
                  <c:v>2.7478309104898857</c:v>
                </c:pt>
                <c:pt idx="1289">
                  <c:v>2.8639655812482654</c:v>
                </c:pt>
                <c:pt idx="1290">
                  <c:v>3.0467619895045392</c:v>
                </c:pt>
                <c:pt idx="1291">
                  <c:v>3.1337979601710786</c:v>
                </c:pt>
                <c:pt idx="1292">
                  <c:v>3.1374636509319975</c:v>
                </c:pt>
                <c:pt idx="1293">
                  <c:v>3.308644199182138</c:v>
                </c:pt>
                <c:pt idx="1294">
                  <c:v>3.308644199182138</c:v>
                </c:pt>
                <c:pt idx="1295">
                  <c:v>3.3986136456860874</c:v>
                </c:pt>
                <c:pt idx="1296">
                  <c:v>3.3577838887692226</c:v>
                </c:pt>
                <c:pt idx="1297">
                  <c:v>3.2666901242413688</c:v>
                </c:pt>
                <c:pt idx="1298">
                  <c:v>3.2263284709246283</c:v>
                </c:pt>
                <c:pt idx="1299">
                  <c:v>3.1784113721440646</c:v>
                </c:pt>
                <c:pt idx="1300">
                  <c:v>3.130311577896463</c:v>
                </c:pt>
                <c:pt idx="1301">
                  <c:v>3.1303115778964625</c:v>
                </c:pt>
                <c:pt idx="1302">
                  <c:v>3.1200132625712809</c:v>
                </c:pt>
                <c:pt idx="1303">
                  <c:v>3.1724387805112895</c:v>
                </c:pt>
                <c:pt idx="1304">
                  <c:v>3.1220388269176937</c:v>
                </c:pt>
                <c:pt idx="1305">
                  <c:v>3.1747929609389631</c:v>
                </c:pt>
                <c:pt idx="1306">
                  <c:v>3.1588227110017155</c:v>
                </c:pt>
                <c:pt idx="1307">
                  <c:v>3.1805804429416638</c:v>
                </c:pt>
                <c:pt idx="1308">
                  <c:v>3.2982057121320114</c:v>
                </c:pt>
                <c:pt idx="1309">
                  <c:v>3.3461248817307956</c:v>
                </c:pt>
                <c:pt idx="1310">
                  <c:v>3.4675838751260919</c:v>
                </c:pt>
                <c:pt idx="1311">
                  <c:v>3.5267451048357263</c:v>
                </c:pt>
                <c:pt idx="1312">
                  <c:v>3.444969679395455</c:v>
                </c:pt>
                <c:pt idx="1313">
                  <c:v>3.4087446706793774</c:v>
                </c:pt>
                <c:pt idx="1314">
                  <c:v>3.524136806352026</c:v>
                </c:pt>
                <c:pt idx="1315">
                  <c:v>3.5005746654664782</c:v>
                </c:pt>
                <c:pt idx="1316">
                  <c:v>3.4971252561884687</c:v>
                </c:pt>
                <c:pt idx="1317">
                  <c:v>3.6301736762226997</c:v>
                </c:pt>
                <c:pt idx="1318">
                  <c:v>3.6301736762226993</c:v>
                </c:pt>
                <c:pt idx="1319">
                  <c:v>3.6301736762226997</c:v>
                </c:pt>
                <c:pt idx="1320">
                  <c:v>3.5854110522774238</c:v>
                </c:pt>
                <c:pt idx="1321">
                  <c:v>3.5977323637146137</c:v>
                </c:pt>
                <c:pt idx="1322">
                  <c:v>3.6915560685023538</c:v>
                </c:pt>
                <c:pt idx="1323">
                  <c:v>3.5397577681913863</c:v>
                </c:pt>
                <c:pt idx="1324">
                  <c:v>3.512866334641481</c:v>
                </c:pt>
                <c:pt idx="1325">
                  <c:v>3.3972605596781689</c:v>
                </c:pt>
                <c:pt idx="1326">
                  <c:v>3.3218191941495987</c:v>
                </c:pt>
                <c:pt idx="1327">
                  <c:v>3.2914029430219163</c:v>
                </c:pt>
                <c:pt idx="1328">
                  <c:v>3.2914029430219163</c:v>
                </c:pt>
                <c:pt idx="1329">
                  <c:v>3.4188456746578133</c:v>
                </c:pt>
                <c:pt idx="1330">
                  <c:v>3.4011492310620568</c:v>
                </c:pt>
                <c:pt idx="1331">
                  <c:v>3.3577838887692231</c:v>
                </c:pt>
                <c:pt idx="1332">
                  <c:v>3.315064882082067</c:v>
                </c:pt>
                <c:pt idx="1333">
                  <c:v>3.2520550531879868</c:v>
                </c:pt>
                <c:pt idx="1334">
                  <c:v>3.3726417900035224</c:v>
                </c:pt>
                <c:pt idx="1335">
                  <c:v>3.3803012856266523</c:v>
                </c:pt>
                <c:pt idx="1336">
                  <c:v>3.4087446706793774</c:v>
                </c:pt>
                <c:pt idx="1337">
                  <c:v>3.4755302249912297</c:v>
                </c:pt>
                <c:pt idx="1338">
                  <c:v>3.3911649915626341</c:v>
                </c:pt>
                <c:pt idx="1339">
                  <c:v>3.4248919774894016</c:v>
                </c:pt>
                <c:pt idx="1340">
                  <c:v>3.3808113016658092</c:v>
                </c:pt>
                <c:pt idx="1341">
                  <c:v>3.3268327418062404</c:v>
                </c:pt>
                <c:pt idx="1342">
                  <c:v>3.4275757996095377</c:v>
                </c:pt>
                <c:pt idx="1343">
                  <c:v>3.5036926333463554</c:v>
                </c:pt>
                <c:pt idx="1344">
                  <c:v>3.413293821610393</c:v>
                </c:pt>
                <c:pt idx="1345">
                  <c:v>3.3808113016658088</c:v>
                </c:pt>
                <c:pt idx="1346">
                  <c:v>3.3808113016658088</c:v>
                </c:pt>
                <c:pt idx="1347">
                  <c:v>3.2835360810264129</c:v>
                </c:pt>
                <c:pt idx="1348">
                  <c:v>3.2172309075731067</c:v>
                </c:pt>
                <c:pt idx="1349">
                  <c:v>3.2582344841989177</c:v>
                </c:pt>
                <c:pt idx="1350">
                  <c:v>3.3060376672795586</c:v>
                </c:pt>
                <c:pt idx="1351">
                  <c:v>3.2428524409881789</c:v>
                </c:pt>
                <c:pt idx="1352">
                  <c:v>3.1176177170854449</c:v>
                </c:pt>
                <c:pt idx="1353">
                  <c:v>3.1447822138287718</c:v>
                </c:pt>
                <c:pt idx="1354">
                  <c:v>3.2027287216321976</c:v>
                </c:pt>
                <c:pt idx="1355">
                  <c:v>3.2021903423290978</c:v>
                </c:pt>
                <c:pt idx="1356">
                  <c:v>3.2134773659711984</c:v>
                </c:pt>
                <c:pt idx="1357">
                  <c:v>3.1724387805112895</c:v>
                </c:pt>
                <c:pt idx="1358">
                  <c:v>3.158822711001716</c:v>
                </c:pt>
                <c:pt idx="1359">
                  <c:v>3.1015383650512947</c:v>
                </c:pt>
                <c:pt idx="1360">
                  <c:v>3.0642544235774212</c:v>
                </c:pt>
                <c:pt idx="1361">
                  <c:v>3.1442339125058307</c:v>
                </c:pt>
                <c:pt idx="1362">
                  <c:v>3.1849141528335645</c:v>
                </c:pt>
                <c:pt idx="1363">
                  <c:v>3.2093613071762421</c:v>
                </c:pt>
                <c:pt idx="1364">
                  <c:v>3.16318623012253</c:v>
                </c:pt>
                <c:pt idx="1365">
                  <c:v>3.1089414985456565</c:v>
                </c:pt>
                <c:pt idx="1366">
                  <c:v>2.9867523591975971</c:v>
                </c:pt>
                <c:pt idx="1367">
                  <c:v>2.7975769482910011</c:v>
                </c:pt>
                <c:pt idx="1368">
                  <c:v>2.8221211554594796</c:v>
                </c:pt>
                <c:pt idx="1369">
                  <c:v>2.725781549844239</c:v>
                </c:pt>
                <c:pt idx="1370">
                  <c:v>2.6663074470696082</c:v>
                </c:pt>
                <c:pt idx="1371">
                  <c:v>2.558735319797969</c:v>
                </c:pt>
                <c:pt idx="1372">
                  <c:v>2.5730700836107077</c:v>
                </c:pt>
                <c:pt idx="1373">
                  <c:v>2.6087826905353344</c:v>
                </c:pt>
                <c:pt idx="1374">
                  <c:v>2.6611293082829137</c:v>
                </c:pt>
                <c:pt idx="1375">
                  <c:v>2.6226248148639613</c:v>
                </c:pt>
                <c:pt idx="1376">
                  <c:v>2.6228439421413516</c:v>
                </c:pt>
                <c:pt idx="1377">
                  <c:v>2.6208711370918985</c:v>
                </c:pt>
                <c:pt idx="1378">
                  <c:v>2.6740558544360429</c:v>
                </c:pt>
                <c:pt idx="1379">
                  <c:v>2.5461261988930666</c:v>
                </c:pt>
                <c:pt idx="1380">
                  <c:v>2.440322194668791</c:v>
                </c:pt>
                <c:pt idx="1381">
                  <c:v>2.3850588561137092</c:v>
                </c:pt>
                <c:pt idx="1382">
                  <c:v>2.3831303667293544</c:v>
                </c:pt>
                <c:pt idx="1383">
                  <c:v>2.3831303667293544</c:v>
                </c:pt>
                <c:pt idx="1384">
                  <c:v>2.2742941307367102</c:v>
                </c:pt>
                <c:pt idx="1385">
                  <c:v>2.5145553296253245</c:v>
                </c:pt>
                <c:pt idx="1386">
                  <c:v>2.7099221687936983</c:v>
                </c:pt>
                <c:pt idx="1387">
                  <c:v>2.7934652809480327</c:v>
                </c:pt>
                <c:pt idx="1388">
                  <c:v>2.7907894487270872</c:v>
                </c:pt>
                <c:pt idx="1389">
                  <c:v>2.8494806947731823</c:v>
                </c:pt>
                <c:pt idx="1390">
                  <c:v>2.9323796777894642</c:v>
                </c:pt>
                <c:pt idx="1391">
                  <c:v>2.8235463150271589</c:v>
                </c:pt>
                <c:pt idx="1392">
                  <c:v>2.797576948291002</c:v>
                </c:pt>
                <c:pt idx="1393">
                  <c:v>2.8367457476449327</c:v>
                </c:pt>
                <c:pt idx="1394">
                  <c:v>2.8235463150271594</c:v>
                </c:pt>
                <c:pt idx="1395">
                  <c:v>2.8343135559308417</c:v>
                </c:pt>
                <c:pt idx="1396">
                  <c:v>2.8180452995551422</c:v>
                </c:pt>
                <c:pt idx="1397">
                  <c:v>2.8729815503246354</c:v>
                </c:pt>
                <c:pt idx="1398">
                  <c:v>2.9680288749098871</c:v>
                </c:pt>
                <c:pt idx="1399">
                  <c:v>2.9711254108328298</c:v>
                </c:pt>
                <c:pt idx="1400">
                  <c:v>2.8639655812482658</c:v>
                </c:pt>
                <c:pt idx="1401">
                  <c:v>2.9063940608220369</c:v>
                </c:pt>
                <c:pt idx="1402">
                  <c:v>2.9063940608220369</c:v>
                </c:pt>
                <c:pt idx="1403">
                  <c:v>2.8665731072676914</c:v>
                </c:pt>
                <c:pt idx="1404">
                  <c:v>2.9046138485511976</c:v>
                </c:pt>
                <c:pt idx="1405">
                  <c:v>2.954832395036751</c:v>
                </c:pt>
                <c:pt idx="1406">
                  <c:v>2.954832395036751</c:v>
                </c:pt>
                <c:pt idx="1407">
                  <c:v>3.0181443640586267</c:v>
                </c:pt>
                <c:pt idx="1408">
                  <c:v>2.9284572848114951</c:v>
                </c:pt>
                <c:pt idx="1409">
                  <c:v>2.8687776242628602</c:v>
                </c:pt>
                <c:pt idx="1410">
                  <c:v>2.8373534698101452</c:v>
                </c:pt>
                <c:pt idx="1411">
                  <c:v>3.0680032069997778</c:v>
                </c:pt>
                <c:pt idx="1412">
                  <c:v>3.2129407877748268</c:v>
                </c:pt>
                <c:pt idx="1413">
                  <c:v>3.0680032069997778</c:v>
                </c:pt>
                <c:pt idx="1414">
                  <c:v>3.0354230518081455</c:v>
                </c:pt>
                <c:pt idx="1415">
                  <c:v>2.9674479146965291</c:v>
                </c:pt>
                <c:pt idx="1416">
                  <c:v>2.9361010975735176</c:v>
                </c:pt>
                <c:pt idx="1417">
                  <c:v>2.8153928290043635</c:v>
                </c:pt>
                <c:pt idx="1418">
                  <c:v>2.8464537323790653</c:v>
                </c:pt>
                <c:pt idx="1419">
                  <c:v>2.731047544378379</c:v>
                </c:pt>
                <c:pt idx="1420">
                  <c:v>2.721561417959208</c:v>
                </c:pt>
                <c:pt idx="1421">
                  <c:v>2.8759805923921133</c:v>
                </c:pt>
                <c:pt idx="1422">
                  <c:v>2.882567501776645</c:v>
                </c:pt>
                <c:pt idx="1423">
                  <c:v>2.9519134647628604</c:v>
                </c:pt>
                <c:pt idx="1424">
                  <c:v>2.944115502481861</c:v>
                </c:pt>
                <c:pt idx="1425">
                  <c:v>3.1566386895069174</c:v>
                </c:pt>
                <c:pt idx="1426">
                  <c:v>3.3397639120910543</c:v>
                </c:pt>
                <c:pt idx="1427">
                  <c:v>3.3543589757107148</c:v>
                </c:pt>
                <c:pt idx="1428">
                  <c:v>3.3252776221494367</c:v>
                </c:pt>
                <c:pt idx="1429">
                  <c:v>3.3252776221494367</c:v>
                </c:pt>
                <c:pt idx="1430">
                  <c:v>3.3543589757107148</c:v>
                </c:pt>
                <c:pt idx="1431">
                  <c:v>3.328041776926113</c:v>
                </c:pt>
                <c:pt idx="1432">
                  <c:v>3.3589817833220912</c:v>
                </c:pt>
                <c:pt idx="1433">
                  <c:v>3.4215342394493349</c:v>
                </c:pt>
                <c:pt idx="1434">
                  <c:v>3.4132938216103934</c:v>
                </c:pt>
                <c:pt idx="1435">
                  <c:v>3.2941955221162926</c:v>
                </c:pt>
                <c:pt idx="1436">
                  <c:v>3.413293821610393</c:v>
                </c:pt>
                <c:pt idx="1437">
                  <c:v>3.336320500605213</c:v>
                </c:pt>
                <c:pt idx="1438">
                  <c:v>3.2626411978957934</c:v>
                </c:pt>
                <c:pt idx="1439">
                  <c:v>3.1832897030168854</c:v>
                </c:pt>
                <c:pt idx="1440">
                  <c:v>3.0970879908372808</c:v>
                </c:pt>
                <c:pt idx="1441">
                  <c:v>3.0970879908372813</c:v>
                </c:pt>
                <c:pt idx="1442">
                  <c:v>3.0970879908372813</c:v>
                </c:pt>
                <c:pt idx="1443">
                  <c:v>3.1747929609389627</c:v>
                </c:pt>
                <c:pt idx="1444">
                  <c:v>3.1724387805112899</c:v>
                </c:pt>
                <c:pt idx="1445">
                  <c:v>3.2666901242413688</c:v>
                </c:pt>
                <c:pt idx="1446">
                  <c:v>3.2955909242850341</c:v>
                </c:pt>
                <c:pt idx="1447">
                  <c:v>3.2455097185701556</c:v>
                </c:pt>
                <c:pt idx="1448">
                  <c:v>3.2455097185701556</c:v>
                </c:pt>
                <c:pt idx="1449">
                  <c:v>3.1832897030168859</c:v>
                </c:pt>
                <c:pt idx="1450">
                  <c:v>3.3081230571004374</c:v>
                </c:pt>
                <c:pt idx="1451">
                  <c:v>3.3569279880928899</c:v>
                </c:pt>
                <c:pt idx="1452">
                  <c:v>3.4274081222961477</c:v>
                </c:pt>
                <c:pt idx="1453">
                  <c:v>3.3289051045955484</c:v>
                </c:pt>
                <c:pt idx="1454">
                  <c:v>3.3107279471786688</c:v>
                </c:pt>
                <c:pt idx="1455">
                  <c:v>3.1724387805112895</c:v>
                </c:pt>
                <c:pt idx="1456">
                  <c:v>3.0775419359963387</c:v>
                </c:pt>
                <c:pt idx="1457">
                  <c:v>3.0567430642629327</c:v>
                </c:pt>
                <c:pt idx="1458">
                  <c:v>3.0567430642629327</c:v>
                </c:pt>
                <c:pt idx="1459">
                  <c:v>3.0505322693649353</c:v>
                </c:pt>
                <c:pt idx="1460">
                  <c:v>3.022710970171544</c:v>
                </c:pt>
                <c:pt idx="1461">
                  <c:v>3.1111590034627907</c:v>
                </c:pt>
                <c:pt idx="1462">
                  <c:v>3.1484351157616248</c:v>
                </c:pt>
                <c:pt idx="1463">
                  <c:v>3.0625659739551057</c:v>
                </c:pt>
                <c:pt idx="1464">
                  <c:v>3.1506248240006611</c:v>
                </c:pt>
                <c:pt idx="1465">
                  <c:v>3.1731633297454733</c:v>
                </c:pt>
                <c:pt idx="1466">
                  <c:v>3.108941498545656</c:v>
                </c:pt>
                <c:pt idx="1467">
                  <c:v>3.0595619850282296</c:v>
                </c:pt>
                <c:pt idx="1468">
                  <c:v>3.0814610656067969</c:v>
                </c:pt>
                <c:pt idx="1469">
                  <c:v>3.1109742717580016</c:v>
                </c:pt>
                <c:pt idx="1470">
                  <c:v>3.2525851787197801</c:v>
                </c:pt>
                <c:pt idx="1471">
                  <c:v>3.1724387805112881</c:v>
                </c:pt>
                <c:pt idx="1472">
                  <c:v>3.2000359193386365</c:v>
                </c:pt>
                <c:pt idx="1473">
                  <c:v>3.1037611591959413</c:v>
                </c:pt>
                <c:pt idx="1474">
                  <c:v>3.1330643073551787</c:v>
                </c:pt>
                <c:pt idx="1475">
                  <c:v>3.1747929609389631</c:v>
                </c:pt>
                <c:pt idx="1476">
                  <c:v>3.2449784371350248</c:v>
                </c:pt>
                <c:pt idx="1477">
                  <c:v>3.3314937452609219</c:v>
                </c:pt>
                <c:pt idx="1478">
                  <c:v>3.3294229937429645</c:v>
                </c:pt>
                <c:pt idx="1479">
                  <c:v>3.4006422652334303</c:v>
                </c:pt>
                <c:pt idx="1480">
                  <c:v>3.3671844372535871</c:v>
                </c:pt>
                <c:pt idx="1481">
                  <c:v>3.158822711001716</c:v>
                </c:pt>
                <c:pt idx="1482">
                  <c:v>3.2703825921213827</c:v>
                </c:pt>
                <c:pt idx="1483">
                  <c:v>3.308123057100437</c:v>
                </c:pt>
                <c:pt idx="1484">
                  <c:v>3.2605267186083027</c:v>
                </c:pt>
                <c:pt idx="1485">
                  <c:v>3.2624650436318148</c:v>
                </c:pt>
                <c:pt idx="1486">
                  <c:v>3.2227638598804798</c:v>
                </c:pt>
                <c:pt idx="1487">
                  <c:v>3.1876197295521127</c:v>
                </c:pt>
                <c:pt idx="1488">
                  <c:v>3.2877340832705499</c:v>
                </c:pt>
                <c:pt idx="1489">
                  <c:v>3.4674181325226878</c:v>
                </c:pt>
                <c:pt idx="1490">
                  <c:v>3.3808113016658083</c:v>
                </c:pt>
                <c:pt idx="1491">
                  <c:v>3.2179453714743369</c:v>
                </c:pt>
                <c:pt idx="1492">
                  <c:v>3.2476339751858756</c:v>
                </c:pt>
                <c:pt idx="1493">
                  <c:v>3.231312320148708</c:v>
                </c:pt>
                <c:pt idx="1494">
                  <c:v>3.0141429082351703</c:v>
                </c:pt>
                <c:pt idx="1495">
                  <c:v>3.0680032069997769</c:v>
                </c:pt>
                <c:pt idx="1496">
                  <c:v>3.1403931227661994</c:v>
                </c:pt>
                <c:pt idx="1497">
                  <c:v>3.1015383650512947</c:v>
                </c:pt>
                <c:pt idx="1498">
                  <c:v>3.2348675113661072</c:v>
                </c:pt>
                <c:pt idx="1499">
                  <c:v>3.2525851787197801</c:v>
                </c:pt>
                <c:pt idx="1500">
                  <c:v>3.2107935782760699</c:v>
                </c:pt>
                <c:pt idx="1501">
                  <c:v>3.2605267186083018</c:v>
                </c:pt>
                <c:pt idx="1502">
                  <c:v>3.230600812417932</c:v>
                </c:pt>
                <c:pt idx="1503">
                  <c:v>3.3399359894754124</c:v>
                </c:pt>
                <c:pt idx="1504">
                  <c:v>3.5300027677368591</c:v>
                </c:pt>
                <c:pt idx="1505">
                  <c:v>3.4614461133177126</c:v>
                </c:pt>
                <c:pt idx="1506">
                  <c:v>3.3884523304013436</c:v>
                </c:pt>
                <c:pt idx="1507">
                  <c:v>3.3884523304013436</c:v>
                </c:pt>
                <c:pt idx="1508">
                  <c:v>3.343375677296859</c:v>
                </c:pt>
                <c:pt idx="1509">
                  <c:v>3.411441196105065</c:v>
                </c:pt>
                <c:pt idx="1510">
                  <c:v>3.4409635111487993</c:v>
                </c:pt>
                <c:pt idx="1511">
                  <c:v>3.431430116391438</c:v>
                </c:pt>
                <c:pt idx="1512">
                  <c:v>3.431430116391438</c:v>
                </c:pt>
                <c:pt idx="1513">
                  <c:v>3.4748687232294349</c:v>
                </c:pt>
                <c:pt idx="1514">
                  <c:v>3.4907101671815108</c:v>
                </c:pt>
                <c:pt idx="1515">
                  <c:v>3.4907101671815108</c:v>
                </c:pt>
                <c:pt idx="1516">
                  <c:v>3.3487002110443211</c:v>
                </c:pt>
                <c:pt idx="1517">
                  <c:v>3.3392476267332554</c:v>
                </c:pt>
                <c:pt idx="1518">
                  <c:v>3.3129838618631267</c:v>
                </c:pt>
                <c:pt idx="1519">
                  <c:v>3.2343344818107309</c:v>
                </c:pt>
                <c:pt idx="1520">
                  <c:v>3.1856358646381677</c:v>
                </c:pt>
                <c:pt idx="1521">
                  <c:v>3.2879088837110748</c:v>
                </c:pt>
                <c:pt idx="1522">
                  <c:v>3.1220388269176937</c:v>
                </c:pt>
                <c:pt idx="1523">
                  <c:v>3.1220388269176929</c:v>
                </c:pt>
                <c:pt idx="1524">
                  <c:v>3.0642544235774221</c:v>
                </c:pt>
                <c:pt idx="1525">
                  <c:v>3.0642544235774212</c:v>
                </c:pt>
                <c:pt idx="1526">
                  <c:v>3.0249916880288579</c:v>
                </c:pt>
                <c:pt idx="1527">
                  <c:v>3.1369140703974461</c:v>
                </c:pt>
                <c:pt idx="1528">
                  <c:v>3.1148513368337034</c:v>
                </c:pt>
                <c:pt idx="1529">
                  <c:v>3.1805804429416638</c:v>
                </c:pt>
                <c:pt idx="1530">
                  <c:v>3.2091822283430154</c:v>
                </c:pt>
                <c:pt idx="1531">
                  <c:v>3.2091822283430154</c:v>
                </c:pt>
                <c:pt idx="1532">
                  <c:v>3.2091822283430154</c:v>
                </c:pt>
                <c:pt idx="1533">
                  <c:v>3.2455097185701551</c:v>
                </c:pt>
                <c:pt idx="1534">
                  <c:v>3.1330643073551792</c:v>
                </c:pt>
                <c:pt idx="1535">
                  <c:v>3.1639128982300084</c:v>
                </c:pt>
                <c:pt idx="1536">
                  <c:v>3.23433448181073</c:v>
                </c:pt>
                <c:pt idx="1537">
                  <c:v>3.1376468230517749</c:v>
                </c:pt>
                <c:pt idx="1538">
                  <c:v>3.2940210552823852</c:v>
                </c:pt>
                <c:pt idx="1539">
                  <c:v>3.2640500897666609</c:v>
                </c:pt>
                <c:pt idx="1540">
                  <c:v>3.1769645022058182</c:v>
                </c:pt>
                <c:pt idx="1541">
                  <c:v>3.1769645022058182</c:v>
                </c:pt>
                <c:pt idx="1542">
                  <c:v>3.2263284709246283</c:v>
                </c:pt>
                <c:pt idx="1543">
                  <c:v>3.2012928422855929</c:v>
                </c:pt>
                <c:pt idx="1544">
                  <c:v>3.3233759321218685</c:v>
                </c:pt>
                <c:pt idx="1545">
                  <c:v>3.3782604514988064</c:v>
                </c:pt>
                <c:pt idx="1546">
                  <c:v>3.4112727257132929</c:v>
                </c:pt>
                <c:pt idx="1547">
                  <c:v>3.411441196105065</c:v>
                </c:pt>
                <c:pt idx="1548">
                  <c:v>3.5084462946294122</c:v>
                </c:pt>
                <c:pt idx="1549">
                  <c:v>3.4649310420896957</c:v>
                </c:pt>
                <c:pt idx="1550">
                  <c:v>3.5751376470567258</c:v>
                </c:pt>
                <c:pt idx="1551">
                  <c:v>3.524789061920512</c:v>
                </c:pt>
                <c:pt idx="1552">
                  <c:v>3.5300027677368595</c:v>
                </c:pt>
                <c:pt idx="1553">
                  <c:v>3.5727255444676902</c:v>
                </c:pt>
                <c:pt idx="1554">
                  <c:v>3.5727255444676902</c:v>
                </c:pt>
                <c:pt idx="1555">
                  <c:v>3.6665621719697516</c:v>
                </c:pt>
                <c:pt idx="1556">
                  <c:v>3.7268827688047543</c:v>
                </c:pt>
                <c:pt idx="1557">
                  <c:v>3.5669298431209899</c:v>
                </c:pt>
                <c:pt idx="1558">
                  <c:v>3.5862124226305792</c:v>
                </c:pt>
                <c:pt idx="1559">
                  <c:v>3.5084462946294122</c:v>
                </c:pt>
                <c:pt idx="1560">
                  <c:v>3.4634379305612759</c:v>
                </c:pt>
                <c:pt idx="1561">
                  <c:v>3.3945527696218138</c:v>
                </c:pt>
                <c:pt idx="1562">
                  <c:v>3.3564143429230113</c:v>
                </c:pt>
                <c:pt idx="1563">
                  <c:v>3.4148088585204714</c:v>
                </c:pt>
                <c:pt idx="1564">
                  <c:v>3.4775139752811723</c:v>
                </c:pt>
                <c:pt idx="1565">
                  <c:v>3.4775139752811723</c:v>
                </c:pt>
                <c:pt idx="1566">
                  <c:v>3.4775139752811723</c:v>
                </c:pt>
                <c:pt idx="1567">
                  <c:v>3.5010671607908086</c:v>
                </c:pt>
                <c:pt idx="1568">
                  <c:v>3.4289169229317613</c:v>
                </c:pt>
                <c:pt idx="1569">
                  <c:v>3.4641016151377544</c:v>
                </c:pt>
                <c:pt idx="1570">
                  <c:v>3.4634379305612759</c:v>
                </c:pt>
                <c:pt idx="1571">
                  <c:v>3.5233213170882207</c:v>
                </c:pt>
                <c:pt idx="1572">
                  <c:v>3.3392476267332554</c:v>
                </c:pt>
                <c:pt idx="1573">
                  <c:v>3.4476378720149428</c:v>
                </c:pt>
                <c:pt idx="1574">
                  <c:v>3.2626411978957934</c:v>
                </c:pt>
                <c:pt idx="1575">
                  <c:v>3.2215153141868234</c:v>
                </c:pt>
                <c:pt idx="1576">
                  <c:v>3.2048813344359712</c:v>
                </c:pt>
                <c:pt idx="1577">
                  <c:v>3.224190177215136</c:v>
                </c:pt>
                <c:pt idx="1578">
                  <c:v>3.2449784371350243</c:v>
                </c:pt>
                <c:pt idx="1579">
                  <c:v>3.2758257711237673</c:v>
                </c:pt>
                <c:pt idx="1580">
                  <c:v>3.158822711001716</c:v>
                </c:pt>
                <c:pt idx="1581">
                  <c:v>3.0792221737643906</c:v>
                </c:pt>
                <c:pt idx="1582">
                  <c:v>3.2631696036321745</c:v>
                </c:pt>
                <c:pt idx="1583">
                  <c:v>3.215622783390097</c:v>
                </c:pt>
                <c:pt idx="1584">
                  <c:v>3.2243684225190412</c:v>
                </c:pt>
                <c:pt idx="1585">
                  <c:v>3.1249827585731276</c:v>
                </c:pt>
                <c:pt idx="1586">
                  <c:v>3.013570837959894</c:v>
                </c:pt>
                <c:pt idx="1587">
                  <c:v>3.1154048094006623</c:v>
                </c:pt>
                <c:pt idx="1588">
                  <c:v>3.170264139254594</c:v>
                </c:pt>
                <c:pt idx="1589">
                  <c:v>3.170264139254594</c:v>
                </c:pt>
                <c:pt idx="1590">
                  <c:v>3.2136562054607758</c:v>
                </c:pt>
                <c:pt idx="1591">
                  <c:v>3.2322014845584128</c:v>
                </c:pt>
                <c:pt idx="1592">
                  <c:v>3.2547048173798903</c:v>
                </c:pt>
                <c:pt idx="1593">
                  <c:v>3.2107935782760704</c:v>
                </c:pt>
                <c:pt idx="1594">
                  <c:v>3.1796768432635112</c:v>
                </c:pt>
                <c:pt idx="1595">
                  <c:v>3.1796768432635112</c:v>
                </c:pt>
                <c:pt idx="1596">
                  <c:v>3.1015383650512947</c:v>
                </c:pt>
                <c:pt idx="1597">
                  <c:v>3.1015383650512947</c:v>
                </c:pt>
                <c:pt idx="1598">
                  <c:v>3.1139286639449422</c:v>
                </c:pt>
                <c:pt idx="1599">
                  <c:v>3.002106540108282</c:v>
                </c:pt>
                <c:pt idx="1600">
                  <c:v>3.0597498207398006</c:v>
                </c:pt>
                <c:pt idx="1601">
                  <c:v>2.988291327409573</c:v>
                </c:pt>
                <c:pt idx="1602">
                  <c:v>3.0095633012727632</c:v>
                </c:pt>
                <c:pt idx="1603">
                  <c:v>2.9495762407505257</c:v>
                </c:pt>
                <c:pt idx="1604">
                  <c:v>3.0103270529158852</c:v>
                </c:pt>
                <c:pt idx="1605">
                  <c:v>3.0618152530285303</c:v>
                </c:pt>
                <c:pt idx="1606">
                  <c:v>3.0552385763833056</c:v>
                </c:pt>
                <c:pt idx="1607">
                  <c:v>3.0820205344404576</c:v>
                </c:pt>
                <c:pt idx="1608">
                  <c:v>3.0295479728072028</c:v>
                </c:pt>
                <c:pt idx="1609">
                  <c:v>3.1811224795479118</c:v>
                </c:pt>
                <c:pt idx="1610">
                  <c:v>3.1878000196871259</c:v>
                </c:pt>
                <c:pt idx="1611">
                  <c:v>3.2091822283430149</c:v>
                </c:pt>
                <c:pt idx="1612">
                  <c:v>3.106537415297566</c:v>
                </c:pt>
                <c:pt idx="1613">
                  <c:v>3.1065374152975656</c:v>
                </c:pt>
                <c:pt idx="1614">
                  <c:v>3.1529952918367692</c:v>
                </c:pt>
                <c:pt idx="1615">
                  <c:v>3.1767835971291003</c:v>
                </c:pt>
                <c:pt idx="1616">
                  <c:v>3.1747929609389631</c:v>
                </c:pt>
                <c:pt idx="1617">
                  <c:v>3.1747929609389627</c:v>
                </c:pt>
                <c:pt idx="1618">
                  <c:v>3.1506248240006611</c:v>
                </c:pt>
                <c:pt idx="1619">
                  <c:v>3.1484351157616253</c:v>
                </c:pt>
                <c:pt idx="1620">
                  <c:v>3.0680032069997774</c:v>
                </c:pt>
                <c:pt idx="1621">
                  <c:v>3.0680032069997774</c:v>
                </c:pt>
                <c:pt idx="1622">
                  <c:v>3.1347147847306931</c:v>
                </c:pt>
                <c:pt idx="1623">
                  <c:v>3.0842573949268441</c:v>
                </c:pt>
                <c:pt idx="1624">
                  <c:v>3.2279312616418987</c:v>
                </c:pt>
                <c:pt idx="1625">
                  <c:v>3.3176643217366255</c:v>
                </c:pt>
                <c:pt idx="1626">
                  <c:v>3.2976829204273357</c:v>
                </c:pt>
                <c:pt idx="1627">
                  <c:v>3.2976829204273357</c:v>
                </c:pt>
                <c:pt idx="1628">
                  <c:v>3.2976829204273357</c:v>
                </c:pt>
                <c:pt idx="1629">
                  <c:v>3.2976829204273357</c:v>
                </c:pt>
                <c:pt idx="1630">
                  <c:v>3.2940210552823852</c:v>
                </c:pt>
                <c:pt idx="1631">
                  <c:v>3.328041776926113</c:v>
                </c:pt>
                <c:pt idx="1632">
                  <c:v>3.4011492310620564</c:v>
                </c:pt>
                <c:pt idx="1633">
                  <c:v>3.3521309057367379</c:v>
                </c:pt>
                <c:pt idx="1634">
                  <c:v>3.308123057100437</c:v>
                </c:pt>
                <c:pt idx="1635">
                  <c:v>3.3930286880839842</c:v>
                </c:pt>
                <c:pt idx="1636">
                  <c:v>3.3977680300760515</c:v>
                </c:pt>
                <c:pt idx="1637">
                  <c:v>3.4808177134149072</c:v>
                </c:pt>
                <c:pt idx="1638">
                  <c:v>3.3869255037299077</c:v>
                </c:pt>
                <c:pt idx="1639">
                  <c:v>3.2455097185701551</c:v>
                </c:pt>
                <c:pt idx="1640">
                  <c:v>3.2428524409881789</c:v>
                </c:pt>
                <c:pt idx="1641">
                  <c:v>3.2120462915889529</c:v>
                </c:pt>
                <c:pt idx="1642">
                  <c:v>3.2120462915889529</c:v>
                </c:pt>
                <c:pt idx="1643">
                  <c:v>3.2072117012370303</c:v>
                </c:pt>
                <c:pt idx="1644">
                  <c:v>3.2120462915889534</c:v>
                </c:pt>
                <c:pt idx="1645">
                  <c:v>3.1892419738577527</c:v>
                </c:pt>
                <c:pt idx="1646">
                  <c:v>3.1892419738577527</c:v>
                </c:pt>
                <c:pt idx="1647">
                  <c:v>3.1876197295521127</c:v>
                </c:pt>
                <c:pt idx="1648">
                  <c:v>3.1529952918367687</c:v>
                </c:pt>
                <c:pt idx="1649">
                  <c:v>3.1529952918367687</c:v>
                </c:pt>
                <c:pt idx="1650">
                  <c:v>3.2666901242413684</c:v>
                </c:pt>
                <c:pt idx="1651">
                  <c:v>3.2666901242413684</c:v>
                </c:pt>
                <c:pt idx="1652">
                  <c:v>3.2236553821692087</c:v>
                </c:pt>
                <c:pt idx="1653">
                  <c:v>3.2877340832705504</c:v>
                </c:pt>
                <c:pt idx="1654">
                  <c:v>3.2134773659711993</c:v>
                </c:pt>
                <c:pt idx="1655">
                  <c:v>3.1015383650512942</c:v>
                </c:pt>
                <c:pt idx="1656">
                  <c:v>3.1775071556391392</c:v>
                </c:pt>
                <c:pt idx="1657">
                  <c:v>3.1914036835324309</c:v>
                </c:pt>
                <c:pt idx="1658">
                  <c:v>3.2456867930563926</c:v>
                </c:pt>
                <c:pt idx="1659">
                  <c:v>3.3459531226319617</c:v>
                </c:pt>
                <c:pt idx="1660">
                  <c:v>3.2767028564084661</c:v>
                </c:pt>
                <c:pt idx="1661">
                  <c:v>3.3051683665184868</c:v>
                </c:pt>
                <c:pt idx="1662">
                  <c:v>3.2179453714743365</c:v>
                </c:pt>
                <c:pt idx="1663">
                  <c:v>3.1579128856102807</c:v>
                </c:pt>
                <c:pt idx="1664">
                  <c:v>3.3086441991821367</c:v>
                </c:pt>
                <c:pt idx="1665">
                  <c:v>3.1529952918367687</c:v>
                </c:pt>
                <c:pt idx="1666">
                  <c:v>3.2107935782760704</c:v>
                </c:pt>
                <c:pt idx="1667">
                  <c:v>3.1154048094006623</c:v>
                </c:pt>
                <c:pt idx="1668">
                  <c:v>3.2091822283430154</c:v>
                </c:pt>
                <c:pt idx="1669">
                  <c:v>3.3086441991821367</c:v>
                </c:pt>
                <c:pt idx="1670">
                  <c:v>3.3295956055580871</c:v>
                </c:pt>
                <c:pt idx="1671">
                  <c:v>3.3930286880839842</c:v>
                </c:pt>
                <c:pt idx="1672">
                  <c:v>3.3254504491354506</c:v>
                </c:pt>
                <c:pt idx="1673">
                  <c:v>3.3107279471786697</c:v>
                </c:pt>
                <c:pt idx="1674">
                  <c:v>3.2940210552823852</c:v>
                </c:pt>
                <c:pt idx="1675">
                  <c:v>3.3705963181950289</c:v>
                </c:pt>
                <c:pt idx="1676">
                  <c:v>3.3930286880839837</c:v>
                </c:pt>
                <c:pt idx="1677">
                  <c:v>3.4476378720149428</c:v>
                </c:pt>
                <c:pt idx="1678">
                  <c:v>3.4409635111487993</c:v>
                </c:pt>
                <c:pt idx="1679">
                  <c:v>3.4409635111487993</c:v>
                </c:pt>
                <c:pt idx="1680">
                  <c:v>3.5005746654664778</c:v>
                </c:pt>
                <c:pt idx="1681">
                  <c:v>3.5291886339204233</c:v>
                </c:pt>
                <c:pt idx="1682">
                  <c:v>3.4708970651377156</c:v>
                </c:pt>
                <c:pt idx="1683">
                  <c:v>3.3972605596781689</c:v>
                </c:pt>
                <c:pt idx="1684">
                  <c:v>3.268800616627507</c:v>
                </c:pt>
                <c:pt idx="1685">
                  <c:v>3.3461248817307956</c:v>
                </c:pt>
                <c:pt idx="1686">
                  <c:v>3.4087446706793778</c:v>
                </c:pt>
                <c:pt idx="1687">
                  <c:v>3.3603502827813205</c:v>
                </c:pt>
                <c:pt idx="1688">
                  <c:v>3.3025590913296523</c:v>
                </c:pt>
                <c:pt idx="1689">
                  <c:v>3.2136562054607758</c:v>
                </c:pt>
                <c:pt idx="1690">
                  <c:v>3.2745974570543974</c:v>
                </c:pt>
                <c:pt idx="1691">
                  <c:v>3.2136562054607758</c:v>
                </c:pt>
                <c:pt idx="1692">
                  <c:v>3.2136562054607758</c:v>
                </c:pt>
                <c:pt idx="1693">
                  <c:v>3.2758257711237668</c:v>
                </c:pt>
                <c:pt idx="1694">
                  <c:v>3.1082019786735042</c:v>
                </c:pt>
                <c:pt idx="1695">
                  <c:v>3.1264536848765503</c:v>
                </c:pt>
                <c:pt idx="1696">
                  <c:v>3.231312320148708</c:v>
                </c:pt>
                <c:pt idx="1697">
                  <c:v>3.3150648820820674</c:v>
                </c:pt>
                <c:pt idx="1698">
                  <c:v>3.1878000196871263</c:v>
                </c:pt>
                <c:pt idx="1699">
                  <c:v>3.1222229039690559</c:v>
                </c:pt>
                <c:pt idx="1700">
                  <c:v>3.0954174509106678</c:v>
                </c:pt>
                <c:pt idx="1701">
                  <c:v>3.0567430642629314</c:v>
                </c:pt>
                <c:pt idx="1702">
                  <c:v>3.1374636509319971</c:v>
                </c:pt>
                <c:pt idx="1703">
                  <c:v>3.2072117012370303</c:v>
                </c:pt>
                <c:pt idx="1704">
                  <c:v>3.169720245823219</c:v>
                </c:pt>
                <c:pt idx="1705">
                  <c:v>3.1043166090454428</c:v>
                </c:pt>
                <c:pt idx="1706">
                  <c:v>3.1593684804723701</c:v>
                </c:pt>
                <c:pt idx="1707">
                  <c:v>2.9087659823763552</c:v>
                </c:pt>
                <c:pt idx="1708">
                  <c:v>2.9182343898362557</c:v>
                </c:pt>
                <c:pt idx="1709">
                  <c:v>2.9182343898362562</c:v>
                </c:pt>
                <c:pt idx="1710">
                  <c:v>2.6087826905353344</c:v>
                </c:pt>
                <c:pt idx="1711">
                  <c:v>2.4315928273789829</c:v>
                </c:pt>
                <c:pt idx="1712">
                  <c:v>2.3442274417919808</c:v>
                </c:pt>
                <c:pt idx="1713">
                  <c:v>2.3331691239426995</c:v>
                </c:pt>
                <c:pt idx="1714">
                  <c:v>2.2803508501982757</c:v>
                </c:pt>
                <c:pt idx="1715">
                  <c:v>2.2732831086237426</c:v>
                </c:pt>
                <c:pt idx="1716">
                  <c:v>2.2334963055994597</c:v>
                </c:pt>
                <c:pt idx="1717">
                  <c:v>2.2334963055994597</c:v>
                </c:pt>
                <c:pt idx="1718">
                  <c:v>2.2334963055994597</c:v>
                </c:pt>
                <c:pt idx="1719">
                  <c:v>2.1613107985239175</c:v>
                </c:pt>
                <c:pt idx="1720">
                  <c:v>2.1559860533104027</c:v>
                </c:pt>
                <c:pt idx="1721">
                  <c:v>2.0902070512849638</c:v>
                </c:pt>
                <c:pt idx="1722">
                  <c:v>2.0833218390487516</c:v>
                </c:pt>
                <c:pt idx="1723">
                  <c:v>2.0833218390487516</c:v>
                </c:pt>
                <c:pt idx="1724">
                  <c:v>2.1088211011799016</c:v>
                </c:pt>
                <c:pt idx="1725">
                  <c:v>2.1161665623339365</c:v>
                </c:pt>
                <c:pt idx="1726">
                  <c:v>1.4994251772159104</c:v>
                </c:pt>
                <c:pt idx="1727">
                  <c:v>1.4994251772159104</c:v>
                </c:pt>
                <c:pt idx="1728">
                  <c:v>1.4781939897267773</c:v>
                </c:pt>
                <c:pt idx="1729">
                  <c:v>1.2205143065174584</c:v>
                </c:pt>
                <c:pt idx="1730">
                  <c:v>1.2205143065174584</c:v>
                </c:pt>
                <c:pt idx="1731">
                  <c:v>1.2228664272317622</c:v>
                </c:pt>
                <c:pt idx="1732">
                  <c:v>1.1962585350828727</c:v>
                </c:pt>
                <c:pt idx="1733">
                  <c:v>1.1651056880677462</c:v>
                </c:pt>
                <c:pt idx="1734">
                  <c:v>1.1290317283753197</c:v>
                </c:pt>
                <c:pt idx="1735">
                  <c:v>1.1017227888394956</c:v>
                </c:pt>
                <c:pt idx="1736">
                  <c:v>1.0613372610104652</c:v>
                </c:pt>
                <c:pt idx="1737">
                  <c:v>1.0613372610104652</c:v>
                </c:pt>
                <c:pt idx="1738">
                  <c:v>1.0148325268098501</c:v>
                </c:pt>
                <c:pt idx="1739">
                  <c:v>1.0553639672872466</c:v>
                </c:pt>
                <c:pt idx="1740">
                  <c:v>1.0806553992619587</c:v>
                </c:pt>
                <c:pt idx="1741">
                  <c:v>1.0806553992619587</c:v>
                </c:pt>
                <c:pt idx="1742">
                  <c:v>1.0806553992619587</c:v>
                </c:pt>
                <c:pt idx="1743">
                  <c:v>1.0305673027596218</c:v>
                </c:pt>
                <c:pt idx="1744">
                  <c:v>1.6609095970747993</c:v>
                </c:pt>
                <c:pt idx="1745">
                  <c:v>1.984132457573184</c:v>
                </c:pt>
                <c:pt idx="1746">
                  <c:v>2.2511810437976822</c:v>
                </c:pt>
                <c:pt idx="1747">
                  <c:v>2.3449628088122512</c:v>
                </c:pt>
                <c:pt idx="1748">
                  <c:v>2.630501896955229</c:v>
                </c:pt>
                <c:pt idx="1749">
                  <c:v>2.7534722071236346</c:v>
                </c:pt>
                <c:pt idx="1750">
                  <c:v>2.9680288749098871</c:v>
                </c:pt>
                <c:pt idx="1751">
                  <c:v>3.1456958369891028</c:v>
                </c:pt>
                <c:pt idx="1752">
                  <c:v>3.1659103755076718</c:v>
                </c:pt>
                <c:pt idx="1753">
                  <c:v>3.2968114166936173</c:v>
                </c:pt>
                <c:pt idx="1754">
                  <c:v>3.2412570287523916</c:v>
                </c:pt>
                <c:pt idx="1755">
                  <c:v>3.2021903423290983</c:v>
                </c:pt>
                <c:pt idx="1756">
                  <c:v>3.1222229039690559</c:v>
                </c:pt>
                <c:pt idx="1757">
                  <c:v>3.1192763676005475</c:v>
                </c:pt>
                <c:pt idx="1758">
                  <c:v>3.2661622880613304</c:v>
                </c:pt>
                <c:pt idx="1759">
                  <c:v>3.3072543044771687</c:v>
                </c:pt>
                <c:pt idx="1760">
                  <c:v>3.2877340832705504</c:v>
                </c:pt>
                <c:pt idx="1761">
                  <c:v>3.3107279471786697</c:v>
                </c:pt>
                <c:pt idx="1762">
                  <c:v>3.2737198076974061</c:v>
                </c:pt>
                <c:pt idx="1763">
                  <c:v>3.2737198076974061</c:v>
                </c:pt>
                <c:pt idx="1764">
                  <c:v>3.236998751859542</c:v>
                </c:pt>
                <c:pt idx="1765">
                  <c:v>3.236998751859542</c:v>
                </c:pt>
                <c:pt idx="1766">
                  <c:v>3.2348675113661076</c:v>
                </c:pt>
                <c:pt idx="1767">
                  <c:v>3.262641197895793</c:v>
                </c:pt>
                <c:pt idx="1768">
                  <c:v>3.2499336863261141</c:v>
                </c:pt>
                <c:pt idx="1769">
                  <c:v>3.2499336863261137</c:v>
                </c:pt>
                <c:pt idx="1770">
                  <c:v>3.2879088837110748</c:v>
                </c:pt>
                <c:pt idx="1771">
                  <c:v>3.3397639120910543</c:v>
                </c:pt>
                <c:pt idx="1772">
                  <c:v>3.3397639120910543</c:v>
                </c:pt>
                <c:pt idx="1773">
                  <c:v>3.2758257711237664</c:v>
                </c:pt>
                <c:pt idx="1774">
                  <c:v>3.2758257711237664</c:v>
                </c:pt>
                <c:pt idx="1775">
                  <c:v>3.2758257711237664</c:v>
                </c:pt>
                <c:pt idx="1776">
                  <c:v>3.2455097185701551</c:v>
                </c:pt>
                <c:pt idx="1777">
                  <c:v>3.3072543044771692</c:v>
                </c:pt>
                <c:pt idx="1778">
                  <c:v>3.2518783254725503</c:v>
                </c:pt>
                <c:pt idx="1779">
                  <c:v>3.3521309057367374</c:v>
                </c:pt>
                <c:pt idx="1780">
                  <c:v>3.2731931051265946</c:v>
                </c:pt>
                <c:pt idx="1781">
                  <c:v>3.2534685293182672</c:v>
                </c:pt>
                <c:pt idx="1782">
                  <c:v>3.2199093297721939</c:v>
                </c:pt>
                <c:pt idx="1783">
                  <c:v>3.2199093297721944</c:v>
                </c:pt>
                <c:pt idx="1784">
                  <c:v>3.2534685293182672</c:v>
                </c:pt>
                <c:pt idx="1785">
                  <c:v>3.3945527696218138</c:v>
                </c:pt>
                <c:pt idx="1786">
                  <c:v>3.4132938216103925</c:v>
                </c:pt>
                <c:pt idx="1787">
                  <c:v>3.3870951851259581</c:v>
                </c:pt>
                <c:pt idx="1788">
                  <c:v>3.2851109605291122</c:v>
                </c:pt>
                <c:pt idx="1789">
                  <c:v>3.1666364184883227</c:v>
                </c:pt>
                <c:pt idx="1790">
                  <c:v>3.1849141528335645</c:v>
                </c:pt>
                <c:pt idx="1791">
                  <c:v>3.1849141528335645</c:v>
                </c:pt>
                <c:pt idx="1792">
                  <c:v>3.3025590913296519</c:v>
                </c:pt>
                <c:pt idx="1793">
                  <c:v>3.3521309057367379</c:v>
                </c:pt>
                <c:pt idx="1794">
                  <c:v>3.3876041783191724</c:v>
                </c:pt>
                <c:pt idx="1795">
                  <c:v>3.4733798836424379</c:v>
                </c:pt>
                <c:pt idx="1796">
                  <c:v>3.5467323475034851</c:v>
                </c:pt>
                <c:pt idx="1797">
                  <c:v>3.5071355833500362</c:v>
                </c:pt>
                <c:pt idx="1798">
                  <c:v>3.4733798836424383</c:v>
                </c:pt>
                <c:pt idx="1799">
                  <c:v>3.360350282781321</c:v>
                </c:pt>
                <c:pt idx="1800">
                  <c:v>3.322684138623091</c:v>
                </c:pt>
                <c:pt idx="1801">
                  <c:v>3.322684138623091</c:v>
                </c:pt>
                <c:pt idx="1802">
                  <c:v>3.4233814029238778</c:v>
                </c:pt>
                <c:pt idx="1803">
                  <c:v>3.5499716689819811</c:v>
                </c:pt>
                <c:pt idx="1804">
                  <c:v>3.4879101538570785</c:v>
                </c:pt>
                <c:pt idx="1805">
                  <c:v>3.460947979895137</c:v>
                </c:pt>
                <c:pt idx="1806">
                  <c:v>3.4887339204668639</c:v>
                </c:pt>
                <c:pt idx="1807">
                  <c:v>3.5591875606595984</c:v>
                </c:pt>
                <c:pt idx="1808">
                  <c:v>3.5306539396235523</c:v>
                </c:pt>
                <c:pt idx="1809">
                  <c:v>3.5306539396235523</c:v>
                </c:pt>
                <c:pt idx="1810">
                  <c:v>3.5873340403761373</c:v>
                </c:pt>
                <c:pt idx="1811">
                  <c:v>3.5583801041368872</c:v>
                </c:pt>
                <c:pt idx="1812">
                  <c:v>3.6552591618419998</c:v>
                </c:pt>
                <c:pt idx="1813">
                  <c:v>3.5785118592002441</c:v>
                </c:pt>
                <c:pt idx="1814">
                  <c:v>3.5128663346414806</c:v>
                </c:pt>
                <c:pt idx="1815">
                  <c:v>3.4489711942622217</c:v>
                </c:pt>
                <c:pt idx="1816">
                  <c:v>3.4300899756973302</c:v>
                </c:pt>
                <c:pt idx="1817">
                  <c:v>3.4300899756973302</c:v>
                </c:pt>
                <c:pt idx="1818">
                  <c:v>3.4847780648011919</c:v>
                </c:pt>
                <c:pt idx="1819">
                  <c:v>3.6103300068858926</c:v>
                </c:pt>
                <c:pt idx="1820">
                  <c:v>3.7078667535483212</c:v>
                </c:pt>
                <c:pt idx="1821">
                  <c:v>3.6671890954883914</c:v>
                </c:pt>
                <c:pt idx="1822">
                  <c:v>3.6117623933762442</c:v>
                </c:pt>
                <c:pt idx="1823">
                  <c:v>3.5905367318812522</c:v>
                </c:pt>
                <c:pt idx="1824">
                  <c:v>3.5499716689819811</c:v>
                </c:pt>
                <c:pt idx="1825">
                  <c:v>3.4733798836424374</c:v>
                </c:pt>
                <c:pt idx="1826">
                  <c:v>3.4087446706793778</c:v>
                </c:pt>
                <c:pt idx="1827">
                  <c:v>3.4087446706793778</c:v>
                </c:pt>
                <c:pt idx="1828">
                  <c:v>3.4087446706793778</c:v>
                </c:pt>
                <c:pt idx="1829">
                  <c:v>3.4315975971791213</c:v>
                </c:pt>
                <c:pt idx="1830">
                  <c:v>3.5397577681913868</c:v>
                </c:pt>
                <c:pt idx="1831">
                  <c:v>3.4087446706793783</c:v>
                </c:pt>
                <c:pt idx="1832">
                  <c:v>3.4087446706793778</c:v>
                </c:pt>
                <c:pt idx="1833">
                  <c:v>3.3665016461206925</c:v>
                </c:pt>
                <c:pt idx="1834">
                  <c:v>3.4046958781936021</c:v>
                </c:pt>
                <c:pt idx="1835">
                  <c:v>3.4087446706793778</c:v>
                </c:pt>
                <c:pt idx="1836">
                  <c:v>3.3639399450678349</c:v>
                </c:pt>
                <c:pt idx="1837">
                  <c:v>3.2334459039534136</c:v>
                </c:pt>
                <c:pt idx="1838">
                  <c:v>3.298205712132011</c:v>
                </c:pt>
                <c:pt idx="1839">
                  <c:v>3.1286587776755774</c:v>
                </c:pt>
                <c:pt idx="1840">
                  <c:v>3.0227109701715449</c:v>
                </c:pt>
                <c:pt idx="1841">
                  <c:v>3.0164301043970241</c:v>
                </c:pt>
                <c:pt idx="1842">
                  <c:v>2.9980836791401329</c:v>
                </c:pt>
                <c:pt idx="1843">
                  <c:v>3.0708117912811366</c:v>
                </c:pt>
                <c:pt idx="1844">
                  <c:v>3.0814610656067964</c:v>
                </c:pt>
                <c:pt idx="1845">
                  <c:v>2.9998084230018165</c:v>
                </c:pt>
                <c:pt idx="1846">
                  <c:v>3.169720245823219</c:v>
                </c:pt>
                <c:pt idx="1847">
                  <c:v>3.169720245823219</c:v>
                </c:pt>
                <c:pt idx="1848">
                  <c:v>3.1126364624103529</c:v>
                </c:pt>
                <c:pt idx="1849">
                  <c:v>3.0842573949268433</c:v>
                </c:pt>
                <c:pt idx="1850">
                  <c:v>2.9604674995837996</c:v>
                </c:pt>
                <c:pt idx="1851">
                  <c:v>3.0416646984720455</c:v>
                </c:pt>
                <c:pt idx="1852">
                  <c:v>3.0954174509106687</c:v>
                </c:pt>
                <c:pt idx="1853">
                  <c:v>3.0595619850282301</c:v>
                </c:pt>
                <c:pt idx="1854">
                  <c:v>3.1456958369891028</c:v>
                </c:pt>
                <c:pt idx="1855">
                  <c:v>3.2307787040406772</c:v>
                </c:pt>
                <c:pt idx="1856">
                  <c:v>3.1456958369891028</c:v>
                </c:pt>
                <c:pt idx="1857">
                  <c:v>3.2279312616418978</c:v>
                </c:pt>
                <c:pt idx="1858">
                  <c:v>3.2279312616418983</c:v>
                </c:pt>
                <c:pt idx="1859">
                  <c:v>3.28720962617792</c:v>
                </c:pt>
                <c:pt idx="1860">
                  <c:v>3.1724387805112895</c:v>
                </c:pt>
                <c:pt idx="1861">
                  <c:v>3.2091822283430158</c:v>
                </c:pt>
                <c:pt idx="1862">
                  <c:v>3.2091822283430158</c:v>
                </c:pt>
                <c:pt idx="1863">
                  <c:v>3.2605267186083022</c:v>
                </c:pt>
                <c:pt idx="1864">
                  <c:v>3.3577838887692222</c:v>
                </c:pt>
                <c:pt idx="1865">
                  <c:v>3.4148088585204714</c:v>
                </c:pt>
                <c:pt idx="1866">
                  <c:v>3.4334393466502995</c:v>
                </c:pt>
                <c:pt idx="1867">
                  <c:v>3.433439346650299</c:v>
                </c:pt>
                <c:pt idx="1868">
                  <c:v>3.3850584470072556</c:v>
                </c:pt>
                <c:pt idx="1869">
                  <c:v>3.4814780848329945</c:v>
                </c:pt>
                <c:pt idx="1870">
                  <c:v>3.4814780848329945</c:v>
                </c:pt>
                <c:pt idx="1871">
                  <c:v>3.4986039908880047</c:v>
                </c:pt>
                <c:pt idx="1872">
                  <c:v>3.4708970651377156</c:v>
                </c:pt>
                <c:pt idx="1873">
                  <c:v>3.4986039908880047</c:v>
                </c:pt>
                <c:pt idx="1874">
                  <c:v>3.6096932082202313</c:v>
                </c:pt>
                <c:pt idx="1875">
                  <c:v>3.6308068828691034</c:v>
                </c:pt>
                <c:pt idx="1876">
                  <c:v>3.5267451048357263</c:v>
                </c:pt>
                <c:pt idx="1877">
                  <c:v>3.5045126901471333</c:v>
                </c:pt>
                <c:pt idx="1878">
                  <c:v>3.5045126901471333</c:v>
                </c:pt>
                <c:pt idx="1879">
                  <c:v>3.4733798836424374</c:v>
                </c:pt>
                <c:pt idx="1880">
                  <c:v>3.5330947653140661</c:v>
                </c:pt>
                <c:pt idx="1881">
                  <c:v>3.4576252564141621</c:v>
                </c:pt>
                <c:pt idx="1882">
                  <c:v>3.3500729105121163</c:v>
                </c:pt>
                <c:pt idx="1883">
                  <c:v>3.3828505968959881</c:v>
                </c:pt>
                <c:pt idx="1884">
                  <c:v>3.3828505968959881</c:v>
                </c:pt>
                <c:pt idx="1885">
                  <c:v>3.244092774726778</c:v>
                </c:pt>
                <c:pt idx="1886">
                  <c:v>3.2449784371350248</c:v>
                </c:pt>
                <c:pt idx="1887">
                  <c:v>3.1747929609389627</c:v>
                </c:pt>
                <c:pt idx="1888">
                  <c:v>3.1747929609389627</c:v>
                </c:pt>
                <c:pt idx="1889">
                  <c:v>3.1747929609389631</c:v>
                </c:pt>
                <c:pt idx="1890">
                  <c:v>3.2120462915889538</c:v>
                </c:pt>
                <c:pt idx="1891">
                  <c:v>3.2120462915889534</c:v>
                </c:pt>
                <c:pt idx="1892">
                  <c:v>3.1675437381878937</c:v>
                </c:pt>
                <c:pt idx="1893">
                  <c:v>3.1089414985456565</c:v>
                </c:pt>
                <c:pt idx="1894">
                  <c:v>2.9235468932072228</c:v>
                </c:pt>
                <c:pt idx="1895">
                  <c:v>2.8211027435481979</c:v>
                </c:pt>
                <c:pt idx="1896">
                  <c:v>2.8211027435481979</c:v>
                </c:pt>
                <c:pt idx="1897">
                  <c:v>2.8367457476449323</c:v>
                </c:pt>
                <c:pt idx="1898">
                  <c:v>2.8639655812482663</c:v>
                </c:pt>
                <c:pt idx="1899">
                  <c:v>2.7802670838376775</c:v>
                </c:pt>
                <c:pt idx="1900">
                  <c:v>2.6695386832951482</c:v>
                </c:pt>
                <c:pt idx="1901">
                  <c:v>2.6971675223608491</c:v>
                </c:pt>
                <c:pt idx="1902">
                  <c:v>2.7761297793374391</c:v>
                </c:pt>
                <c:pt idx="1903">
                  <c:v>2.6772777390390465</c:v>
                </c:pt>
                <c:pt idx="1904">
                  <c:v>2.4202213254923222</c:v>
                </c:pt>
                <c:pt idx="1905">
                  <c:v>2.4202213254923222</c:v>
                </c:pt>
                <c:pt idx="1906">
                  <c:v>2.3734644158557194</c:v>
                </c:pt>
                <c:pt idx="1907">
                  <c:v>2.3867450060988777</c:v>
                </c:pt>
                <c:pt idx="1908">
                  <c:v>2.2396633572979194</c:v>
                </c:pt>
                <c:pt idx="1909">
                  <c:v>1.9945327571990961</c:v>
                </c:pt>
                <c:pt idx="1910">
                  <c:v>1.9815238534040394</c:v>
                </c:pt>
                <c:pt idx="1911">
                  <c:v>1.9596504497122615</c:v>
                </c:pt>
                <c:pt idx="1912">
                  <c:v>1.99539700195282</c:v>
                </c:pt>
                <c:pt idx="1913">
                  <c:v>2.0014362658942644</c:v>
                </c:pt>
                <c:pt idx="1914">
                  <c:v>1.542128697463421</c:v>
                </c:pt>
                <c:pt idx="1915">
                  <c:v>1.3493293353264109</c:v>
                </c:pt>
                <c:pt idx="1916">
                  <c:v>1.2847469449832045</c:v>
                </c:pt>
                <c:pt idx="1917">
                  <c:v>1.1651056880677462</c:v>
                </c:pt>
                <c:pt idx="1918">
                  <c:v>1.1371470653683551</c:v>
                </c:pt>
                <c:pt idx="1919">
                  <c:v>1.1058881072455413</c:v>
                </c:pt>
                <c:pt idx="1920">
                  <c:v>1.1058881072455413</c:v>
                </c:pt>
                <c:pt idx="1921">
                  <c:v>1.106407669457548</c:v>
                </c:pt>
                <c:pt idx="1922">
                  <c:v>1.1351236704106018</c:v>
                </c:pt>
                <c:pt idx="1923">
                  <c:v>1.1244411127720095</c:v>
                </c:pt>
                <c:pt idx="1924">
                  <c:v>1.0980651740387641</c:v>
                </c:pt>
                <c:pt idx="1925">
                  <c:v>1.0933445471810685</c:v>
                </c:pt>
                <c:pt idx="1926">
                  <c:v>1.0661996103898193</c:v>
                </c:pt>
                <c:pt idx="1927">
                  <c:v>1.0661996103898193</c:v>
                </c:pt>
                <c:pt idx="1928">
                  <c:v>1.1017227888394958</c:v>
                </c:pt>
                <c:pt idx="1929">
                  <c:v>1.106407669457548</c:v>
                </c:pt>
                <c:pt idx="1930">
                  <c:v>1.0726484571581121</c:v>
                </c:pt>
                <c:pt idx="1931">
                  <c:v>1.0726484571581121</c:v>
                </c:pt>
                <c:pt idx="1932">
                  <c:v>1.5789564428051404</c:v>
                </c:pt>
                <c:pt idx="1933">
                  <c:v>2.0591818484673641</c:v>
                </c:pt>
                <c:pt idx="1934">
                  <c:v>2.0569478561107526</c:v>
                </c:pt>
                <c:pt idx="1935">
                  <c:v>2.0924055341974772</c:v>
                </c:pt>
                <c:pt idx="1936">
                  <c:v>2.0924055341974772</c:v>
                </c:pt>
                <c:pt idx="1937">
                  <c:v>2.0569478561107526</c:v>
                </c:pt>
                <c:pt idx="1938">
                  <c:v>2.1719211264017728</c:v>
                </c:pt>
                <c:pt idx="1939">
                  <c:v>2.2180036586726044</c:v>
                </c:pt>
                <c:pt idx="1940">
                  <c:v>2.5282314021838475</c:v>
                </c:pt>
                <c:pt idx="1941">
                  <c:v>2.8695788469077979</c:v>
                </c:pt>
                <c:pt idx="1942">
                  <c:v>2.9182343898362562</c:v>
                </c:pt>
                <c:pt idx="1943">
                  <c:v>3.0066975047479372</c:v>
                </c:pt>
                <c:pt idx="1944">
                  <c:v>3.0066975047479372</c:v>
                </c:pt>
                <c:pt idx="1945">
                  <c:v>2.9873295651860179</c:v>
                </c:pt>
                <c:pt idx="1946">
                  <c:v>3.0066975047479372</c:v>
                </c:pt>
                <c:pt idx="1947">
                  <c:v>3.0240415979623854</c:v>
                </c:pt>
                <c:pt idx="1948">
                  <c:v>2.9913668885760178</c:v>
                </c:pt>
                <c:pt idx="1949">
                  <c:v>3.0255615988615641</c:v>
                </c:pt>
                <c:pt idx="1950">
                  <c:v>3.080528391755835</c:v>
                </c:pt>
                <c:pt idx="1951">
                  <c:v>3.0595619850282301</c:v>
                </c:pt>
                <c:pt idx="1952">
                  <c:v>3.0589984086899777</c:v>
                </c:pt>
                <c:pt idx="1953">
                  <c:v>3.1615506162088529</c:v>
                </c:pt>
                <c:pt idx="1954">
                  <c:v>3.1522661069769162</c:v>
                </c:pt>
                <c:pt idx="1955">
                  <c:v>3.1522661069769158</c:v>
                </c:pt>
                <c:pt idx="1956">
                  <c:v>3.1332477366640425</c:v>
                </c:pt>
                <c:pt idx="1957">
                  <c:v>3.117617717085444</c:v>
                </c:pt>
                <c:pt idx="1958">
                  <c:v>3.048270661045128</c:v>
                </c:pt>
                <c:pt idx="1959">
                  <c:v>2.9470421563432669</c:v>
                </c:pt>
                <c:pt idx="1960">
                  <c:v>2.8839627909025367</c:v>
                </c:pt>
                <c:pt idx="1961">
                  <c:v>2.8251741885063111</c:v>
                </c:pt>
                <c:pt idx="1962">
                  <c:v>2.8123291774432895</c:v>
                </c:pt>
                <c:pt idx="1963">
                  <c:v>2.7659672291340831</c:v>
                </c:pt>
                <c:pt idx="1964">
                  <c:v>2.7659672291340827</c:v>
                </c:pt>
                <c:pt idx="1965">
                  <c:v>2.8123291774432895</c:v>
                </c:pt>
                <c:pt idx="1966">
                  <c:v>2.745947902830181</c:v>
                </c:pt>
                <c:pt idx="1967">
                  <c:v>2.8276142415206817</c:v>
                </c:pt>
                <c:pt idx="1968">
                  <c:v>2.8545184991639077</c:v>
                </c:pt>
                <c:pt idx="1969">
                  <c:v>2.851899951494326</c:v>
                </c:pt>
                <c:pt idx="1970">
                  <c:v>2.7352530404703499</c:v>
                </c:pt>
                <c:pt idx="1971">
                  <c:v>2.5236809460075138</c:v>
                </c:pt>
                <c:pt idx="1972">
                  <c:v>2.5506366119925397</c:v>
                </c:pt>
                <c:pt idx="1973">
                  <c:v>2.6643668243529541</c:v>
                </c:pt>
                <c:pt idx="1974">
                  <c:v>2.7478309104898866</c:v>
                </c:pt>
                <c:pt idx="1975">
                  <c:v>2.7742659793426316</c:v>
                </c:pt>
                <c:pt idx="1976">
                  <c:v>2.7478309104898866</c:v>
                </c:pt>
                <c:pt idx="1977">
                  <c:v>2.7957274463049844</c:v>
                </c:pt>
                <c:pt idx="1978">
                  <c:v>2.8057822069974443</c:v>
                </c:pt>
                <c:pt idx="1979">
                  <c:v>2.8767798089123051</c:v>
                </c:pt>
                <c:pt idx="1980">
                  <c:v>2.8767798089123051</c:v>
                </c:pt>
                <c:pt idx="1981">
                  <c:v>2.8759805923921138</c:v>
                </c:pt>
                <c:pt idx="1982">
                  <c:v>2.900653909629392</c:v>
                </c:pt>
                <c:pt idx="1983">
                  <c:v>3.0164301043970245</c:v>
                </c:pt>
                <c:pt idx="1984">
                  <c:v>3.0171921178244632</c:v>
                </c:pt>
                <c:pt idx="1985">
                  <c:v>3.0409088175710903</c:v>
                </c:pt>
                <c:pt idx="1986">
                  <c:v>3.1347147847306931</c:v>
                </c:pt>
                <c:pt idx="1987">
                  <c:v>3.1784113721440641</c:v>
                </c:pt>
                <c:pt idx="1988">
                  <c:v>3.1615506162088525</c:v>
                </c:pt>
                <c:pt idx="1989">
                  <c:v>3.1811224795479118</c:v>
                </c:pt>
                <c:pt idx="1990">
                  <c:v>3.3114222384617928</c:v>
                </c:pt>
                <c:pt idx="1991">
                  <c:v>3.3843792619187569</c:v>
                </c:pt>
                <c:pt idx="1992">
                  <c:v>3.3843792619187569</c:v>
                </c:pt>
                <c:pt idx="1993">
                  <c:v>3.3185303491396492</c:v>
                </c:pt>
                <c:pt idx="1994">
                  <c:v>3.3562431103976893</c:v>
                </c:pt>
                <c:pt idx="1995">
                  <c:v>3.4087446706793778</c:v>
                </c:pt>
                <c:pt idx="1996">
                  <c:v>3.4634379305612764</c:v>
                </c:pt>
                <c:pt idx="1997">
                  <c:v>3.3782604514988064</c:v>
                </c:pt>
                <c:pt idx="1998">
                  <c:v>3.3782604514988064</c:v>
                </c:pt>
                <c:pt idx="1999">
                  <c:v>3.3782604514988064</c:v>
                </c:pt>
                <c:pt idx="2000">
                  <c:v>3.3589817833220912</c:v>
                </c:pt>
                <c:pt idx="2001">
                  <c:v>3.3726417900035224</c:v>
                </c:pt>
                <c:pt idx="2002">
                  <c:v>3.2758257711237673</c:v>
                </c:pt>
                <c:pt idx="2003">
                  <c:v>3.2134773659711988</c:v>
                </c:pt>
                <c:pt idx="2004">
                  <c:v>3.1176177170854449</c:v>
                </c:pt>
                <c:pt idx="2005">
                  <c:v>3.2236553821692087</c:v>
                </c:pt>
                <c:pt idx="2006">
                  <c:v>3.3330459646243784</c:v>
                </c:pt>
                <c:pt idx="2007">
                  <c:v>3.3164515034465145</c:v>
                </c:pt>
                <c:pt idx="2008">
                  <c:v>3.421366266045887</c:v>
                </c:pt>
                <c:pt idx="2009">
                  <c:v>3.421366266045887</c:v>
                </c:pt>
                <c:pt idx="2010">
                  <c:v>3.3289051045955484</c:v>
                </c:pt>
                <c:pt idx="2011">
                  <c:v>3.421366266045887</c:v>
                </c:pt>
                <c:pt idx="2012">
                  <c:v>3.5583801041368872</c:v>
                </c:pt>
                <c:pt idx="2013">
                  <c:v>3.4374542839175311</c:v>
                </c:pt>
                <c:pt idx="2014">
                  <c:v>3.4614461133177117</c:v>
                </c:pt>
                <c:pt idx="2015">
                  <c:v>3.4374542839175311</c:v>
                </c:pt>
                <c:pt idx="2016">
                  <c:v>3.36923198042685</c:v>
                </c:pt>
                <c:pt idx="2017">
                  <c:v>3.3383869737055494</c:v>
                </c:pt>
                <c:pt idx="2018">
                  <c:v>3.3707668215878184</c:v>
                </c:pt>
                <c:pt idx="2019">
                  <c:v>3.3665016461206925</c:v>
                </c:pt>
                <c:pt idx="2020">
                  <c:v>3.2666901242413688</c:v>
                </c:pt>
                <c:pt idx="2021">
                  <c:v>3.3589817833220912</c:v>
                </c:pt>
                <c:pt idx="2022">
                  <c:v>3.3808113016658088</c:v>
                </c:pt>
                <c:pt idx="2023">
                  <c:v>3.3808113016658092</c:v>
                </c:pt>
                <c:pt idx="2024">
                  <c:v>3.3808113016658088</c:v>
                </c:pt>
                <c:pt idx="2025">
                  <c:v>3.247633975185876</c:v>
                </c:pt>
                <c:pt idx="2026">
                  <c:v>3.2129407877748273</c:v>
                </c:pt>
                <c:pt idx="2027">
                  <c:v>3.2200878120388854</c:v>
                </c:pt>
                <c:pt idx="2028">
                  <c:v>3.2129407877748273</c:v>
                </c:pt>
                <c:pt idx="2029">
                  <c:v>3.2263284709246292</c:v>
                </c:pt>
                <c:pt idx="2030">
                  <c:v>3.3002960508094574</c:v>
                </c:pt>
                <c:pt idx="2031">
                  <c:v>3.377409739981831</c:v>
                </c:pt>
                <c:pt idx="2032">
                  <c:v>3.4389586769266645</c:v>
                </c:pt>
                <c:pt idx="2033">
                  <c:v>3.3700847562587826</c:v>
                </c:pt>
                <c:pt idx="2034">
                  <c:v>3.3605213060291494</c:v>
                </c:pt>
                <c:pt idx="2035">
                  <c:v>3.2518783254725503</c:v>
                </c:pt>
                <c:pt idx="2036">
                  <c:v>3.1551818352977858</c:v>
                </c:pt>
                <c:pt idx="2037">
                  <c:v>3.1264536848765503</c:v>
                </c:pt>
                <c:pt idx="2038">
                  <c:v>2.9749915483314702</c:v>
                </c:pt>
                <c:pt idx="2039">
                  <c:v>3.0454412888246845</c:v>
                </c:pt>
                <c:pt idx="2040">
                  <c:v>3.0409088175710903</c:v>
                </c:pt>
                <c:pt idx="2041">
                  <c:v>2.8825675017766459</c:v>
                </c:pt>
                <c:pt idx="2042">
                  <c:v>2.906394060822036</c:v>
                </c:pt>
                <c:pt idx="2043">
                  <c:v>2.8569334898658809</c:v>
                </c:pt>
                <c:pt idx="2044">
                  <c:v>2.8569334898658809</c:v>
                </c:pt>
                <c:pt idx="2045">
                  <c:v>2.8373534698101461</c:v>
                </c:pt>
                <c:pt idx="2046">
                  <c:v>2.7753015783108528</c:v>
                </c:pt>
                <c:pt idx="2047">
                  <c:v>2.8424127682002118</c:v>
                </c:pt>
                <c:pt idx="2048">
                  <c:v>2.8424127682002118</c:v>
                </c:pt>
                <c:pt idx="2049">
                  <c:v>2.8332995265055452</c:v>
                </c:pt>
                <c:pt idx="2050">
                  <c:v>2.8332995265055452</c:v>
                </c:pt>
                <c:pt idx="2051">
                  <c:v>2.7384029240987608</c:v>
                </c:pt>
                <c:pt idx="2052">
                  <c:v>2.6643668243529532</c:v>
                </c:pt>
                <c:pt idx="2053">
                  <c:v>2.6008398289960022</c:v>
                </c:pt>
                <c:pt idx="2054">
                  <c:v>2.6313756727298521</c:v>
                </c:pt>
                <c:pt idx="2055">
                  <c:v>2.6901266901756506</c:v>
                </c:pt>
                <c:pt idx="2056">
                  <c:v>2.6568064832906391</c:v>
                </c:pt>
                <c:pt idx="2057">
                  <c:v>2.6901266901756506</c:v>
                </c:pt>
                <c:pt idx="2058">
                  <c:v>2.8172294207599431</c:v>
                </c:pt>
                <c:pt idx="2059">
                  <c:v>2.8705800607294463</c:v>
                </c:pt>
                <c:pt idx="2060">
                  <c:v>2.8172294207599426</c:v>
                </c:pt>
                <c:pt idx="2061">
                  <c:v>2.7634727444278155</c:v>
                </c:pt>
                <c:pt idx="2062">
                  <c:v>2.6832815729997477</c:v>
                </c:pt>
                <c:pt idx="2063">
                  <c:v>2.7226170641794116</c:v>
                </c:pt>
                <c:pt idx="2064">
                  <c:v>2.7384029240987608</c:v>
                </c:pt>
                <c:pt idx="2065">
                  <c:v>2.7593102586422344</c:v>
                </c:pt>
                <c:pt idx="2066">
                  <c:v>2.8405924588439961</c:v>
                </c:pt>
                <c:pt idx="2067">
                  <c:v>2.8153928290043639</c:v>
                </c:pt>
                <c:pt idx="2068">
                  <c:v>2.8326909346122604</c:v>
                </c:pt>
                <c:pt idx="2069">
                  <c:v>2.6671694928234837</c:v>
                </c:pt>
                <c:pt idx="2070">
                  <c:v>2.6481396636433128</c:v>
                </c:pt>
                <c:pt idx="2071">
                  <c:v>2.7534722071236342</c:v>
                </c:pt>
                <c:pt idx="2072">
                  <c:v>2.5855478087369361</c:v>
                </c:pt>
                <c:pt idx="2073">
                  <c:v>2.6611293082829133</c:v>
                </c:pt>
                <c:pt idx="2074">
                  <c:v>2.6470543159754274</c:v>
                </c:pt>
                <c:pt idx="2075">
                  <c:v>2.6490076216029173</c:v>
                </c:pt>
                <c:pt idx="2076">
                  <c:v>2.6611293082829142</c:v>
                </c:pt>
                <c:pt idx="2077">
                  <c:v>2.7114063026280362</c:v>
                </c:pt>
                <c:pt idx="2078">
                  <c:v>2.7628487713469472</c:v>
                </c:pt>
                <c:pt idx="2079">
                  <c:v>2.7478309104898861</c:v>
                </c:pt>
                <c:pt idx="2080">
                  <c:v>2.8251741885063115</c:v>
                </c:pt>
                <c:pt idx="2081">
                  <c:v>2.8251741885063111</c:v>
                </c:pt>
                <c:pt idx="2082">
                  <c:v>2.8251741885063111</c:v>
                </c:pt>
                <c:pt idx="2083">
                  <c:v>2.8585423501876077</c:v>
                </c:pt>
                <c:pt idx="2084">
                  <c:v>2.8357325879470423</c:v>
                </c:pt>
                <c:pt idx="2085">
                  <c:v>2.7841918285080558</c:v>
                </c:pt>
                <c:pt idx="2086">
                  <c:v>2.7603514685425576</c:v>
                </c:pt>
                <c:pt idx="2087">
                  <c:v>2.8153928290043635</c:v>
                </c:pt>
                <c:pt idx="2088">
                  <c:v>2.7283104956950086</c:v>
                </c:pt>
                <c:pt idx="2089">
                  <c:v>2.7753015783108528</c:v>
                </c:pt>
                <c:pt idx="2090">
                  <c:v>2.7335716184331895</c:v>
                </c:pt>
                <c:pt idx="2091">
                  <c:v>2.670399685956883</c:v>
                </c:pt>
                <c:pt idx="2092">
                  <c:v>2.6663074470696078</c:v>
                </c:pt>
                <c:pt idx="2093">
                  <c:v>2.7377732372953338</c:v>
                </c:pt>
                <c:pt idx="2094">
                  <c:v>2.7377732372953338</c:v>
                </c:pt>
                <c:pt idx="2095">
                  <c:v>2.7841918285080562</c:v>
                </c:pt>
                <c:pt idx="2096">
                  <c:v>2.8245638458955442</c:v>
                </c:pt>
                <c:pt idx="2097">
                  <c:v>2.8454440293454955</c:v>
                </c:pt>
                <c:pt idx="2098">
                  <c:v>2.8609539442752947</c:v>
                </c:pt>
                <c:pt idx="2099">
                  <c:v>2.8609539442752947</c:v>
                </c:pt>
                <c:pt idx="2100">
                  <c:v>3.00975425735311</c:v>
                </c:pt>
                <c:pt idx="2101">
                  <c:v>2.9563879794535546</c:v>
                </c:pt>
                <c:pt idx="2102">
                  <c:v>3.0392073981871337</c:v>
                </c:pt>
                <c:pt idx="2103">
                  <c:v>3.2000359193386361</c:v>
                </c:pt>
                <c:pt idx="2104">
                  <c:v>3.2200878120388858</c:v>
                </c:pt>
                <c:pt idx="2105">
                  <c:v>3.3869255037299082</c:v>
                </c:pt>
                <c:pt idx="2106">
                  <c:v>3.5300027677368586</c:v>
                </c:pt>
                <c:pt idx="2107">
                  <c:v>3.5109025594010999</c:v>
                </c:pt>
                <c:pt idx="2108">
                  <c:v>3.4898868670527974</c:v>
                </c:pt>
                <c:pt idx="2109">
                  <c:v>3.5005746654664782</c:v>
                </c:pt>
                <c:pt idx="2110">
                  <c:v>3.5862124226305792</c:v>
                </c:pt>
                <c:pt idx="2111">
                  <c:v>3.6798613167271434</c:v>
                </c:pt>
                <c:pt idx="2112">
                  <c:v>3.7021273784726501</c:v>
                </c:pt>
                <c:pt idx="2113">
                  <c:v>3.6623276311877015</c:v>
                </c:pt>
                <c:pt idx="2114">
                  <c:v>3.6853234858560651</c:v>
                </c:pt>
                <c:pt idx="2115">
                  <c:v>3.6623276311877015</c:v>
                </c:pt>
                <c:pt idx="2116">
                  <c:v>3.6388706091787362</c:v>
                </c:pt>
                <c:pt idx="2117">
                  <c:v>3.6811105270887592</c:v>
                </c:pt>
                <c:pt idx="2118">
                  <c:v>3.7882152410658612</c:v>
                </c:pt>
                <c:pt idx="2119">
                  <c:v>3.7484096244465697</c:v>
                </c:pt>
                <c:pt idx="2120">
                  <c:v>3.7356622456792188</c:v>
                </c:pt>
                <c:pt idx="2121">
                  <c:v>3.6244698383619371</c:v>
                </c:pt>
                <c:pt idx="2122">
                  <c:v>3.7356622456792183</c:v>
                </c:pt>
                <c:pt idx="2123">
                  <c:v>3.6232010994280386</c:v>
                </c:pt>
                <c:pt idx="2124">
                  <c:v>3.6103300068858926</c:v>
                </c:pt>
                <c:pt idx="2125">
                  <c:v>3.6853234858560646</c:v>
                </c:pt>
                <c:pt idx="2126">
                  <c:v>3.6853234858560651</c:v>
                </c:pt>
                <c:pt idx="2127">
                  <c:v>3.6985551699045374</c:v>
                </c:pt>
                <c:pt idx="2128">
                  <c:v>3.6985551699045374</c:v>
                </c:pt>
                <c:pt idx="2129">
                  <c:v>3.6985551699045374</c:v>
                </c:pt>
                <c:pt idx="2130">
                  <c:v>3.739199004519858</c:v>
                </c:pt>
                <c:pt idx="2131">
                  <c:v>3.7039897718386121</c:v>
                </c:pt>
                <c:pt idx="2132">
                  <c:v>3.5926169503196608</c:v>
                </c:pt>
                <c:pt idx="2133">
                  <c:v>3.562254226246885</c:v>
                </c:pt>
                <c:pt idx="2134">
                  <c:v>3.6709483882187057</c:v>
                </c:pt>
                <c:pt idx="2135">
                  <c:v>3.5389458785116346</c:v>
                </c:pt>
                <c:pt idx="2136">
                  <c:v>3.4832934606968355</c:v>
                </c:pt>
                <c:pt idx="2137">
                  <c:v>3.5345584516705704</c:v>
                </c:pt>
                <c:pt idx="2138">
                  <c:v>3.4887339204668639</c:v>
                </c:pt>
                <c:pt idx="2139">
                  <c:v>3.5110662492890321</c:v>
                </c:pt>
                <c:pt idx="2140">
                  <c:v>3.3680377315166088</c:v>
                </c:pt>
                <c:pt idx="2141">
                  <c:v>3.2476339751858743</c:v>
                </c:pt>
                <c:pt idx="2142">
                  <c:v>3.2307787040406772</c:v>
                </c:pt>
                <c:pt idx="2143">
                  <c:v>3.3495582141358669</c:v>
                </c:pt>
                <c:pt idx="2144">
                  <c:v>3.3233759321218685</c:v>
                </c:pt>
                <c:pt idx="2145">
                  <c:v>3.4215342394493349</c:v>
                </c:pt>
                <c:pt idx="2146">
                  <c:v>3.4674181325226883</c:v>
                </c:pt>
                <c:pt idx="2147">
                  <c:v>3.3782604514988068</c:v>
                </c:pt>
                <c:pt idx="2148">
                  <c:v>3.2877340832705504</c:v>
                </c:pt>
                <c:pt idx="2149">
                  <c:v>3.2518783254725507</c:v>
                </c:pt>
                <c:pt idx="2150">
                  <c:v>3.2518783254725507</c:v>
                </c:pt>
                <c:pt idx="2151">
                  <c:v>3.2582344841989186</c:v>
                </c:pt>
                <c:pt idx="2152">
                  <c:v>3.2582344841989186</c:v>
                </c:pt>
                <c:pt idx="2153">
                  <c:v>3.3909955138148797</c:v>
                </c:pt>
                <c:pt idx="2154">
                  <c:v>3.5030364496842012</c:v>
                </c:pt>
                <c:pt idx="2155">
                  <c:v>3.3603502827813205</c:v>
                </c:pt>
                <c:pt idx="2156">
                  <c:v>3.3051683665184863</c:v>
                </c:pt>
                <c:pt idx="2157">
                  <c:v>3.3330459646243784</c:v>
                </c:pt>
                <c:pt idx="2158">
                  <c:v>3.3114222384617928</c:v>
                </c:pt>
                <c:pt idx="2159">
                  <c:v>3.3500729105121163</c:v>
                </c:pt>
                <c:pt idx="2160">
                  <c:v>3.3046466762987556</c:v>
                </c:pt>
                <c:pt idx="2161">
                  <c:v>3.3002960508094583</c:v>
                </c:pt>
                <c:pt idx="2162">
                  <c:v>3.3603502827813205</c:v>
                </c:pt>
                <c:pt idx="2163">
                  <c:v>3.2947188671862588</c:v>
                </c:pt>
                <c:pt idx="2164">
                  <c:v>3.2136562054607758</c:v>
                </c:pt>
                <c:pt idx="2165">
                  <c:v>3.2120462915889529</c:v>
                </c:pt>
                <c:pt idx="2166">
                  <c:v>3.0505322693649362</c:v>
                </c:pt>
                <c:pt idx="2167">
                  <c:v>2.9749915483314697</c:v>
                </c:pt>
                <c:pt idx="2168">
                  <c:v>2.9353180328582789</c:v>
                </c:pt>
                <c:pt idx="2169">
                  <c:v>2.9353180328582784</c:v>
                </c:pt>
                <c:pt idx="2170">
                  <c:v>2.9517187667799445</c:v>
                </c:pt>
                <c:pt idx="2171">
                  <c:v>2.9517187667799445</c:v>
                </c:pt>
                <c:pt idx="2172">
                  <c:v>2.9117281671784263</c:v>
                </c:pt>
                <c:pt idx="2173">
                  <c:v>2.8567323186168285</c:v>
                </c:pt>
                <c:pt idx="2174">
                  <c:v>2.8567323186168285</c:v>
                </c:pt>
                <c:pt idx="2175">
                  <c:v>2.9024365507336225</c:v>
                </c:pt>
                <c:pt idx="2176">
                  <c:v>2.9790455927491539</c:v>
                </c:pt>
                <c:pt idx="2177">
                  <c:v>3.0392073981871337</c:v>
                </c:pt>
                <c:pt idx="2178">
                  <c:v>2.9988503544318212</c:v>
                </c:pt>
                <c:pt idx="2179">
                  <c:v>3.0074619841665329</c:v>
                </c:pt>
                <c:pt idx="2180">
                  <c:v>3.1139286639449426</c:v>
                </c:pt>
                <c:pt idx="2181">
                  <c:v>3.1236951298690809</c:v>
                </c:pt>
                <c:pt idx="2182">
                  <c:v>2.9819379643092021</c:v>
                </c:pt>
                <c:pt idx="2183">
                  <c:v>3.0467619895045392</c:v>
                </c:pt>
                <c:pt idx="2184">
                  <c:v>2.9819379643092021</c:v>
                </c:pt>
                <c:pt idx="2185">
                  <c:v>3.0211895350832512</c:v>
                </c:pt>
                <c:pt idx="2186">
                  <c:v>3.0904004129956486</c:v>
                </c:pt>
                <c:pt idx="2187">
                  <c:v>3.1478874507038603</c:v>
                </c:pt>
                <c:pt idx="2188">
                  <c:v>3.1396610110596046</c:v>
                </c:pt>
                <c:pt idx="2189">
                  <c:v>3.2243684225190412</c:v>
                </c:pt>
                <c:pt idx="2190">
                  <c:v>3.1856358646381677</c:v>
                </c:pt>
                <c:pt idx="2191">
                  <c:v>3.2129407877748273</c:v>
                </c:pt>
                <c:pt idx="2192">
                  <c:v>3.2582344841989186</c:v>
                </c:pt>
                <c:pt idx="2193">
                  <c:v>3.3399359894754124</c:v>
                </c:pt>
                <c:pt idx="2194">
                  <c:v>3.2758257711237673</c:v>
                </c:pt>
                <c:pt idx="2195">
                  <c:v>3.2710854467592259</c:v>
                </c:pt>
                <c:pt idx="2196">
                  <c:v>3.2640500897666609</c:v>
                </c:pt>
                <c:pt idx="2197">
                  <c:v>3.3666723568860526</c:v>
                </c:pt>
                <c:pt idx="2198">
                  <c:v>3.4079015689201282</c:v>
                </c:pt>
                <c:pt idx="2199">
                  <c:v>3.5182610647222066</c:v>
                </c:pt>
                <c:pt idx="2200">
                  <c:v>3.5182610647222066</c:v>
                </c:pt>
                <c:pt idx="2201">
                  <c:v>3.5519138438344737</c:v>
                </c:pt>
                <c:pt idx="2202">
                  <c:v>3.679861316727143</c:v>
                </c:pt>
                <c:pt idx="2203">
                  <c:v>3.7728613489791383</c:v>
                </c:pt>
                <c:pt idx="2204">
                  <c:v>3.8448353177593511</c:v>
                </c:pt>
                <c:pt idx="2205">
                  <c:v>3.7699660049078587</c:v>
                </c:pt>
                <c:pt idx="2206">
                  <c:v>3.7699660049078587</c:v>
                </c:pt>
                <c:pt idx="2207">
                  <c:v>3.7299656403458887</c:v>
                </c:pt>
                <c:pt idx="2208">
                  <c:v>3.7736229124089058</c:v>
                </c:pt>
                <c:pt idx="2209">
                  <c:v>3.839300702609457</c:v>
                </c:pt>
                <c:pt idx="2210">
                  <c:v>3.8063769843680011</c:v>
                </c:pt>
                <c:pt idx="2211">
                  <c:v>3.8639209434810216</c:v>
                </c:pt>
                <c:pt idx="2212">
                  <c:v>3.8639209434810216</c:v>
                </c:pt>
                <c:pt idx="2213">
                  <c:v>3.7484096244465701</c:v>
                </c:pt>
                <c:pt idx="2214">
                  <c:v>3.7078667535483212</c:v>
                </c:pt>
                <c:pt idx="2215">
                  <c:v>3.674078193875661</c:v>
                </c:pt>
                <c:pt idx="2216">
                  <c:v>3.5519138438344746</c:v>
                </c:pt>
                <c:pt idx="2217">
                  <c:v>3.536509091141169</c:v>
                </c:pt>
                <c:pt idx="2218">
                  <c:v>3.536509091141169</c:v>
                </c:pt>
                <c:pt idx="2219">
                  <c:v>3.4788358470291061</c:v>
                </c:pt>
                <c:pt idx="2220">
                  <c:v>3.4634379305612759</c:v>
                </c:pt>
                <c:pt idx="2221">
                  <c:v>3.4887339204668644</c:v>
                </c:pt>
                <c:pt idx="2222">
                  <c:v>3.4887339204668644</c:v>
                </c:pt>
                <c:pt idx="2223">
                  <c:v>3.3666723568860522</c:v>
                </c:pt>
                <c:pt idx="2224">
                  <c:v>3.6041164204855805</c:v>
                </c:pt>
                <c:pt idx="2225">
                  <c:v>3.6665621719697516</c:v>
                </c:pt>
                <c:pt idx="2226">
                  <c:v>3.9977004884561191</c:v>
                </c:pt>
                <c:pt idx="2227">
                  <c:v>3.9770895613891244</c:v>
                </c:pt>
                <c:pt idx="2228">
                  <c:v>4.0683810217248624</c:v>
                </c:pt>
                <c:pt idx="2229">
                  <c:v>4.1583595350797289</c:v>
                </c:pt>
                <c:pt idx="2230">
                  <c:v>4.2966172205852695</c:v>
                </c:pt>
                <c:pt idx="2231">
                  <c:v>4.3263427255951816</c:v>
                </c:pt>
                <c:pt idx="2232">
                  <c:v>4.146872523256282</c:v>
                </c:pt>
                <c:pt idx="2233">
                  <c:v>4.1749113831878226</c:v>
                </c:pt>
                <c:pt idx="2234">
                  <c:v>4.0401718411160594</c:v>
                </c:pt>
                <c:pt idx="2235">
                  <c:v>3.9157800414902435</c:v>
                </c:pt>
                <c:pt idx="2236">
                  <c:v>3.8994547216805562</c:v>
                </c:pt>
                <c:pt idx="2237">
                  <c:v>3.8590094613758716</c:v>
                </c:pt>
                <c:pt idx="2238">
                  <c:v>3.8627308546121117</c:v>
                </c:pt>
                <c:pt idx="2239">
                  <c:v>4.0080379010298737</c:v>
                </c:pt>
                <c:pt idx="2240">
                  <c:v>3.9171007340786561</c:v>
                </c:pt>
                <c:pt idx="2241">
                  <c:v>3.6477043639029714</c:v>
                </c:pt>
                <c:pt idx="2242">
                  <c:v>3.5830058658175199</c:v>
                </c:pt>
                <c:pt idx="2243">
                  <c:v>3.5012313105042305</c:v>
                </c:pt>
                <c:pt idx="2244">
                  <c:v>3.5291886339204241</c:v>
                </c:pt>
                <c:pt idx="2245">
                  <c:v>3.2307787040406772</c:v>
                </c:pt>
                <c:pt idx="2246">
                  <c:v>3.1919438822019468</c:v>
                </c:pt>
                <c:pt idx="2247">
                  <c:v>3.1447822138287713</c:v>
                </c:pt>
                <c:pt idx="2248">
                  <c:v>3.1154048094006614</c:v>
                </c:pt>
                <c:pt idx="2249">
                  <c:v>2.8416038857796773</c:v>
                </c:pt>
                <c:pt idx="2250">
                  <c:v>2.7461571896642818</c:v>
                </c:pt>
                <c:pt idx="2251">
                  <c:v>2.1431526889785202</c:v>
                </c:pt>
                <c:pt idx="2252">
                  <c:v>2.1732437750393134</c:v>
                </c:pt>
                <c:pt idx="2253">
                  <c:v>1.943157757096813</c:v>
                </c:pt>
                <c:pt idx="2254">
                  <c:v>1.959650449712262</c:v>
                </c:pt>
                <c:pt idx="2255">
                  <c:v>1.9241358711314307</c:v>
                </c:pt>
                <c:pt idx="2256">
                  <c:v>1.8708286933869707</c:v>
                </c:pt>
                <c:pt idx="2257">
                  <c:v>1.9226418606016904</c:v>
                </c:pt>
                <c:pt idx="2258">
                  <c:v>1.9678449616530895</c:v>
                </c:pt>
                <c:pt idx="2259">
                  <c:v>1.9678449616530895</c:v>
                </c:pt>
                <c:pt idx="2260">
                  <c:v>1.9678449616530895</c:v>
                </c:pt>
                <c:pt idx="2261">
                  <c:v>1.9771685315872416</c:v>
                </c:pt>
                <c:pt idx="2262">
                  <c:v>1.9369367924460095</c:v>
                </c:pt>
                <c:pt idx="2263">
                  <c:v>1.9596504497122615</c:v>
                </c:pt>
                <c:pt idx="2264">
                  <c:v>1.9988502442280593</c:v>
                </c:pt>
                <c:pt idx="2265">
                  <c:v>1.9428619723691549</c:v>
                </c:pt>
                <c:pt idx="2266">
                  <c:v>1.9025089303036291</c:v>
                </c:pt>
                <c:pt idx="2267">
                  <c:v>2.1668876987168884</c:v>
                </c:pt>
                <c:pt idx="2268">
                  <c:v>2.5152408993194264</c:v>
                </c:pt>
                <c:pt idx="2269">
                  <c:v>2.6952491194863519</c:v>
                </c:pt>
                <c:pt idx="2270">
                  <c:v>2.7628487713469467</c:v>
                </c:pt>
                <c:pt idx="2271">
                  <c:v>2.7728154909994349</c:v>
                </c:pt>
                <c:pt idx="2272">
                  <c:v>2.9796242916750817</c:v>
                </c:pt>
                <c:pt idx="2273">
                  <c:v>2.9703515794846789</c:v>
                </c:pt>
                <c:pt idx="2274">
                  <c:v>3.0820205344404576</c:v>
                </c:pt>
                <c:pt idx="2275">
                  <c:v>3.110974271758002</c:v>
                </c:pt>
                <c:pt idx="2276">
                  <c:v>11.156978126694534</c:v>
                </c:pt>
                <c:pt idx="2277">
                  <c:v>15.22686675795017</c:v>
                </c:pt>
                <c:pt idx="2278">
                  <c:v>18.202848078279381</c:v>
                </c:pt>
                <c:pt idx="2279">
                  <c:v>20.562771851258201</c:v>
                </c:pt>
                <c:pt idx="2280">
                  <c:v>22.501315414932936</c:v>
                </c:pt>
                <c:pt idx="2281">
                  <c:v>24.164783913976876</c:v>
                </c:pt>
                <c:pt idx="2282">
                  <c:v>25.606415324037968</c:v>
                </c:pt>
                <c:pt idx="2283">
                  <c:v>26.832473035398774</c:v>
                </c:pt>
                <c:pt idx="2284">
                  <c:v>27.880471474764779</c:v>
                </c:pt>
                <c:pt idx="2285">
                  <c:v>28.7098245029207</c:v>
                </c:pt>
                <c:pt idx="2286">
                  <c:v>29.407638385329395</c:v>
                </c:pt>
                <c:pt idx="2287">
                  <c:v>29.914072342928016</c:v>
                </c:pt>
                <c:pt idx="2288">
                  <c:v>30.280223810648899</c:v>
                </c:pt>
                <c:pt idx="2289">
                  <c:v>30.511143620937439</c:v>
                </c:pt>
                <c:pt idx="2290">
                  <c:v>30.641962813394827</c:v>
                </c:pt>
                <c:pt idx="2291">
                  <c:v>30.646313835829229</c:v>
                </c:pt>
                <c:pt idx="2292">
                  <c:v>30.438273698538268</c:v>
                </c:pt>
                <c:pt idx="2293">
                  <c:v>30.184204592742738</c:v>
                </c:pt>
                <c:pt idx="2294">
                  <c:v>30.071734160209299</c:v>
                </c:pt>
                <c:pt idx="2295">
                  <c:v>29.728058652800854</c:v>
                </c:pt>
                <c:pt idx="2296">
                  <c:v>29.58807230943756</c:v>
                </c:pt>
                <c:pt idx="2297">
                  <c:v>29.25244856634119</c:v>
                </c:pt>
                <c:pt idx="2298">
                  <c:v>28.666933973626755</c:v>
                </c:pt>
                <c:pt idx="2299">
                  <c:v>28.072177087585878</c:v>
                </c:pt>
                <c:pt idx="2300">
                  <c:v>27.519710804414728</c:v>
                </c:pt>
                <c:pt idx="2301">
                  <c:v>27.19467916178905</c:v>
                </c:pt>
                <c:pt idx="2302">
                  <c:v>26.54514696863076</c:v>
                </c:pt>
                <c:pt idx="2303">
                  <c:v>26.173690396379286</c:v>
                </c:pt>
                <c:pt idx="2304">
                  <c:v>25.640216256014153</c:v>
                </c:pt>
                <c:pt idx="2305">
                  <c:v>24.967196869897709</c:v>
                </c:pt>
                <c:pt idx="2306">
                  <c:v>25.207187444270232</c:v>
                </c:pt>
                <c:pt idx="2307">
                  <c:v>25.275971052437889</c:v>
                </c:pt>
                <c:pt idx="2308">
                  <c:v>25.287223615116776</c:v>
                </c:pt>
                <c:pt idx="2309">
                  <c:v>25.034436053279634</c:v>
                </c:pt>
                <c:pt idx="2310">
                  <c:v>24.745160910888153</c:v>
                </c:pt>
                <c:pt idx="2311">
                  <c:v>24.126319867415081</c:v>
                </c:pt>
                <c:pt idx="2312">
                  <c:v>23.487340684159907</c:v>
                </c:pt>
                <c:pt idx="2313">
                  <c:v>22.678158006652847</c:v>
                </c:pt>
                <c:pt idx="2314">
                  <c:v>21.689263194747639</c:v>
                </c:pt>
                <c:pt idx="2315">
                  <c:v>20.535055533090883</c:v>
                </c:pt>
                <c:pt idx="2316">
                  <c:v>19.162613264542934</c:v>
                </c:pt>
                <c:pt idx="2317">
                  <c:v>17.534858549980264</c:v>
                </c:pt>
                <c:pt idx="2318">
                  <c:v>15.597818886722225</c:v>
                </c:pt>
                <c:pt idx="2319">
                  <c:v>13.069267275805359</c:v>
                </c:pt>
                <c:pt idx="2320">
                  <c:v>9.6444850538544955</c:v>
                </c:pt>
                <c:pt idx="2321">
                  <c:v>3.0439312149553097</c:v>
                </c:pt>
                <c:pt idx="2322">
                  <c:v>2.9952068989998155</c:v>
                </c:pt>
                <c:pt idx="2323">
                  <c:v>2.8424127682002118</c:v>
                </c:pt>
                <c:pt idx="2324">
                  <c:v>2.9205966954496243</c:v>
                </c:pt>
                <c:pt idx="2325">
                  <c:v>2.9780808446449845</c:v>
                </c:pt>
                <c:pt idx="2326">
                  <c:v>2.9780808446449845</c:v>
                </c:pt>
                <c:pt idx="2327">
                  <c:v>2.9290459786127601</c:v>
                </c:pt>
                <c:pt idx="2328">
                  <c:v>2.9487967544153624</c:v>
                </c:pt>
                <c:pt idx="2329">
                  <c:v>2.9680288749098862</c:v>
                </c:pt>
                <c:pt idx="2330">
                  <c:v>2.7852237368598982</c:v>
                </c:pt>
                <c:pt idx="2331">
                  <c:v>2.7636807041485016</c:v>
                </c:pt>
                <c:pt idx="2332">
                  <c:v>2.7240942816232359</c:v>
                </c:pt>
                <c:pt idx="2333">
                  <c:v>2.7584770077524392</c:v>
                </c:pt>
                <c:pt idx="2334">
                  <c:v>2.944701065951532</c:v>
                </c:pt>
                <c:pt idx="2335">
                  <c:v>2.8976804040711479</c:v>
                </c:pt>
                <c:pt idx="2336">
                  <c:v>2.8367457476449327</c:v>
                </c:pt>
                <c:pt idx="2337">
                  <c:v>2.8276142415206813</c:v>
                </c:pt>
                <c:pt idx="2338">
                  <c:v>2.8397830579274808</c:v>
                </c:pt>
                <c:pt idx="2339">
                  <c:v>2.9300268721061866</c:v>
                </c:pt>
                <c:pt idx="2340">
                  <c:v>2.8326909346122608</c:v>
                </c:pt>
                <c:pt idx="2341">
                  <c:v>2.8326909346122608</c:v>
                </c:pt>
                <c:pt idx="2342">
                  <c:v>2.9243331099467849</c:v>
                </c:pt>
                <c:pt idx="2343">
                  <c:v>3.0141429082351698</c:v>
                </c:pt>
                <c:pt idx="2344">
                  <c:v>3.086678831186775</c:v>
                </c:pt>
                <c:pt idx="2345">
                  <c:v>3.1249827585731271</c:v>
                </c:pt>
                <c:pt idx="2346">
                  <c:v>3.1374636509319975</c:v>
                </c:pt>
                <c:pt idx="2347">
                  <c:v>3.1369140703974456</c:v>
                </c:pt>
                <c:pt idx="2348">
                  <c:v>3.0926312124293056</c:v>
                </c:pt>
                <c:pt idx="2349">
                  <c:v>3.1579128856102807</c:v>
                </c:pt>
                <c:pt idx="2350">
                  <c:v>3.1579128856102807</c:v>
                </c:pt>
                <c:pt idx="2351">
                  <c:v>3.3002960508094583</c:v>
                </c:pt>
                <c:pt idx="2352">
                  <c:v>3.3060376672795586</c:v>
                </c:pt>
                <c:pt idx="2353">
                  <c:v>3.3543589757107144</c:v>
                </c:pt>
                <c:pt idx="2354">
                  <c:v>3.3046466762987556</c:v>
                </c:pt>
                <c:pt idx="2355">
                  <c:v>3.2334459039534131</c:v>
                </c:pt>
                <c:pt idx="2356">
                  <c:v>3.1227750700188177</c:v>
                </c:pt>
                <c:pt idx="2357">
                  <c:v>3.1347147847306935</c:v>
                </c:pt>
                <c:pt idx="2358">
                  <c:v>3.1659103755076714</c:v>
                </c:pt>
                <c:pt idx="2359">
                  <c:v>3.1200132625712813</c:v>
                </c:pt>
                <c:pt idx="2360">
                  <c:v>3.1775071556391383</c:v>
                </c:pt>
                <c:pt idx="2361">
                  <c:v>3.3107279471786693</c:v>
                </c:pt>
                <c:pt idx="2362">
                  <c:v>3.4314301163914385</c:v>
                </c:pt>
                <c:pt idx="2363">
                  <c:v>3.4489711942622217</c:v>
                </c:pt>
                <c:pt idx="2364">
                  <c:v>3.4072269373052992</c:v>
                </c:pt>
                <c:pt idx="2365">
                  <c:v>3.4799920729200249</c:v>
                </c:pt>
                <c:pt idx="2366">
                  <c:v>3.5095927654516199</c:v>
                </c:pt>
                <c:pt idx="2367">
                  <c:v>3.5010671607908082</c:v>
                </c:pt>
                <c:pt idx="2368">
                  <c:v>3.4534673563838996</c:v>
                </c:pt>
                <c:pt idx="2369">
                  <c:v>3.3589817833220921</c:v>
                </c:pt>
                <c:pt idx="2370">
                  <c:v>3.4154819925420936</c:v>
                </c:pt>
                <c:pt idx="2371">
                  <c:v>3.3500729105121168</c:v>
                </c:pt>
                <c:pt idx="2372">
                  <c:v>3.2730175187677988</c:v>
                </c:pt>
                <c:pt idx="2373">
                  <c:v>3.2021903423290978</c:v>
                </c:pt>
                <c:pt idx="2374">
                  <c:v>3.1413080224572094</c:v>
                </c:pt>
                <c:pt idx="2375">
                  <c:v>3.0567430642629319</c:v>
                </c:pt>
                <c:pt idx="2376">
                  <c:v>3.0285993120753774</c:v>
                </c:pt>
                <c:pt idx="2377">
                  <c:v>3.0454412888246849</c:v>
                </c:pt>
                <c:pt idx="2378">
                  <c:v>3.1697202458232199</c:v>
                </c:pt>
                <c:pt idx="2379">
                  <c:v>3.0904004129956482</c:v>
                </c:pt>
                <c:pt idx="2380">
                  <c:v>3.0904004129956486</c:v>
                </c:pt>
                <c:pt idx="2381">
                  <c:v>3.0227109701715444</c:v>
                </c:pt>
                <c:pt idx="2382">
                  <c:v>3.1111590034627907</c:v>
                </c:pt>
                <c:pt idx="2383">
                  <c:v>3.2091822283430154</c:v>
                </c:pt>
                <c:pt idx="2384">
                  <c:v>3.2668660506827409</c:v>
                </c:pt>
                <c:pt idx="2385">
                  <c:v>3.2668660506827409</c:v>
                </c:pt>
                <c:pt idx="2386">
                  <c:v>3.2968114166936187</c:v>
                </c:pt>
                <c:pt idx="2387">
                  <c:v>3.2652823714829387</c:v>
                </c:pt>
                <c:pt idx="2388">
                  <c:v>3.2455097185701547</c:v>
                </c:pt>
                <c:pt idx="2389">
                  <c:v>3.1941037632761269</c:v>
                </c:pt>
                <c:pt idx="2390">
                  <c:v>3.3294229937429645</c:v>
                </c:pt>
                <c:pt idx="2391">
                  <c:v>3.3294229937429645</c:v>
                </c:pt>
                <c:pt idx="2392">
                  <c:v>3.2199093297721948</c:v>
                </c:pt>
                <c:pt idx="2393">
                  <c:v>3.1522661069769158</c:v>
                </c:pt>
                <c:pt idx="2394">
                  <c:v>3.1176177170854444</c:v>
                </c:pt>
                <c:pt idx="2395">
                  <c:v>2.9674479146965291</c:v>
                </c:pt>
                <c:pt idx="2396">
                  <c:v>3.0217601630107271</c:v>
                </c:pt>
                <c:pt idx="2397">
                  <c:v>3.1176177170854444</c:v>
                </c:pt>
                <c:pt idx="2398">
                  <c:v>3.0680032069997774</c:v>
                </c:pt>
                <c:pt idx="2399">
                  <c:v>3.0904004129956486</c:v>
                </c:pt>
                <c:pt idx="2400">
                  <c:v>3.0859339762456242</c:v>
                </c:pt>
                <c:pt idx="2401">
                  <c:v>3.1332477366640425</c:v>
                </c:pt>
                <c:pt idx="2402">
                  <c:v>3.1615506162088525</c:v>
                </c:pt>
                <c:pt idx="2403">
                  <c:v>3.1856358646381677</c:v>
                </c:pt>
                <c:pt idx="2404">
                  <c:v>3.1905031491643427</c:v>
                </c:pt>
                <c:pt idx="2405">
                  <c:v>3.1905031491643427</c:v>
                </c:pt>
                <c:pt idx="2406">
                  <c:v>3.2976829204273361</c:v>
                </c:pt>
                <c:pt idx="2407">
                  <c:v>3.3930286880839842</c:v>
                </c:pt>
                <c:pt idx="2408">
                  <c:v>3.3680377315166079</c:v>
                </c:pt>
                <c:pt idx="2409">
                  <c:v>3.4139672543527864</c:v>
                </c:pt>
                <c:pt idx="2410">
                  <c:v>3.4087446706793778</c:v>
                </c:pt>
                <c:pt idx="2411">
                  <c:v>3.4087446706793778</c:v>
                </c:pt>
                <c:pt idx="2412">
                  <c:v>3.3294229937429645</c:v>
                </c:pt>
                <c:pt idx="2413">
                  <c:v>3.3495582141358669</c:v>
                </c:pt>
                <c:pt idx="2414">
                  <c:v>3.3850584470072551</c:v>
                </c:pt>
                <c:pt idx="2415">
                  <c:v>3.2842361207062636</c:v>
                </c:pt>
                <c:pt idx="2416">
                  <c:v>3.2640500897666613</c:v>
                </c:pt>
                <c:pt idx="2417">
                  <c:v>3.2414343355564275</c:v>
                </c:pt>
                <c:pt idx="2418">
                  <c:v>3.2688006166275065</c:v>
                </c:pt>
                <c:pt idx="2419">
                  <c:v>3.2270409206343009</c:v>
                </c:pt>
                <c:pt idx="2420">
                  <c:v>3.0249916880288579</c:v>
                </c:pt>
                <c:pt idx="2421">
                  <c:v>2.9651229355607671</c:v>
                </c:pt>
                <c:pt idx="2422">
                  <c:v>2.9651229355607667</c:v>
                </c:pt>
                <c:pt idx="2423">
                  <c:v>3.0842573949268433</c:v>
                </c:pt>
                <c:pt idx="2424">
                  <c:v>3.046438605542527</c:v>
                </c:pt>
                <c:pt idx="2425">
                  <c:v>3.0952686201181048</c:v>
                </c:pt>
                <c:pt idx="2426">
                  <c:v>3.0569150044987108</c:v>
                </c:pt>
                <c:pt idx="2427">
                  <c:v>3.0553861646909075</c:v>
                </c:pt>
                <c:pt idx="2428">
                  <c:v>3.1134118476894979</c:v>
                </c:pt>
                <c:pt idx="2429">
                  <c:v>3.1207579904219758</c:v>
                </c:pt>
                <c:pt idx="2430">
                  <c:v>3.1610275009338467</c:v>
                </c:pt>
                <c:pt idx="2431">
                  <c:v>3.1153856431632505</c:v>
                </c:pt>
                <c:pt idx="2432">
                  <c:v>3.0519314727375049</c:v>
                </c:pt>
                <c:pt idx="2433">
                  <c:v>2.87411313552363</c:v>
                </c:pt>
                <c:pt idx="2434">
                  <c:v>2.4920927582635191</c:v>
                </c:pt>
                <c:pt idx="2435">
                  <c:v>2.5546318307829945</c:v>
                </c:pt>
                <c:pt idx="2436">
                  <c:v>2.5796146543051504</c:v>
                </c:pt>
                <c:pt idx="2437">
                  <c:v>2.6004807247891688</c:v>
                </c:pt>
                <c:pt idx="2438">
                  <c:v>2.6672618383439062</c:v>
                </c:pt>
                <c:pt idx="2439">
                  <c:v>2.5901334345533646</c:v>
                </c:pt>
                <c:pt idx="2440">
                  <c:v>2.665063620734804</c:v>
                </c:pt>
                <c:pt idx="2441">
                  <c:v>2.7413776673693677</c:v>
                </c:pt>
                <c:pt idx="2442">
                  <c:v>2.7699688216164584</c:v>
                </c:pt>
                <c:pt idx="2443">
                  <c:v>2.6583202716502514</c:v>
                </c:pt>
                <c:pt idx="2444">
                  <c:v>2.438123139721299</c:v>
                </c:pt>
                <c:pt idx="2445">
                  <c:v>2.5071326821120348</c:v>
                </c:pt>
                <c:pt idx="2446">
                  <c:v>2.5634797778466232</c:v>
                </c:pt>
                <c:pt idx="2447">
                  <c:v>2.8047578623950176</c:v>
                </c:pt>
                <c:pt idx="2448">
                  <c:v>2.5495097567963922</c:v>
                </c:pt>
                <c:pt idx="2449">
                  <c:v>2.6457513110645907</c:v>
                </c:pt>
                <c:pt idx="2450">
                  <c:v>2.5166114784235831</c:v>
                </c:pt>
                <c:pt idx="2451">
                  <c:v>3.5355339059327378</c:v>
                </c:pt>
              </c:numCache>
            </c:numRef>
          </c:val>
          <c:smooth val="0"/>
          <c:extLst>
            <c:ext xmlns:c16="http://schemas.microsoft.com/office/drawing/2014/chart" uri="{C3380CC4-5D6E-409C-BE32-E72D297353CC}">
              <c16:uniqueId val="{00000002-6950-4ED7-9FB8-753F466A9E67}"/>
            </c:ext>
          </c:extLst>
        </c:ser>
        <c:ser>
          <c:idx val="6"/>
          <c:order val="6"/>
          <c:tx>
            <c:strRef>
              <c:f>'DRT Rolling Stdev'!$I$1</c:f>
              <c:strCache>
                <c:ptCount val="1"/>
                <c:pt idx="0">
                  <c:v>Pump Efficiency</c:v>
                </c:pt>
              </c:strCache>
            </c:strRef>
          </c:tx>
          <c:spPr>
            <a:ln w="28575" cap="rnd">
              <a:solidFill>
                <a:schemeClr val="accent1">
                  <a:lumMod val="60000"/>
                </a:schemeClr>
              </a:solidFill>
              <a:round/>
            </a:ln>
            <a:effectLst/>
          </c:spPr>
          <c:marker>
            <c:symbol val="none"/>
          </c:marker>
          <c:cat>
            <c:numRef>
              <c:f>'DRT Rolling Stdev'!$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I$2:$I$2453</c:f>
              <c:numCache>
                <c:formatCode>#,##0.00</c:formatCode>
                <c:ptCount val="2452"/>
                <c:pt idx="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3-6950-4ED7-9FB8-753F466A9E67}"/>
            </c:ext>
          </c:extLst>
        </c:ser>
        <c:dLbls>
          <c:showLegendKey val="0"/>
          <c:showVal val="0"/>
          <c:showCatName val="0"/>
          <c:showSerName val="0"/>
          <c:showPercent val="0"/>
          <c:showBubbleSize val="0"/>
        </c:dLbls>
        <c:marker val="1"/>
        <c:smooth val="0"/>
        <c:axId val="1031766575"/>
        <c:axId val="1031770735"/>
      </c:lineChart>
      <c:lineChart>
        <c:grouping val="standard"/>
        <c:varyColors val="0"/>
        <c:ser>
          <c:idx val="2"/>
          <c:order val="2"/>
          <c:tx>
            <c:strRef>
              <c:f>'DRT Rolling Stdev'!$E$1</c:f>
              <c:strCache>
                <c:ptCount val="1"/>
                <c:pt idx="0">
                  <c:v>Pump Speed (RPM)</c:v>
                </c:pt>
              </c:strCache>
            </c:strRef>
          </c:tx>
          <c:spPr>
            <a:ln w="28575" cap="rnd">
              <a:solidFill>
                <a:schemeClr val="accent3"/>
              </a:solidFill>
              <a:round/>
            </a:ln>
            <a:effectLst/>
          </c:spPr>
          <c:marker>
            <c:symbol val="none"/>
          </c:marker>
          <c:cat>
            <c:numRef>
              <c:f>'DRT Rolling Stdev'!$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E$2:$E$2453</c:f>
              <c:numCache>
                <c:formatCode>#,##0.00</c:formatCode>
                <c:ptCount val="2452"/>
                <c:pt idx="0">
                  <c:v>5.5418989234883131</c:v>
                </c:pt>
                <c:pt idx="1">
                  <c:v>5.4865561922370496</c:v>
                </c:pt>
                <c:pt idx="2">
                  <c:v>5.6197517022909738</c:v>
                </c:pt>
                <c:pt idx="3">
                  <c:v>5.6145336855118373</c:v>
                </c:pt>
                <c:pt idx="4">
                  <c:v>5.6120764694407521</c:v>
                </c:pt>
                <c:pt idx="5">
                  <c:v>5.8068528679384546</c:v>
                </c:pt>
                <c:pt idx="6">
                  <c:v>5.7818582702684154</c:v>
                </c:pt>
                <c:pt idx="7">
                  <c:v>5.7676266558593507</c:v>
                </c:pt>
                <c:pt idx="8">
                  <c:v>5.5688996828961574</c:v>
                </c:pt>
                <c:pt idx="9">
                  <c:v>5.7075267909108867</c:v>
                </c:pt>
                <c:pt idx="10">
                  <c:v>5.7803670885300109</c:v>
                </c:pt>
                <c:pt idx="11">
                  <c:v>5.7540590370884148</c:v>
                </c:pt>
                <c:pt idx="12">
                  <c:v>5.7937739075626702</c:v>
                </c:pt>
                <c:pt idx="13">
                  <c:v>5.6977511191778065</c:v>
                </c:pt>
                <c:pt idx="14">
                  <c:v>5.754458541291986</c:v>
                </c:pt>
                <c:pt idx="15">
                  <c:v>5.8314446860479432</c:v>
                </c:pt>
                <c:pt idx="16">
                  <c:v>5.8423739467217706</c:v>
                </c:pt>
                <c:pt idx="17">
                  <c:v>5.9811965896196853</c:v>
                </c:pt>
                <c:pt idx="18">
                  <c:v>6.1101009266077861</c:v>
                </c:pt>
                <c:pt idx="19">
                  <c:v>6.0996513938451251</c:v>
                </c:pt>
                <c:pt idx="20">
                  <c:v>6.1820094936282928</c:v>
                </c:pt>
                <c:pt idx="21">
                  <c:v>6.3543812381332785</c:v>
                </c:pt>
                <c:pt idx="22">
                  <c:v>6.3103636705955726</c:v>
                </c:pt>
                <c:pt idx="23">
                  <c:v>6.3296419974665206</c:v>
                </c:pt>
                <c:pt idx="24">
                  <c:v>6.3296419974665206</c:v>
                </c:pt>
                <c:pt idx="25">
                  <c:v>6.1662783350856882</c:v>
                </c:pt>
                <c:pt idx="26">
                  <c:v>6.2363413972447432</c:v>
                </c:pt>
                <c:pt idx="27">
                  <c:v>6.2363413972447423</c:v>
                </c:pt>
                <c:pt idx="28">
                  <c:v>6.1292590165495557</c:v>
                </c:pt>
                <c:pt idx="29">
                  <c:v>5.9311180159848647</c:v>
                </c:pt>
                <c:pt idx="30">
                  <c:v>6.0667740296171226</c:v>
                </c:pt>
                <c:pt idx="31">
                  <c:v>5.8984704816578075</c:v>
                </c:pt>
                <c:pt idx="32">
                  <c:v>5.8984704816578075</c:v>
                </c:pt>
                <c:pt idx="33">
                  <c:v>5.6320103186948307</c:v>
                </c:pt>
                <c:pt idx="34">
                  <c:v>5.4423836900649567</c:v>
                </c:pt>
                <c:pt idx="35">
                  <c:v>5.8092276971023962</c:v>
                </c:pt>
                <c:pt idx="36">
                  <c:v>5.9557757150362951</c:v>
                </c:pt>
                <c:pt idx="37">
                  <c:v>5.9566441219366375</c:v>
                </c:pt>
                <c:pt idx="38">
                  <c:v>5.9232640892724318</c:v>
                </c:pt>
                <c:pt idx="39">
                  <c:v>5.9476644696618646</c:v>
                </c:pt>
                <c:pt idx="40">
                  <c:v>5.8515151785719111</c:v>
                </c:pt>
                <c:pt idx="41">
                  <c:v>5.8742571063687832</c:v>
                </c:pt>
                <c:pt idx="42">
                  <c:v>5.8041800236662571</c:v>
                </c:pt>
                <c:pt idx="43">
                  <c:v>5.7484630629592548</c:v>
                </c:pt>
                <c:pt idx="44">
                  <c:v>5.7843427188968644</c:v>
                </c:pt>
                <c:pt idx="45">
                  <c:v>5.6568542494923806</c:v>
                </c:pt>
                <c:pt idx="46">
                  <c:v>5.6568542494923806</c:v>
                </c:pt>
                <c:pt idx="47">
                  <c:v>5.4629367707231919</c:v>
                </c:pt>
                <c:pt idx="48">
                  <c:v>5.1667593614228418</c:v>
                </c:pt>
                <c:pt idx="49">
                  <c:v>5.4049785479174925</c:v>
                </c:pt>
                <c:pt idx="50">
                  <c:v>5.4049785479174925</c:v>
                </c:pt>
                <c:pt idx="51">
                  <c:v>5.3991272176754341</c:v>
                </c:pt>
                <c:pt idx="52">
                  <c:v>5.9136506802326521</c:v>
                </c:pt>
                <c:pt idx="53">
                  <c:v>5.938477687200594</c:v>
                </c:pt>
                <c:pt idx="54">
                  <c:v>5.8613285536466133</c:v>
                </c:pt>
                <c:pt idx="55">
                  <c:v>6.1034190531153136</c:v>
                </c:pt>
                <c:pt idx="56">
                  <c:v>5.9708102224609068</c:v>
                </c:pt>
                <c:pt idx="57">
                  <c:v>5.7456630320756652</c:v>
                </c:pt>
                <c:pt idx="58">
                  <c:v>5.7456630320756652</c:v>
                </c:pt>
                <c:pt idx="59">
                  <c:v>5.9754286144540938</c:v>
                </c:pt>
                <c:pt idx="60">
                  <c:v>5.9383809086393189</c:v>
                </c:pt>
                <c:pt idx="61">
                  <c:v>5.8824695728802601</c:v>
                </c:pt>
                <c:pt idx="62">
                  <c:v>5.761644880078773</c:v>
                </c:pt>
                <c:pt idx="63">
                  <c:v>5.7355515623292872</c:v>
                </c:pt>
                <c:pt idx="64">
                  <c:v>5.7436621742938367</c:v>
                </c:pt>
                <c:pt idx="65">
                  <c:v>5.4830983773859048</c:v>
                </c:pt>
                <c:pt idx="66">
                  <c:v>5.274205284145693</c:v>
                </c:pt>
                <c:pt idx="67">
                  <c:v>5.3529452629842709</c:v>
                </c:pt>
                <c:pt idx="68">
                  <c:v>5.3674198086509728</c:v>
                </c:pt>
                <c:pt idx="69">
                  <c:v>5.3040864749109549</c:v>
                </c:pt>
                <c:pt idx="70">
                  <c:v>5.274205284145693</c:v>
                </c:pt>
                <c:pt idx="71">
                  <c:v>5.4059354353372076</c:v>
                </c:pt>
                <c:pt idx="72">
                  <c:v>5.5889875298836893</c:v>
                </c:pt>
                <c:pt idx="73">
                  <c:v>5.5490498306456493</c:v>
                </c:pt>
                <c:pt idx="74">
                  <c:v>5.276384167690737</c:v>
                </c:pt>
                <c:pt idx="75">
                  <c:v>5.3636708994159372</c:v>
                </c:pt>
                <c:pt idx="76">
                  <c:v>5.3799329141653374</c:v>
                </c:pt>
                <c:pt idx="77">
                  <c:v>5.197368918805064</c:v>
                </c:pt>
                <c:pt idx="78">
                  <c:v>5.0701968947688947</c:v>
                </c:pt>
                <c:pt idx="79">
                  <c:v>5.0901076022318872</c:v>
                </c:pt>
                <c:pt idx="80">
                  <c:v>4.7541875068800881</c:v>
                </c:pt>
                <c:pt idx="81">
                  <c:v>4.8599938508073288</c:v>
                </c:pt>
                <c:pt idx="82">
                  <c:v>4.7538248363515301</c:v>
                </c:pt>
                <c:pt idx="83">
                  <c:v>4.5632212860814807</c:v>
                </c:pt>
                <c:pt idx="84">
                  <c:v>4.5446697337106636</c:v>
                </c:pt>
                <c:pt idx="85">
                  <c:v>4.6663382478853972</c:v>
                </c:pt>
                <c:pt idx="86">
                  <c:v>4.6585726194377086</c:v>
                </c:pt>
                <c:pt idx="87">
                  <c:v>4.9799598391954936</c:v>
                </c:pt>
                <c:pt idx="88">
                  <c:v>5.1605265702986767</c:v>
                </c:pt>
                <c:pt idx="89">
                  <c:v>5.1022870688871809</c:v>
                </c:pt>
                <c:pt idx="90">
                  <c:v>5.0428052765768445</c:v>
                </c:pt>
                <c:pt idx="91">
                  <c:v>5.0356202462425435</c:v>
                </c:pt>
                <c:pt idx="92">
                  <c:v>5.0356202462425443</c:v>
                </c:pt>
                <c:pt idx="93">
                  <c:v>5.3222586165658274</c:v>
                </c:pt>
                <c:pt idx="94">
                  <c:v>5.6592920234687094</c:v>
                </c:pt>
                <c:pt idx="95">
                  <c:v>5.6414924250245333</c:v>
                </c:pt>
                <c:pt idx="96">
                  <c:v>5.8314446860479423</c:v>
                </c:pt>
                <c:pt idx="97">
                  <c:v>5.6993647558907528</c:v>
                </c:pt>
                <c:pt idx="98">
                  <c:v>5.6993647558907528</c:v>
                </c:pt>
                <c:pt idx="99">
                  <c:v>5.7143698680174477</c:v>
                </c:pt>
                <c:pt idx="100">
                  <c:v>5.6665990530110921</c:v>
                </c:pt>
                <c:pt idx="101">
                  <c:v>5.7204010790981368</c:v>
                </c:pt>
                <c:pt idx="102">
                  <c:v>5.7962532487925271</c:v>
                </c:pt>
                <c:pt idx="103">
                  <c:v>5.796253248792528</c:v>
                </c:pt>
                <c:pt idx="104">
                  <c:v>5.8839348785631893</c:v>
                </c:pt>
                <c:pt idx="105">
                  <c:v>5.8647593555789292</c:v>
                </c:pt>
                <c:pt idx="106">
                  <c:v>5.8456192458811485</c:v>
                </c:pt>
                <c:pt idx="107">
                  <c:v>5.7499625186184682</c:v>
                </c:pt>
                <c:pt idx="108">
                  <c:v>5.9136506802326512</c:v>
                </c:pt>
                <c:pt idx="109">
                  <c:v>5.9014901683300769</c:v>
                </c:pt>
                <c:pt idx="110">
                  <c:v>6.0647843486312274</c:v>
                </c:pt>
                <c:pt idx="111">
                  <c:v>5.9797551174247774</c:v>
                </c:pt>
                <c:pt idx="112">
                  <c:v>6.028667148400789</c:v>
                </c:pt>
                <c:pt idx="113">
                  <c:v>6.0499833760577149</c:v>
                </c:pt>
                <c:pt idx="114">
                  <c:v>6.0053615891211694</c:v>
                </c:pt>
                <c:pt idx="115">
                  <c:v>5.89963957597723</c:v>
                </c:pt>
                <c:pt idx="116">
                  <c:v>5.8338095043747638</c:v>
                </c:pt>
                <c:pt idx="117">
                  <c:v>5.7890105957893097</c:v>
                </c:pt>
                <c:pt idx="118">
                  <c:v>5.5527770829858945</c:v>
                </c:pt>
                <c:pt idx="119">
                  <c:v>5.6901810972534284</c:v>
                </c:pt>
                <c:pt idx="120">
                  <c:v>5.7150738372760532</c:v>
                </c:pt>
                <c:pt idx="121">
                  <c:v>5.6686271118616824</c:v>
                </c:pt>
                <c:pt idx="122">
                  <c:v>5.6231254858739419</c:v>
                </c:pt>
                <c:pt idx="123">
                  <c:v>5.5207029370851153</c:v>
                </c:pt>
                <c:pt idx="124">
                  <c:v>5.3235542530397364</c:v>
                </c:pt>
                <c:pt idx="125">
                  <c:v>5.376085829911454</c:v>
                </c:pt>
                <c:pt idx="126">
                  <c:v>5.1578530684638615</c:v>
                </c:pt>
                <c:pt idx="127">
                  <c:v>5.1577416424802367</c:v>
                </c:pt>
                <c:pt idx="128">
                  <c:v>5.4860324209885905</c:v>
                </c:pt>
                <c:pt idx="129">
                  <c:v>5.6054161000921612</c:v>
                </c:pt>
                <c:pt idx="130">
                  <c:v>5.6054161000921612</c:v>
                </c:pt>
                <c:pt idx="131">
                  <c:v>5.6756183520530108</c:v>
                </c:pt>
                <c:pt idx="132">
                  <c:v>5.5207029370851153</c:v>
                </c:pt>
                <c:pt idx="133">
                  <c:v>5.4907445635422665</c:v>
                </c:pt>
                <c:pt idx="134">
                  <c:v>5.4982755917431625</c:v>
                </c:pt>
                <c:pt idx="135">
                  <c:v>5.3879388505690429</c:v>
                </c:pt>
                <c:pt idx="136">
                  <c:v>5.4563050105191246</c:v>
                </c:pt>
                <c:pt idx="137">
                  <c:v>5.4504033384442421</c:v>
                </c:pt>
                <c:pt idx="138">
                  <c:v>5.5565018351187616</c:v>
                </c:pt>
                <c:pt idx="139">
                  <c:v>5.6001847260172806</c:v>
                </c:pt>
                <c:pt idx="140">
                  <c:v>5.3652778955569227</c:v>
                </c:pt>
                <c:pt idx="141">
                  <c:v>5.3652778955569227</c:v>
                </c:pt>
                <c:pt idx="142">
                  <c:v>5.2017901427926887</c:v>
                </c:pt>
                <c:pt idx="143">
                  <c:v>5.4032769963097929</c:v>
                </c:pt>
                <c:pt idx="144">
                  <c:v>5.4718716460042103</c:v>
                </c:pt>
                <c:pt idx="145">
                  <c:v>5.6491276917910902</c:v>
                </c:pt>
                <c:pt idx="146">
                  <c:v>5.684825536400421</c:v>
                </c:pt>
                <c:pt idx="147">
                  <c:v>5.6124860801609122</c:v>
                </c:pt>
                <c:pt idx="148">
                  <c:v>5.5745728149308009</c:v>
                </c:pt>
                <c:pt idx="149">
                  <c:v>5.4944067693543071</c:v>
                </c:pt>
                <c:pt idx="150">
                  <c:v>5.4367840392694626</c:v>
                </c:pt>
                <c:pt idx="151">
                  <c:v>5.4360440315217904</c:v>
                </c:pt>
                <c:pt idx="152">
                  <c:v>5.4304378435273337</c:v>
                </c:pt>
                <c:pt idx="153">
                  <c:v>5.7050088901579805</c:v>
                </c:pt>
                <c:pt idx="154">
                  <c:v>5.9171482724502464</c:v>
                </c:pt>
                <c:pt idx="155">
                  <c:v>5.8580919572255219</c:v>
                </c:pt>
                <c:pt idx="156">
                  <c:v>5.9392518589194516</c:v>
                </c:pt>
                <c:pt idx="157">
                  <c:v>6.1941759816745625</c:v>
                </c:pt>
                <c:pt idx="158">
                  <c:v>6.0889951608590982</c:v>
                </c:pt>
                <c:pt idx="159">
                  <c:v>6.0225629401290668</c:v>
                </c:pt>
                <c:pt idx="160">
                  <c:v>5.9174396451525366</c:v>
                </c:pt>
                <c:pt idx="161">
                  <c:v>5.7624428089514934</c:v>
                </c:pt>
                <c:pt idx="162">
                  <c:v>5.9057735242337417</c:v>
                </c:pt>
                <c:pt idx="163">
                  <c:v>5.8937917853615609</c:v>
                </c:pt>
                <c:pt idx="164">
                  <c:v>5.8937917853615609</c:v>
                </c:pt>
                <c:pt idx="165">
                  <c:v>5.8554425021984224</c:v>
                </c:pt>
                <c:pt idx="166">
                  <c:v>5.8160499294288375</c:v>
                </c:pt>
                <c:pt idx="167">
                  <c:v>6.0409521971520244</c:v>
                </c:pt>
                <c:pt idx="168">
                  <c:v>5.8274025680104833</c:v>
                </c:pt>
                <c:pt idx="169">
                  <c:v>5.7855348752819262</c:v>
                </c:pt>
                <c:pt idx="170">
                  <c:v>5.7839452788305108</c:v>
                </c:pt>
                <c:pt idx="171">
                  <c:v>5.73154208853461</c:v>
                </c:pt>
                <c:pt idx="172">
                  <c:v>5.7002722258042962</c:v>
                </c:pt>
                <c:pt idx="173">
                  <c:v>5.6405754984773484</c:v>
                </c:pt>
                <c:pt idx="174">
                  <c:v>5.5403431571384258</c:v>
                </c:pt>
                <c:pt idx="175">
                  <c:v>5.5403431571384258</c:v>
                </c:pt>
                <c:pt idx="176">
                  <c:v>5.4329772113741051</c:v>
                </c:pt>
                <c:pt idx="177">
                  <c:v>5.3649565348369466</c:v>
                </c:pt>
                <c:pt idx="178">
                  <c:v>5.4676688175904147</c:v>
                </c:pt>
                <c:pt idx="179">
                  <c:v>5.2663538391016509</c:v>
                </c:pt>
                <c:pt idx="180">
                  <c:v>5.387938850569042</c:v>
                </c:pt>
                <c:pt idx="181">
                  <c:v>5.7495627020120255</c:v>
                </c:pt>
                <c:pt idx="182">
                  <c:v>5.8707339610460387</c:v>
                </c:pt>
                <c:pt idx="183">
                  <c:v>5.9465048171366925</c:v>
                </c:pt>
                <c:pt idx="184">
                  <c:v>5.7519611847842276</c:v>
                </c:pt>
                <c:pt idx="185">
                  <c:v>5.8730829594239395</c:v>
                </c:pt>
                <c:pt idx="186">
                  <c:v>5.9907975405962262</c:v>
                </c:pt>
                <c:pt idx="187">
                  <c:v>5.8338095043747638</c:v>
                </c:pt>
                <c:pt idx="188">
                  <c:v>5.6430203048473544</c:v>
                </c:pt>
                <c:pt idx="189">
                  <c:v>5.4689300052477234</c:v>
                </c:pt>
                <c:pt idx="190">
                  <c:v>5.8976909566956506</c:v>
                </c:pt>
                <c:pt idx="191">
                  <c:v>5.9866710186093801</c:v>
                </c:pt>
                <c:pt idx="192">
                  <c:v>5.9866710186093801</c:v>
                </c:pt>
                <c:pt idx="193">
                  <c:v>5.9951129522591007</c:v>
                </c:pt>
                <c:pt idx="194">
                  <c:v>5.9194788524884085</c:v>
                </c:pt>
                <c:pt idx="195">
                  <c:v>5.9140394037379833</c:v>
                </c:pt>
                <c:pt idx="196">
                  <c:v>5.9140394037379824</c:v>
                </c:pt>
                <c:pt idx="197">
                  <c:v>5.9194788524884077</c:v>
                </c:pt>
                <c:pt idx="198">
                  <c:v>5.9557757150362951</c:v>
                </c:pt>
                <c:pt idx="199">
                  <c:v>6.2220409114251467</c:v>
                </c:pt>
                <c:pt idx="200">
                  <c:v>6.2030767301025893</c:v>
                </c:pt>
                <c:pt idx="201">
                  <c:v>6.317645422003431</c:v>
                </c:pt>
                <c:pt idx="202">
                  <c:v>6.2812437453505776</c:v>
                </c:pt>
                <c:pt idx="203">
                  <c:v>6.2127973228419933</c:v>
                </c:pt>
                <c:pt idx="204">
                  <c:v>6.1666511338729517</c:v>
                </c:pt>
                <c:pt idx="205">
                  <c:v>6.0340032650222222</c:v>
                </c:pt>
                <c:pt idx="206">
                  <c:v>6.0670582164916498</c:v>
                </c:pt>
                <c:pt idx="207">
                  <c:v>6.1034190531153136</c:v>
                </c:pt>
                <c:pt idx="208">
                  <c:v>6.2227798053399841</c:v>
                </c:pt>
                <c:pt idx="209">
                  <c:v>6.4240925831779059</c:v>
                </c:pt>
                <c:pt idx="210">
                  <c:v>6.4000718386772721</c:v>
                </c:pt>
                <c:pt idx="211">
                  <c:v>6.2620917514396321</c:v>
                </c:pt>
                <c:pt idx="212">
                  <c:v>6.2075223183918844</c:v>
                </c:pt>
                <c:pt idx="213">
                  <c:v>6.068573655060681</c:v>
                </c:pt>
                <c:pt idx="214">
                  <c:v>6.2375393026195942</c:v>
                </c:pt>
                <c:pt idx="215">
                  <c:v>6.3630578928001613</c:v>
                </c:pt>
                <c:pt idx="216">
                  <c:v>6.6415619268050357</c:v>
                </c:pt>
                <c:pt idx="217">
                  <c:v>6.7514153475698935</c:v>
                </c:pt>
                <c:pt idx="218">
                  <c:v>6.7076898741873761</c:v>
                </c:pt>
                <c:pt idx="219">
                  <c:v>6.8812589064742387</c:v>
                </c:pt>
                <c:pt idx="220">
                  <c:v>6.7881743012998408</c:v>
                </c:pt>
                <c:pt idx="221">
                  <c:v>6.8616039812424541</c:v>
                </c:pt>
                <c:pt idx="222">
                  <c:v>6.5151459259775297</c:v>
                </c:pt>
                <c:pt idx="223">
                  <c:v>6.52810017953332</c:v>
                </c:pt>
                <c:pt idx="224">
                  <c:v>6.2793220221192074</c:v>
                </c:pt>
                <c:pt idx="225">
                  <c:v>6.1941759816745616</c:v>
                </c:pt>
                <c:pt idx="226">
                  <c:v>6.2735533204371361</c:v>
                </c:pt>
                <c:pt idx="227">
                  <c:v>6.3045322139538316</c:v>
                </c:pt>
                <c:pt idx="228">
                  <c:v>5.6868470952767378</c:v>
                </c:pt>
                <c:pt idx="229">
                  <c:v>5.7989297466771017</c:v>
                </c:pt>
                <c:pt idx="230">
                  <c:v>5.5527770829858945</c:v>
                </c:pt>
                <c:pt idx="231">
                  <c:v>5.5642537271614296</c:v>
                </c:pt>
                <c:pt idx="232">
                  <c:v>5.6592920234687085</c:v>
                </c:pt>
                <c:pt idx="233">
                  <c:v>5.6272122086677436</c:v>
                </c:pt>
                <c:pt idx="234">
                  <c:v>5.7220083284057557</c:v>
                </c:pt>
                <c:pt idx="235">
                  <c:v>5.6665990530110921</c:v>
                </c:pt>
                <c:pt idx="236">
                  <c:v>5.2567417031211772</c:v>
                </c:pt>
                <c:pt idx="237">
                  <c:v>4.6437450205725082</c:v>
                </c:pt>
                <c:pt idx="238">
                  <c:v>4.6756891433795342</c:v>
                </c:pt>
                <c:pt idx="239">
                  <c:v>4.6899256176244997</c:v>
                </c:pt>
                <c:pt idx="240">
                  <c:v>4.2453490440418573</c:v>
                </c:pt>
                <c:pt idx="241">
                  <c:v>3.3211270763810377</c:v>
                </c:pt>
                <c:pt idx="242">
                  <c:v>2.7175462224706259</c:v>
                </c:pt>
                <c:pt idx="243">
                  <c:v>2.6749154031096203</c:v>
                </c:pt>
                <c:pt idx="244">
                  <c:v>2.8123291774432895</c:v>
                </c:pt>
                <c:pt idx="245">
                  <c:v>2.9651229355607671</c:v>
                </c:pt>
                <c:pt idx="246">
                  <c:v>2.8849590128365992</c:v>
                </c:pt>
                <c:pt idx="247">
                  <c:v>2.9323796777894646</c:v>
                </c:pt>
                <c:pt idx="248">
                  <c:v>3.0026807945605851</c:v>
                </c:pt>
                <c:pt idx="249">
                  <c:v>2.937862230050726</c:v>
                </c:pt>
                <c:pt idx="250">
                  <c:v>2.9703515794846793</c:v>
                </c:pt>
                <c:pt idx="251">
                  <c:v>2.9633780041368838</c:v>
                </c:pt>
                <c:pt idx="252">
                  <c:v>2.9674479146965296</c:v>
                </c:pt>
                <c:pt idx="253">
                  <c:v>2.9674479146965291</c:v>
                </c:pt>
                <c:pt idx="254">
                  <c:v>2.9664793948382648</c:v>
                </c:pt>
                <c:pt idx="255">
                  <c:v>3.0026807945605851</c:v>
                </c:pt>
                <c:pt idx="256">
                  <c:v>3.1089414985456565</c:v>
                </c:pt>
                <c:pt idx="257">
                  <c:v>3.1286587776755779</c:v>
                </c:pt>
                <c:pt idx="258">
                  <c:v>3.6434479059920921</c:v>
                </c:pt>
                <c:pt idx="259">
                  <c:v>4.0234942210877387</c:v>
                </c:pt>
                <c:pt idx="260">
                  <c:v>4.9200504623148067</c:v>
                </c:pt>
                <c:pt idx="261">
                  <c:v>5.2478786080717867</c:v>
                </c:pt>
                <c:pt idx="262">
                  <c:v>5.3622777798716976</c:v>
                </c:pt>
                <c:pt idx="263">
                  <c:v>5.3572380943915494</c:v>
                </c:pt>
                <c:pt idx="264">
                  <c:v>5.802199345194829</c:v>
                </c:pt>
                <c:pt idx="265">
                  <c:v>6.0099534299264796</c:v>
                </c:pt>
                <c:pt idx="266">
                  <c:v>5.8835441660637677</c:v>
                </c:pt>
                <c:pt idx="267">
                  <c:v>5.9847507366063573</c:v>
                </c:pt>
                <c:pt idx="268">
                  <c:v>6.2485860469554941</c:v>
                </c:pt>
                <c:pt idx="269">
                  <c:v>6.4562186007515008</c:v>
                </c:pt>
                <c:pt idx="270">
                  <c:v>6.4931440412353316</c:v>
                </c:pt>
                <c:pt idx="271">
                  <c:v>6.5724083655946046</c:v>
                </c:pt>
                <c:pt idx="272">
                  <c:v>6.5724083655946046</c:v>
                </c:pt>
                <c:pt idx="273">
                  <c:v>6.3209194733445031</c:v>
                </c:pt>
                <c:pt idx="274">
                  <c:v>6.2936749858557377</c:v>
                </c:pt>
                <c:pt idx="275">
                  <c:v>5.9823495172989052</c:v>
                </c:pt>
                <c:pt idx="276">
                  <c:v>5.88676676865202</c:v>
                </c:pt>
                <c:pt idx="277">
                  <c:v>5.9069411731443964</c:v>
                </c:pt>
                <c:pt idx="278">
                  <c:v>5.888231004963723</c:v>
                </c:pt>
                <c:pt idx="279">
                  <c:v>5.9754286144540965</c:v>
                </c:pt>
                <c:pt idx="280">
                  <c:v>5.9209349991675984</c:v>
                </c:pt>
                <c:pt idx="281">
                  <c:v>5.6901810972534284</c:v>
                </c:pt>
                <c:pt idx="282">
                  <c:v>5.3786508584840549</c:v>
                </c:pt>
                <c:pt idx="283">
                  <c:v>5.2832417773712494</c:v>
                </c:pt>
                <c:pt idx="284">
                  <c:v>5.0456536434494961</c:v>
                </c:pt>
                <c:pt idx="285">
                  <c:v>4.5389755287481668</c:v>
                </c:pt>
                <c:pt idx="286">
                  <c:v>4.6307319249681829</c:v>
                </c:pt>
                <c:pt idx="287">
                  <c:v>4.7740919579526855</c:v>
                </c:pt>
                <c:pt idx="288">
                  <c:v>4.9722216871080009</c:v>
                </c:pt>
                <c:pt idx="289">
                  <c:v>5.1039763628609878</c:v>
                </c:pt>
                <c:pt idx="290">
                  <c:v>5.0606664410516329</c:v>
                </c:pt>
                <c:pt idx="291">
                  <c:v>5.0995830345663347</c:v>
                </c:pt>
                <c:pt idx="292">
                  <c:v>5.1103905872274566</c:v>
                </c:pt>
                <c:pt idx="293">
                  <c:v>5.1103905872274566</c:v>
                </c:pt>
                <c:pt idx="294">
                  <c:v>5.047020288556749</c:v>
                </c:pt>
                <c:pt idx="295">
                  <c:v>5.1080283890155211</c:v>
                </c:pt>
                <c:pt idx="296">
                  <c:v>4.9545056702744423</c:v>
                </c:pt>
                <c:pt idx="297">
                  <c:v>4.9545056702744414</c:v>
                </c:pt>
                <c:pt idx="298">
                  <c:v>4.8204545023467853</c:v>
                </c:pt>
                <c:pt idx="299">
                  <c:v>4.7174169826829759</c:v>
                </c:pt>
                <c:pt idx="300">
                  <c:v>5.0304817986388519</c:v>
                </c:pt>
                <c:pt idx="301">
                  <c:v>5.0792568919786518</c:v>
                </c:pt>
                <c:pt idx="302">
                  <c:v>5.1466985288752278</c:v>
                </c:pt>
                <c:pt idx="303">
                  <c:v>5.4504033384442421</c:v>
                </c:pt>
                <c:pt idx="304">
                  <c:v>5.2087459606664073</c:v>
                </c:pt>
                <c:pt idx="305">
                  <c:v>5.2875911991808877</c:v>
                </c:pt>
                <c:pt idx="306">
                  <c:v>5.302786081852167</c:v>
                </c:pt>
                <c:pt idx="307">
                  <c:v>5.3687045463265273</c:v>
                </c:pt>
                <c:pt idx="308">
                  <c:v>5.3622777798716967</c:v>
                </c:pt>
                <c:pt idx="309">
                  <c:v>5.3089601120430707</c:v>
                </c:pt>
                <c:pt idx="310">
                  <c:v>5.4440730188419364</c:v>
                </c:pt>
                <c:pt idx="311">
                  <c:v>5.4620950887567581</c:v>
                </c:pt>
                <c:pt idx="312">
                  <c:v>5.6013134748626729</c:v>
                </c:pt>
                <c:pt idx="313">
                  <c:v>5.6577685378235643</c:v>
                </c:pt>
                <c:pt idx="314">
                  <c:v>5.9276286666082072</c:v>
                </c:pt>
                <c:pt idx="315">
                  <c:v>5.9175367661984444</c:v>
                </c:pt>
                <c:pt idx="316">
                  <c:v>5.9924281724772355</c:v>
                </c:pt>
                <c:pt idx="317">
                  <c:v>5.5800341942675766</c:v>
                </c:pt>
                <c:pt idx="318">
                  <c:v>5.5518455044919177</c:v>
                </c:pt>
                <c:pt idx="319">
                  <c:v>5.5518455044919177</c:v>
                </c:pt>
                <c:pt idx="320">
                  <c:v>5.6038779676097583</c:v>
                </c:pt>
                <c:pt idx="321">
                  <c:v>5.4944067693543071</c:v>
                </c:pt>
                <c:pt idx="322">
                  <c:v>5.8823718728566208</c:v>
                </c:pt>
                <c:pt idx="323">
                  <c:v>5.9693662421846216</c:v>
                </c:pt>
                <c:pt idx="324">
                  <c:v>6.1559241628573185</c:v>
                </c:pt>
                <c:pt idx="325">
                  <c:v>6.1782897607522509</c:v>
                </c:pt>
                <c:pt idx="326">
                  <c:v>6.3522102226424852</c:v>
                </c:pt>
                <c:pt idx="327">
                  <c:v>6.4754177072030359</c:v>
                </c:pt>
                <c:pt idx="328">
                  <c:v>6.7789396655012162</c:v>
                </c:pt>
                <c:pt idx="329">
                  <c:v>6.8569119419247571</c:v>
                </c:pt>
                <c:pt idx="330">
                  <c:v>6.8114170551252089</c:v>
                </c:pt>
                <c:pt idx="331">
                  <c:v>6.8114170551252098</c:v>
                </c:pt>
                <c:pt idx="332">
                  <c:v>6.8414725846440971</c:v>
                </c:pt>
                <c:pt idx="333">
                  <c:v>6.6409561699031494</c:v>
                </c:pt>
                <c:pt idx="334">
                  <c:v>6.9179094576589977</c:v>
                </c:pt>
                <c:pt idx="335">
                  <c:v>6.7644268984421583</c:v>
                </c:pt>
                <c:pt idx="336">
                  <c:v>7.0004925935054114</c:v>
                </c:pt>
                <c:pt idx="337">
                  <c:v>6.9959758547982087</c:v>
                </c:pt>
                <c:pt idx="338">
                  <c:v>7.0971096593783436</c:v>
                </c:pt>
                <c:pt idx="339">
                  <c:v>7.0058268031262578</c:v>
                </c:pt>
                <c:pt idx="340">
                  <c:v>7.0453375795057127</c:v>
                </c:pt>
                <c:pt idx="341">
                  <c:v>7.0453375795057127</c:v>
                </c:pt>
                <c:pt idx="342">
                  <c:v>7.0453375795057127</c:v>
                </c:pt>
                <c:pt idx="343">
                  <c:v>7.0195949059527756</c:v>
                </c:pt>
                <c:pt idx="344">
                  <c:v>6.836682666692778</c:v>
                </c:pt>
                <c:pt idx="345">
                  <c:v>6.836682666692778</c:v>
                </c:pt>
                <c:pt idx="346">
                  <c:v>6.662728722001857</c:v>
                </c:pt>
                <c:pt idx="347">
                  <c:v>6.7330032922413849</c:v>
                </c:pt>
                <c:pt idx="348">
                  <c:v>6.9002748570943382</c:v>
                </c:pt>
                <c:pt idx="349">
                  <c:v>6.8165619810414189</c:v>
                </c:pt>
                <c:pt idx="350">
                  <c:v>6.7394873436465783</c:v>
                </c:pt>
                <c:pt idx="351">
                  <c:v>6.9301938073113485</c:v>
                </c:pt>
                <c:pt idx="352">
                  <c:v>6.7949440297780308</c:v>
                </c:pt>
                <c:pt idx="353">
                  <c:v>6.823303544791762</c:v>
                </c:pt>
                <c:pt idx="354">
                  <c:v>6.6505552442988742</c:v>
                </c:pt>
                <c:pt idx="355">
                  <c:v>6.7296735245572226</c:v>
                </c:pt>
                <c:pt idx="356">
                  <c:v>6.7296735245572226</c:v>
                </c:pt>
                <c:pt idx="357">
                  <c:v>6.6224973585776397</c:v>
                </c:pt>
                <c:pt idx="358">
                  <c:v>6.5199957689853001</c:v>
                </c:pt>
                <c:pt idx="359">
                  <c:v>6.6815924868940897</c:v>
                </c:pt>
                <c:pt idx="360">
                  <c:v>6.4939405885653194</c:v>
                </c:pt>
                <c:pt idx="361">
                  <c:v>6.3350874763757847</c:v>
                </c:pt>
                <c:pt idx="362">
                  <c:v>6.5069370586365327</c:v>
                </c:pt>
                <c:pt idx="363">
                  <c:v>6.7371845137574935</c:v>
                </c:pt>
                <c:pt idx="364">
                  <c:v>6.6092933525975122</c:v>
                </c:pt>
                <c:pt idx="365">
                  <c:v>6.7555851733571357</c:v>
                </c:pt>
                <c:pt idx="366">
                  <c:v>6.4579986935920619</c:v>
                </c:pt>
                <c:pt idx="367">
                  <c:v>6.6432923564549942</c:v>
                </c:pt>
                <c:pt idx="368">
                  <c:v>6.5288924620956355</c:v>
                </c:pt>
                <c:pt idx="369">
                  <c:v>6.537601233255014</c:v>
                </c:pt>
                <c:pt idx="370">
                  <c:v>6.5902226428823036</c:v>
                </c:pt>
                <c:pt idx="371">
                  <c:v>6.5354910816373177</c:v>
                </c:pt>
                <c:pt idx="372">
                  <c:v>6.2779490025135534</c:v>
                </c:pt>
                <c:pt idx="373">
                  <c:v>6.2609903369994111</c:v>
                </c:pt>
                <c:pt idx="374">
                  <c:v>6.2881936444693585</c:v>
                </c:pt>
                <c:pt idx="375">
                  <c:v>6.5691721691934468</c:v>
                </c:pt>
                <c:pt idx="376">
                  <c:v>6.7741903702519171</c:v>
                </c:pt>
                <c:pt idx="377">
                  <c:v>6.93060843889866</c:v>
                </c:pt>
                <c:pt idx="378">
                  <c:v>6.8899393587909099</c:v>
                </c:pt>
                <c:pt idx="379">
                  <c:v>6.9006912863774064</c:v>
                </c:pt>
                <c:pt idx="380">
                  <c:v>6.9498201415576224</c:v>
                </c:pt>
                <c:pt idx="381">
                  <c:v>6.6881263805911013</c:v>
                </c:pt>
                <c:pt idx="382">
                  <c:v>6.7337714663418407</c:v>
                </c:pt>
                <c:pt idx="383">
                  <c:v>6.6329030068930281</c:v>
                </c:pt>
                <c:pt idx="384">
                  <c:v>6.5109103835783602</c:v>
                </c:pt>
                <c:pt idx="385">
                  <c:v>6.7819910276297604</c:v>
                </c:pt>
                <c:pt idx="386">
                  <c:v>6.7235219287540637</c:v>
                </c:pt>
                <c:pt idx="387">
                  <c:v>6.892941583834939</c:v>
                </c:pt>
                <c:pt idx="388">
                  <c:v>6.9256312214910736</c:v>
                </c:pt>
                <c:pt idx="389">
                  <c:v>6.8417245926958259</c:v>
                </c:pt>
                <c:pt idx="390">
                  <c:v>7.0691169033411407</c:v>
                </c:pt>
                <c:pt idx="391">
                  <c:v>7.2318738927058188</c:v>
                </c:pt>
                <c:pt idx="392">
                  <c:v>7.1954647274292274</c:v>
                </c:pt>
                <c:pt idx="393">
                  <c:v>7.3409573743765737</c:v>
                </c:pt>
                <c:pt idx="394">
                  <c:v>7.5314665574340252</c:v>
                </c:pt>
                <c:pt idx="395">
                  <c:v>7.6405602490615969</c:v>
                </c:pt>
                <c:pt idx="396">
                  <c:v>7.7165295040067647</c:v>
                </c:pt>
                <c:pt idx="397">
                  <c:v>7.529253294478397</c:v>
                </c:pt>
                <c:pt idx="398">
                  <c:v>7.4876142940252981</c:v>
                </c:pt>
                <c:pt idx="399">
                  <c:v>7.6009678754536347</c:v>
                </c:pt>
                <c:pt idx="400">
                  <c:v>7.4516834478456309</c:v>
                </c:pt>
                <c:pt idx="401">
                  <c:v>7.4553074514336632</c:v>
                </c:pt>
                <c:pt idx="402">
                  <c:v>7.4759384141667322</c:v>
                </c:pt>
                <c:pt idx="403">
                  <c:v>7.4759384141667322</c:v>
                </c:pt>
                <c:pt idx="404">
                  <c:v>7.5345182670985258</c:v>
                </c:pt>
                <c:pt idx="405">
                  <c:v>7.3140551200309245</c:v>
                </c:pt>
                <c:pt idx="406">
                  <c:v>7.1241857772313706</c:v>
                </c:pt>
                <c:pt idx="407">
                  <c:v>7.0201679909165744</c:v>
                </c:pt>
                <c:pt idx="408">
                  <c:v>6.9199860474246426</c:v>
                </c:pt>
                <c:pt idx="409">
                  <c:v>6.9311888814506286</c:v>
                </c:pt>
                <c:pt idx="410">
                  <c:v>6.9102622336587949</c:v>
                </c:pt>
                <c:pt idx="411">
                  <c:v>6.9102622336587949</c:v>
                </c:pt>
                <c:pt idx="412">
                  <c:v>6.9455186908579742</c:v>
                </c:pt>
                <c:pt idx="413">
                  <c:v>6.7619625798309828</c:v>
                </c:pt>
                <c:pt idx="414">
                  <c:v>6.7196743216100687</c:v>
                </c:pt>
                <c:pt idx="415">
                  <c:v>6.6380997142323759</c:v>
                </c:pt>
                <c:pt idx="416">
                  <c:v>6.6616935474052106</c:v>
                </c:pt>
                <c:pt idx="417">
                  <c:v>6.5362824683260978</c:v>
                </c:pt>
                <c:pt idx="418">
                  <c:v>6.4054574432643969</c:v>
                </c:pt>
                <c:pt idx="419">
                  <c:v>6.3210103950075194</c:v>
                </c:pt>
                <c:pt idx="420">
                  <c:v>6.4953564315142698</c:v>
                </c:pt>
                <c:pt idx="421">
                  <c:v>6.4419601500407202</c:v>
                </c:pt>
                <c:pt idx="422">
                  <c:v>6.2116871678525767</c:v>
                </c:pt>
                <c:pt idx="423">
                  <c:v>6.0951271285054984</c:v>
                </c:pt>
                <c:pt idx="424">
                  <c:v>5.8952542768319791</c:v>
                </c:pt>
                <c:pt idx="425">
                  <c:v>5.5877534399566278</c:v>
                </c:pt>
                <c:pt idx="426">
                  <c:v>5.7114524995987157</c:v>
                </c:pt>
                <c:pt idx="427">
                  <c:v>5.6564478516866554</c:v>
                </c:pt>
                <c:pt idx="428">
                  <c:v>5.7264259379641427</c:v>
                </c:pt>
                <c:pt idx="429">
                  <c:v>5.4747067312417244</c:v>
                </c:pt>
                <c:pt idx="430">
                  <c:v>5.7480631420555452</c:v>
                </c:pt>
                <c:pt idx="431">
                  <c:v>5.8926215308423746</c:v>
                </c:pt>
                <c:pt idx="432">
                  <c:v>6.0951271285054984</c:v>
                </c:pt>
                <c:pt idx="433">
                  <c:v>6.2957749014077216</c:v>
                </c:pt>
                <c:pt idx="434">
                  <c:v>6.4771925236560426</c:v>
                </c:pt>
                <c:pt idx="435">
                  <c:v>6.6803021474787503</c:v>
                </c:pt>
                <c:pt idx="436">
                  <c:v>6.7166802144696662</c:v>
                </c:pt>
                <c:pt idx="437">
                  <c:v>6.6380997142323759</c:v>
                </c:pt>
                <c:pt idx="438">
                  <c:v>6.6932802122726027</c:v>
                </c:pt>
                <c:pt idx="439">
                  <c:v>6.8668786933006007</c:v>
                </c:pt>
                <c:pt idx="440">
                  <c:v>6.9695561296023838</c:v>
                </c:pt>
                <c:pt idx="441">
                  <c:v>6.9695561296023838</c:v>
                </c:pt>
                <c:pt idx="442">
                  <c:v>6.8447479656042614</c:v>
                </c:pt>
                <c:pt idx="443">
                  <c:v>6.8162247278262384</c:v>
                </c:pt>
                <c:pt idx="444">
                  <c:v>6.8598448425870258</c:v>
                </c:pt>
                <c:pt idx="445">
                  <c:v>6.7776678591677397</c:v>
                </c:pt>
                <c:pt idx="446">
                  <c:v>6.9182417539080863</c:v>
                </c:pt>
                <c:pt idx="447">
                  <c:v>6.7025471226269246</c:v>
                </c:pt>
                <c:pt idx="448">
                  <c:v>6.7245475855171906</c:v>
                </c:pt>
                <c:pt idx="449">
                  <c:v>6.6898447656508253</c:v>
                </c:pt>
                <c:pt idx="450">
                  <c:v>6.5310047457114697</c:v>
                </c:pt>
                <c:pt idx="451">
                  <c:v>6.7497126375613314</c:v>
                </c:pt>
                <c:pt idx="452">
                  <c:v>6.8467628058477557</c:v>
                </c:pt>
                <c:pt idx="453">
                  <c:v>6.8979423885244424</c:v>
                </c:pt>
                <c:pt idx="454">
                  <c:v>6.9653493777428706</c:v>
                </c:pt>
                <c:pt idx="455">
                  <c:v>7.2508422023705741</c:v>
                </c:pt>
                <c:pt idx="456">
                  <c:v>7.3765705516485287</c:v>
                </c:pt>
                <c:pt idx="457">
                  <c:v>7.3891035027743825</c:v>
                </c:pt>
                <c:pt idx="458">
                  <c:v>7.5131302688547601</c:v>
                </c:pt>
                <c:pt idx="459">
                  <c:v>7.513130268854761</c:v>
                </c:pt>
                <c:pt idx="460">
                  <c:v>7.242038831488105</c:v>
                </c:pt>
                <c:pt idx="461">
                  <c:v>7.3178258186871101</c:v>
                </c:pt>
                <c:pt idx="462">
                  <c:v>7.242038831488105</c:v>
                </c:pt>
                <c:pt idx="463">
                  <c:v>7.2420388314881059</c:v>
                </c:pt>
                <c:pt idx="464">
                  <c:v>7.0254872617041881</c:v>
                </c:pt>
                <c:pt idx="465">
                  <c:v>6.7555001005991713</c:v>
                </c:pt>
                <c:pt idx="466">
                  <c:v>6.8929415838349399</c:v>
                </c:pt>
                <c:pt idx="467">
                  <c:v>6.8698909961403745</c:v>
                </c:pt>
                <c:pt idx="468">
                  <c:v>6.9029395704035883</c:v>
                </c:pt>
                <c:pt idx="469">
                  <c:v>6.7789396655012162</c:v>
                </c:pt>
                <c:pt idx="470">
                  <c:v>6.6888137875902531</c:v>
                </c:pt>
                <c:pt idx="471">
                  <c:v>6.6888137875902531</c:v>
                </c:pt>
                <c:pt idx="472">
                  <c:v>6.743579321767152</c:v>
                </c:pt>
                <c:pt idx="473">
                  <c:v>6.8916908156743775</c:v>
                </c:pt>
                <c:pt idx="474">
                  <c:v>7.0642372748841096</c:v>
                </c:pt>
                <c:pt idx="475">
                  <c:v>7.0756178398845107</c:v>
                </c:pt>
                <c:pt idx="476">
                  <c:v>6.866209113201176</c:v>
                </c:pt>
                <c:pt idx="477">
                  <c:v>6.8555707694336165</c:v>
                </c:pt>
                <c:pt idx="478">
                  <c:v>6.9646892645490048</c:v>
                </c:pt>
                <c:pt idx="479">
                  <c:v>6.9758203077141578</c:v>
                </c:pt>
                <c:pt idx="480">
                  <c:v>6.9847123703522493</c:v>
                </c:pt>
                <c:pt idx="481">
                  <c:v>6.7145407490955318</c:v>
                </c:pt>
                <c:pt idx="482">
                  <c:v>6.5090564671044318</c:v>
                </c:pt>
                <c:pt idx="483">
                  <c:v>6.3482280992415516</c:v>
                </c:pt>
                <c:pt idx="484">
                  <c:v>6.3774026349146329</c:v>
                </c:pt>
                <c:pt idx="485">
                  <c:v>6.33372654556723</c:v>
                </c:pt>
                <c:pt idx="486">
                  <c:v>6.1652530221870219</c:v>
                </c:pt>
                <c:pt idx="487">
                  <c:v>6.1652530221870219</c:v>
                </c:pt>
                <c:pt idx="488">
                  <c:v>6.1247566219533107</c:v>
                </c:pt>
                <c:pt idx="489">
                  <c:v>6.2039105205609184</c:v>
                </c:pt>
                <c:pt idx="490">
                  <c:v>6.2252729248207066</c:v>
                </c:pt>
                <c:pt idx="491">
                  <c:v>6.1584443475287793</c:v>
                </c:pt>
                <c:pt idx="492">
                  <c:v>5.9229730030958514</c:v>
                </c:pt>
                <c:pt idx="493">
                  <c:v>5.5506031566217073</c:v>
                </c:pt>
                <c:pt idx="494">
                  <c:v>5.5506031566217073</c:v>
                </c:pt>
                <c:pt idx="495">
                  <c:v>5.4563050105191246</c:v>
                </c:pt>
                <c:pt idx="496">
                  <c:v>5.4058291228771864</c:v>
                </c:pt>
                <c:pt idx="497">
                  <c:v>5.6210810102806663</c:v>
                </c:pt>
                <c:pt idx="498">
                  <c:v>5.4802676333673102</c:v>
                </c:pt>
                <c:pt idx="499">
                  <c:v>5.1845260482350346</c:v>
                </c:pt>
                <c:pt idx="500">
                  <c:v>5.2698448143959711</c:v>
                </c:pt>
                <c:pt idx="501">
                  <c:v>5.4373125545706822</c:v>
                </c:pt>
                <c:pt idx="502">
                  <c:v>5.2488641354719476</c:v>
                </c:pt>
                <c:pt idx="503">
                  <c:v>5.2039993462146308</c:v>
                </c:pt>
                <c:pt idx="504">
                  <c:v>5.061574876447553</c:v>
                </c:pt>
                <c:pt idx="505">
                  <c:v>5.2374645089736518</c:v>
                </c:pt>
                <c:pt idx="506">
                  <c:v>5.4578847319384129</c:v>
                </c:pt>
                <c:pt idx="507">
                  <c:v>5.6853309935083942</c:v>
                </c:pt>
                <c:pt idx="508">
                  <c:v>5.6853309935083933</c:v>
                </c:pt>
                <c:pt idx="509">
                  <c:v>5.5792101776950966</c:v>
                </c:pt>
                <c:pt idx="510">
                  <c:v>5.6262929548498546</c:v>
                </c:pt>
                <c:pt idx="511">
                  <c:v>5.689373033757005</c:v>
                </c:pt>
                <c:pt idx="512">
                  <c:v>5.9360577498197742</c:v>
                </c:pt>
                <c:pt idx="513">
                  <c:v>5.9174396451525366</c:v>
                </c:pt>
                <c:pt idx="514">
                  <c:v>5.8172355878937445</c:v>
                </c:pt>
                <c:pt idx="515">
                  <c:v>5.7315420885346091</c:v>
                </c:pt>
                <c:pt idx="516">
                  <c:v>5.6735927922625704</c:v>
                </c:pt>
                <c:pt idx="517">
                  <c:v>5.6726810543893249</c:v>
                </c:pt>
                <c:pt idx="518">
                  <c:v>5.7264259379641418</c:v>
                </c:pt>
                <c:pt idx="519">
                  <c:v>5.821186038648114</c:v>
                </c:pt>
                <c:pt idx="520">
                  <c:v>5.8495505279730979</c:v>
                </c:pt>
                <c:pt idx="521">
                  <c:v>5.7090369983278144</c:v>
                </c:pt>
                <c:pt idx="522">
                  <c:v>5.8741592697539948</c:v>
                </c:pt>
                <c:pt idx="523">
                  <c:v>6.1259763472361328</c:v>
                </c:pt>
                <c:pt idx="524">
                  <c:v>6.1021948190135147</c:v>
                </c:pt>
                <c:pt idx="525">
                  <c:v>6.3589921850239284</c:v>
                </c:pt>
                <c:pt idx="526">
                  <c:v>6.4579986935920619</c:v>
                </c:pt>
                <c:pt idx="527">
                  <c:v>6.2998814073858913</c:v>
                </c:pt>
                <c:pt idx="528">
                  <c:v>6.3918050982326662</c:v>
                </c:pt>
                <c:pt idx="529">
                  <c:v>6.4430306283736467</c:v>
                </c:pt>
                <c:pt idx="530">
                  <c:v>6.2958661861957292</c:v>
                </c:pt>
                <c:pt idx="531">
                  <c:v>6.2238879817358059</c:v>
                </c:pt>
                <c:pt idx="532">
                  <c:v>6.2694295694613871</c:v>
                </c:pt>
                <c:pt idx="533">
                  <c:v>6.4094936769921453</c:v>
                </c:pt>
                <c:pt idx="534">
                  <c:v>6.459066513814907</c:v>
                </c:pt>
                <c:pt idx="535">
                  <c:v>6.339168515764853</c:v>
                </c:pt>
                <c:pt idx="536">
                  <c:v>6.17828976075225</c:v>
                </c:pt>
                <c:pt idx="537">
                  <c:v>6.17828976075225</c:v>
                </c:pt>
                <c:pt idx="538">
                  <c:v>6.1782897607522491</c:v>
                </c:pt>
                <c:pt idx="539">
                  <c:v>6.1528425353138863</c:v>
                </c:pt>
                <c:pt idx="540">
                  <c:v>6.3701891922318588</c:v>
                </c:pt>
                <c:pt idx="541">
                  <c:v>6.4452602205298781</c:v>
                </c:pt>
                <c:pt idx="542">
                  <c:v>6.2430651181102954</c:v>
                </c:pt>
                <c:pt idx="543">
                  <c:v>6.2944054707243842</c:v>
                </c:pt>
                <c:pt idx="544">
                  <c:v>6.2053925380852544</c:v>
                </c:pt>
                <c:pt idx="545">
                  <c:v>6.3136414980197628</c:v>
                </c:pt>
                <c:pt idx="546">
                  <c:v>6.3350874763757856</c:v>
                </c:pt>
                <c:pt idx="547">
                  <c:v>6.4312455667801922</c:v>
                </c:pt>
                <c:pt idx="548">
                  <c:v>6.5478784841869331</c:v>
                </c:pt>
                <c:pt idx="549">
                  <c:v>6.4455277197609586</c:v>
                </c:pt>
                <c:pt idx="550">
                  <c:v>6.5544579898134883</c:v>
                </c:pt>
                <c:pt idx="551">
                  <c:v>6.6682469391421995</c:v>
                </c:pt>
                <c:pt idx="552">
                  <c:v>6.6536654836124791</c:v>
                </c:pt>
                <c:pt idx="553">
                  <c:v>6.381456613168119</c:v>
                </c:pt>
                <c:pt idx="554">
                  <c:v>6.4985409503025089</c:v>
                </c:pt>
                <c:pt idx="555">
                  <c:v>6.3169176245904985</c:v>
                </c:pt>
                <c:pt idx="556">
                  <c:v>6.2651196427467388</c:v>
                </c:pt>
                <c:pt idx="557">
                  <c:v>6.3771322780662176</c:v>
                </c:pt>
                <c:pt idx="558">
                  <c:v>6.2090034738217881</c:v>
                </c:pt>
                <c:pt idx="559">
                  <c:v>6.0838017454681186</c:v>
                </c:pt>
                <c:pt idx="560">
                  <c:v>6.2609903369994111</c:v>
                </c:pt>
                <c:pt idx="561">
                  <c:v>6.2515285487152896</c:v>
                </c:pt>
                <c:pt idx="562">
                  <c:v>6.3557377462298259</c:v>
                </c:pt>
                <c:pt idx="563">
                  <c:v>6.2518043372505172</c:v>
                </c:pt>
                <c:pt idx="564">
                  <c:v>6.4811840836715007</c:v>
                </c:pt>
                <c:pt idx="565">
                  <c:v>6.4633360305401242</c:v>
                </c:pt>
                <c:pt idx="566">
                  <c:v>6.5597168427814969</c:v>
                </c:pt>
                <c:pt idx="567">
                  <c:v>6.3676625567614362</c:v>
                </c:pt>
                <c:pt idx="568">
                  <c:v>6.0781311404838538</c:v>
                </c:pt>
                <c:pt idx="569">
                  <c:v>6.3155527783838314</c:v>
                </c:pt>
                <c:pt idx="570">
                  <c:v>6.344877561022578</c:v>
                </c:pt>
                <c:pt idx="571">
                  <c:v>6.2867311462911415</c:v>
                </c:pt>
                <c:pt idx="572">
                  <c:v>6.4291005073286369</c:v>
                </c:pt>
                <c:pt idx="573">
                  <c:v>6.5691721691934486</c:v>
                </c:pt>
                <c:pt idx="574">
                  <c:v>6.8299543089298167</c:v>
                </c:pt>
                <c:pt idx="575">
                  <c:v>6.6674712158203651</c:v>
                </c:pt>
                <c:pt idx="576">
                  <c:v>6.6668678130574639</c:v>
                </c:pt>
                <c:pt idx="577">
                  <c:v>6.5954529791364598</c:v>
                </c:pt>
                <c:pt idx="578">
                  <c:v>6.4430306283736467</c:v>
                </c:pt>
                <c:pt idx="579">
                  <c:v>6.4305306264670747</c:v>
                </c:pt>
                <c:pt idx="580">
                  <c:v>6.5111751856980931</c:v>
                </c:pt>
                <c:pt idx="581">
                  <c:v>6.381456613168119</c:v>
                </c:pt>
                <c:pt idx="582">
                  <c:v>6.3187369609447419</c:v>
                </c:pt>
                <c:pt idx="583">
                  <c:v>6.3706402716888961</c:v>
                </c:pt>
                <c:pt idx="584">
                  <c:v>6.1397517640486035</c:v>
                </c:pt>
                <c:pt idx="585">
                  <c:v>6.1447108365136129</c:v>
                </c:pt>
                <c:pt idx="586">
                  <c:v>6.3064462550485665</c:v>
                </c:pt>
                <c:pt idx="587">
                  <c:v>6.2252729248207066</c:v>
                </c:pt>
                <c:pt idx="588">
                  <c:v>6.4732872851328072</c:v>
                </c:pt>
                <c:pt idx="589">
                  <c:v>6.6277022248747111</c:v>
                </c:pt>
                <c:pt idx="590">
                  <c:v>6.3928839749553861</c:v>
                </c:pt>
                <c:pt idx="591">
                  <c:v>6.3784839477155053</c:v>
                </c:pt>
                <c:pt idx="592">
                  <c:v>6.3059905836735366</c:v>
                </c:pt>
                <c:pt idx="593">
                  <c:v>6.4495388768607276</c:v>
                </c:pt>
                <c:pt idx="594">
                  <c:v>6.2716292407422598</c:v>
                </c:pt>
                <c:pt idx="595">
                  <c:v>6.473997503719084</c:v>
                </c:pt>
                <c:pt idx="596">
                  <c:v>6.4416925026619039</c:v>
                </c:pt>
                <c:pt idx="597">
                  <c:v>6.3119117456644993</c:v>
                </c:pt>
                <c:pt idx="598">
                  <c:v>6.3634191633331723</c:v>
                </c:pt>
                <c:pt idx="599">
                  <c:v>6.1368493170543044</c:v>
                </c:pt>
                <c:pt idx="600">
                  <c:v>5.8858880520206585</c:v>
                </c:pt>
                <c:pt idx="601">
                  <c:v>6.1086898721430449</c:v>
                </c:pt>
                <c:pt idx="602">
                  <c:v>6.2779490025135525</c:v>
                </c:pt>
                <c:pt idx="603">
                  <c:v>6.3100904414525125</c:v>
                </c:pt>
                <c:pt idx="604">
                  <c:v>6.5125872818295711</c:v>
                </c:pt>
                <c:pt idx="605">
                  <c:v>6.6974004220886414</c:v>
                </c:pt>
                <c:pt idx="606">
                  <c:v>6.7504789102138067</c:v>
                </c:pt>
                <c:pt idx="607">
                  <c:v>6.9616354268298162</c:v>
                </c:pt>
                <c:pt idx="608">
                  <c:v>7.2175552265483809</c:v>
                </c:pt>
                <c:pt idx="609">
                  <c:v>7.2906805572940696</c:v>
                </c:pt>
                <c:pt idx="610">
                  <c:v>7.2193864164404626</c:v>
                </c:pt>
                <c:pt idx="611">
                  <c:v>7.3140551200309245</c:v>
                </c:pt>
                <c:pt idx="612">
                  <c:v>7.5825722745550257</c:v>
                </c:pt>
                <c:pt idx="613">
                  <c:v>7.5918891989540649</c:v>
                </c:pt>
                <c:pt idx="614">
                  <c:v>7.5843911097560852</c:v>
                </c:pt>
                <c:pt idx="615">
                  <c:v>7.7978039938457542</c:v>
                </c:pt>
                <c:pt idx="616">
                  <c:v>7.4516834478456317</c:v>
                </c:pt>
                <c:pt idx="617">
                  <c:v>7.4432720527046925</c:v>
                </c:pt>
                <c:pt idx="618">
                  <c:v>6.9831488467661877</c:v>
                </c:pt>
                <c:pt idx="619">
                  <c:v>6.4790555576827895</c:v>
                </c:pt>
                <c:pt idx="620">
                  <c:v>6.5111751856980913</c:v>
                </c:pt>
                <c:pt idx="621">
                  <c:v>6.5214940816864395</c:v>
                </c:pt>
                <c:pt idx="622">
                  <c:v>6.4679581599312055</c:v>
                </c:pt>
                <c:pt idx="623">
                  <c:v>6.4470433390890083</c:v>
                </c:pt>
                <c:pt idx="624">
                  <c:v>6.2862740458327409</c:v>
                </c:pt>
                <c:pt idx="625">
                  <c:v>5.518620517284468</c:v>
                </c:pt>
                <c:pt idx="626">
                  <c:v>5.138987779932819</c:v>
                </c:pt>
                <c:pt idx="627">
                  <c:v>4.8661391620901675</c:v>
                </c:pt>
                <c:pt idx="628">
                  <c:v>4.1831627478156568</c:v>
                </c:pt>
                <c:pt idx="629">
                  <c:v>3.2385962618280213</c:v>
                </c:pt>
                <c:pt idx="630">
                  <c:v>3.0904004129956486</c:v>
                </c:pt>
                <c:pt idx="631">
                  <c:v>3.110974271758002</c:v>
                </c:pt>
                <c:pt idx="632">
                  <c:v>3.1148513368337043</c:v>
                </c:pt>
                <c:pt idx="633">
                  <c:v>3.1148513368337043</c:v>
                </c:pt>
                <c:pt idx="634">
                  <c:v>3.1413080224572085</c:v>
                </c:pt>
                <c:pt idx="635">
                  <c:v>3.2263284709246283</c:v>
                </c:pt>
                <c:pt idx="636">
                  <c:v>3.2091822283430163</c:v>
                </c:pt>
                <c:pt idx="637">
                  <c:v>3.2772289949067437</c:v>
                </c:pt>
                <c:pt idx="638">
                  <c:v>3.2940210552823852</c:v>
                </c:pt>
                <c:pt idx="639">
                  <c:v>3.2940210552823852</c:v>
                </c:pt>
                <c:pt idx="640">
                  <c:v>3.328905104595548</c:v>
                </c:pt>
                <c:pt idx="641">
                  <c:v>3.321127076381039</c:v>
                </c:pt>
                <c:pt idx="642">
                  <c:v>3.1622776601683795</c:v>
                </c:pt>
                <c:pt idx="643">
                  <c:v>3.0777286743804182</c:v>
                </c:pt>
                <c:pt idx="644">
                  <c:v>3.2518783254725512</c:v>
                </c:pt>
                <c:pt idx="645">
                  <c:v>3.184914152833564</c:v>
                </c:pt>
                <c:pt idx="646">
                  <c:v>3.2027287216321976</c:v>
                </c:pt>
                <c:pt idx="647">
                  <c:v>3.0904004129956486</c:v>
                </c:pt>
                <c:pt idx="648">
                  <c:v>3.0437424030446398</c:v>
                </c:pt>
                <c:pt idx="649">
                  <c:v>3.0437424030446394</c:v>
                </c:pt>
                <c:pt idx="650">
                  <c:v>4.6939677601506098</c:v>
                </c:pt>
                <c:pt idx="651">
                  <c:v>5.1710956174738696</c:v>
                </c:pt>
                <c:pt idx="652">
                  <c:v>5.2888953282423206</c:v>
                </c:pt>
                <c:pt idx="653">
                  <c:v>6.0747262366772308</c:v>
                </c:pt>
                <c:pt idx="654">
                  <c:v>6.8736545182880411</c:v>
                </c:pt>
                <c:pt idx="655">
                  <c:v>6.8802566110925509</c:v>
                </c:pt>
                <c:pt idx="656">
                  <c:v>7.2906805572940669</c:v>
                </c:pt>
                <c:pt idx="657">
                  <c:v>7.1990580482177799</c:v>
                </c:pt>
                <c:pt idx="658">
                  <c:v>7.2146084240687438</c:v>
                </c:pt>
                <c:pt idx="659">
                  <c:v>7.1631239572958814</c:v>
                </c:pt>
                <c:pt idx="660">
                  <c:v>7.4768608570617436</c:v>
                </c:pt>
                <c:pt idx="661">
                  <c:v>7.7412167507187908</c:v>
                </c:pt>
                <c:pt idx="662">
                  <c:v>7.6255016793696244</c:v>
                </c:pt>
                <c:pt idx="663">
                  <c:v>7.6281390749727711</c:v>
                </c:pt>
                <c:pt idx="664">
                  <c:v>7.6480784154110131</c:v>
                </c:pt>
                <c:pt idx="665">
                  <c:v>7.740325812145179</c:v>
                </c:pt>
                <c:pt idx="666">
                  <c:v>7.5280319053399403</c:v>
                </c:pt>
                <c:pt idx="667">
                  <c:v>7.3115402405823602</c:v>
                </c:pt>
                <c:pt idx="668">
                  <c:v>7.2800309459996573</c:v>
                </c:pt>
                <c:pt idx="669">
                  <c:v>7.3362585597273222</c:v>
                </c:pt>
                <c:pt idx="670">
                  <c:v>7.1791524489355618</c:v>
                </c:pt>
                <c:pt idx="671">
                  <c:v>7.1132869037254949</c:v>
                </c:pt>
                <c:pt idx="672">
                  <c:v>7.142555001819936</c:v>
                </c:pt>
                <c:pt idx="673">
                  <c:v>7.0776481579883503</c:v>
                </c:pt>
                <c:pt idx="674">
                  <c:v>6.5794001054143543</c:v>
                </c:pt>
                <c:pt idx="675">
                  <c:v>6.500574687238645</c:v>
                </c:pt>
                <c:pt idx="676">
                  <c:v>6.0988975826896734</c:v>
                </c:pt>
                <c:pt idx="677">
                  <c:v>6.0988975826896743</c:v>
                </c:pt>
                <c:pt idx="678">
                  <c:v>6.0405716407577223</c:v>
                </c:pt>
                <c:pt idx="679">
                  <c:v>5.9244282909587698</c:v>
                </c:pt>
                <c:pt idx="680">
                  <c:v>5.6573622056959358</c:v>
                </c:pt>
                <c:pt idx="681">
                  <c:v>5.6795661158549615</c:v>
                </c:pt>
                <c:pt idx="682">
                  <c:v>5.7711131618117477</c:v>
                </c:pt>
                <c:pt idx="683">
                  <c:v>5.5753975168829326</c:v>
                </c:pt>
                <c:pt idx="684">
                  <c:v>5.2282389729832257</c:v>
                </c:pt>
                <c:pt idx="685">
                  <c:v>5.3622777798716976</c:v>
                </c:pt>
                <c:pt idx="686">
                  <c:v>5.2291182967035219</c:v>
                </c:pt>
                <c:pt idx="687">
                  <c:v>5.4604113356067767</c:v>
                </c:pt>
                <c:pt idx="688">
                  <c:v>5.4466060295728482</c:v>
                </c:pt>
                <c:pt idx="689">
                  <c:v>5.4920004520681935</c:v>
                </c:pt>
                <c:pt idx="690">
                  <c:v>5.2611130328883435</c:v>
                </c:pt>
                <c:pt idx="691">
                  <c:v>5.0400693299373085</c:v>
                </c:pt>
                <c:pt idx="692">
                  <c:v>5.0315099079722572</c:v>
                </c:pt>
                <c:pt idx="693">
                  <c:v>5.0428052765768436</c:v>
                </c:pt>
                <c:pt idx="694">
                  <c:v>5.3092848621190445</c:v>
                </c:pt>
                <c:pt idx="695">
                  <c:v>5.0219060355491587</c:v>
                </c:pt>
                <c:pt idx="696">
                  <c:v>5.1012732239850793</c:v>
                </c:pt>
                <c:pt idx="697">
                  <c:v>5.3755512949034294</c:v>
                </c:pt>
                <c:pt idx="698">
                  <c:v>5.3957198874152343</c:v>
                </c:pt>
                <c:pt idx="699">
                  <c:v>5.3400460629120969</c:v>
                </c:pt>
                <c:pt idx="700">
                  <c:v>5.399127217675435</c:v>
                </c:pt>
                <c:pt idx="701">
                  <c:v>5.4540926318482716</c:v>
                </c:pt>
                <c:pt idx="702">
                  <c:v>5.6807802604762045</c:v>
                </c:pt>
                <c:pt idx="703">
                  <c:v>5.6470926300543178</c:v>
                </c:pt>
                <c:pt idx="704">
                  <c:v>5.7063183372045803</c:v>
                </c:pt>
                <c:pt idx="705">
                  <c:v>5.7863295097498808</c:v>
                </c:pt>
                <c:pt idx="706">
                  <c:v>5.6771370476210334</c:v>
                </c:pt>
                <c:pt idx="707">
                  <c:v>5.6210810102806672</c:v>
                </c:pt>
                <c:pt idx="708">
                  <c:v>5.6210810102806672</c:v>
                </c:pt>
                <c:pt idx="709">
                  <c:v>5.622205563860045</c:v>
                </c:pt>
                <c:pt idx="710">
                  <c:v>5.7770851338437224</c:v>
                </c:pt>
                <c:pt idx="711">
                  <c:v>5.9315055947617257</c:v>
                </c:pt>
                <c:pt idx="712">
                  <c:v>5.8072487402413273</c:v>
                </c:pt>
                <c:pt idx="713">
                  <c:v>5.8765068989437363</c:v>
                </c:pt>
                <c:pt idx="714">
                  <c:v>5.8392252674595397</c:v>
                </c:pt>
                <c:pt idx="715">
                  <c:v>5.7899040152447379</c:v>
                </c:pt>
                <c:pt idx="716">
                  <c:v>5.8467989080576706</c:v>
                </c:pt>
                <c:pt idx="717">
                  <c:v>5.6816906986743216</c:v>
                </c:pt>
                <c:pt idx="718">
                  <c:v>5.7484630629592548</c:v>
                </c:pt>
                <c:pt idx="719">
                  <c:v>5.6564478516866536</c:v>
                </c:pt>
                <c:pt idx="720">
                  <c:v>5.7591506398039307</c:v>
                </c:pt>
                <c:pt idx="721">
                  <c:v>5.7977403446039455</c:v>
                </c:pt>
                <c:pt idx="722">
                  <c:v>6.0340032650222222</c:v>
                </c:pt>
                <c:pt idx="723">
                  <c:v>6.0340032650222222</c:v>
                </c:pt>
                <c:pt idx="724">
                  <c:v>5.9325713058378469</c:v>
                </c:pt>
                <c:pt idx="725">
                  <c:v>5.9113178023956339</c:v>
                </c:pt>
                <c:pt idx="726">
                  <c:v>6.0704674212653238</c:v>
                </c:pt>
                <c:pt idx="727">
                  <c:v>5.6589873591513253</c:v>
                </c:pt>
                <c:pt idx="728">
                  <c:v>5.6476014642368817</c:v>
                </c:pt>
                <c:pt idx="729">
                  <c:v>5.4907445635422674</c:v>
                </c:pt>
                <c:pt idx="730">
                  <c:v>5.4907445635422674</c:v>
                </c:pt>
                <c:pt idx="731">
                  <c:v>5.4893836933970404</c:v>
                </c:pt>
                <c:pt idx="732">
                  <c:v>5.3197744313081552</c:v>
                </c:pt>
                <c:pt idx="733">
                  <c:v>5.3413373847259704</c:v>
                </c:pt>
                <c:pt idx="734">
                  <c:v>5.376513419654426</c:v>
                </c:pt>
                <c:pt idx="735">
                  <c:v>5.3494010836749739</c:v>
                </c:pt>
                <c:pt idx="736">
                  <c:v>5.3722359907425776</c:v>
                </c:pt>
                <c:pt idx="737">
                  <c:v>5.3722359907425776</c:v>
                </c:pt>
                <c:pt idx="738">
                  <c:v>5.3722359907425767</c:v>
                </c:pt>
                <c:pt idx="739">
                  <c:v>5.7098422789578613</c:v>
                </c:pt>
                <c:pt idx="740">
                  <c:v>5.6059287171359218</c:v>
                </c:pt>
                <c:pt idx="741">
                  <c:v>5.5032905517110144</c:v>
                </c:pt>
                <c:pt idx="742">
                  <c:v>5.5435579263464563</c:v>
                </c:pt>
                <c:pt idx="743">
                  <c:v>5.5019327847417481</c:v>
                </c:pt>
                <c:pt idx="744">
                  <c:v>5.7863295097498808</c:v>
                </c:pt>
                <c:pt idx="745">
                  <c:v>5.6366004264819143</c:v>
                </c:pt>
                <c:pt idx="746">
                  <c:v>5.6120764694407521</c:v>
                </c:pt>
                <c:pt idx="747">
                  <c:v>5.7977403446039455</c:v>
                </c:pt>
                <c:pt idx="748">
                  <c:v>5.7655337402832725</c:v>
                </c:pt>
                <c:pt idx="749">
                  <c:v>5.6877565623577526</c:v>
                </c:pt>
                <c:pt idx="750">
                  <c:v>5.7424613249864835</c:v>
                </c:pt>
                <c:pt idx="751">
                  <c:v>5.9383809086393189</c:v>
                </c:pt>
                <c:pt idx="752">
                  <c:v>6.0951271285054984</c:v>
                </c:pt>
                <c:pt idx="753">
                  <c:v>6.1109474028925774</c:v>
                </c:pt>
                <c:pt idx="754">
                  <c:v>6.1101009266077861</c:v>
                </c:pt>
                <c:pt idx="755">
                  <c:v>6.2150170379178533</c:v>
                </c:pt>
                <c:pt idx="756">
                  <c:v>6.0738747124869557</c:v>
                </c:pt>
                <c:pt idx="757">
                  <c:v>6.1894422529254491</c:v>
                </c:pt>
                <c:pt idx="758">
                  <c:v>6.1849836692190028</c:v>
                </c:pt>
                <c:pt idx="759">
                  <c:v>6.3608898387120245</c:v>
                </c:pt>
                <c:pt idx="760">
                  <c:v>6.2706211538548891</c:v>
                </c:pt>
                <c:pt idx="761">
                  <c:v>6.3557377462298241</c:v>
                </c:pt>
                <c:pt idx="762">
                  <c:v>6.3209194733445031</c:v>
                </c:pt>
                <c:pt idx="763">
                  <c:v>6.2957749014077216</c:v>
                </c:pt>
                <c:pt idx="764">
                  <c:v>6.2702545366215396</c:v>
                </c:pt>
                <c:pt idx="765">
                  <c:v>6.2518962640587477</c:v>
                </c:pt>
                <c:pt idx="766">
                  <c:v>6.2444458079381135</c:v>
                </c:pt>
                <c:pt idx="767">
                  <c:v>6.0423790701665032</c:v>
                </c:pt>
                <c:pt idx="768">
                  <c:v>6.045421940343088</c:v>
                </c:pt>
                <c:pt idx="769">
                  <c:v>5.8879381868319598</c:v>
                </c:pt>
                <c:pt idx="770">
                  <c:v>5.835385517507051</c:v>
                </c:pt>
                <c:pt idx="771">
                  <c:v>5.8882310049637239</c:v>
                </c:pt>
                <c:pt idx="772">
                  <c:v>5.8785603054121873</c:v>
                </c:pt>
                <c:pt idx="773">
                  <c:v>6.0099534299264796</c:v>
                </c:pt>
                <c:pt idx="774">
                  <c:v>5.8364687796725114</c:v>
                </c:pt>
                <c:pt idx="775">
                  <c:v>5.8588767508464619</c:v>
                </c:pt>
                <c:pt idx="776">
                  <c:v>5.833316912948975</c:v>
                </c:pt>
                <c:pt idx="777">
                  <c:v>5.7231130504739944</c:v>
                </c:pt>
                <c:pt idx="778">
                  <c:v>5.7504622502851044</c:v>
                </c:pt>
                <c:pt idx="779">
                  <c:v>5.8510240777679847</c:v>
                </c:pt>
                <c:pt idx="780">
                  <c:v>5.7336474118730187</c:v>
                </c:pt>
                <c:pt idx="781">
                  <c:v>5.5178914846870279</c:v>
                </c:pt>
                <c:pt idx="782">
                  <c:v>5.4578847319384112</c:v>
                </c:pt>
                <c:pt idx="783">
                  <c:v>5.4415388290065723</c:v>
                </c:pt>
                <c:pt idx="784">
                  <c:v>5.6877565623577526</c:v>
                </c:pt>
                <c:pt idx="785">
                  <c:v>5.5428321736948822</c:v>
                </c:pt>
                <c:pt idx="786">
                  <c:v>5.6613226999212545</c:v>
                </c:pt>
                <c:pt idx="787">
                  <c:v>5.5331809977645756</c:v>
                </c:pt>
                <c:pt idx="788">
                  <c:v>5.8698528443047966</c:v>
                </c:pt>
                <c:pt idx="789">
                  <c:v>5.6537039024069839</c:v>
                </c:pt>
                <c:pt idx="790">
                  <c:v>5.4515630996884781</c:v>
                </c:pt>
                <c:pt idx="791">
                  <c:v>5.2959537797059388</c:v>
                </c:pt>
                <c:pt idx="792">
                  <c:v>5.3519789013896109</c:v>
                </c:pt>
                <c:pt idx="793">
                  <c:v>5.6719718236091481</c:v>
                </c:pt>
                <c:pt idx="794">
                  <c:v>5.8352870291566363</c:v>
                </c:pt>
                <c:pt idx="795">
                  <c:v>5.8009115415289401</c:v>
                </c:pt>
                <c:pt idx="796">
                  <c:v>5.7556568875234868</c:v>
                </c:pt>
                <c:pt idx="797">
                  <c:v>5.8750397406335031</c:v>
                </c:pt>
                <c:pt idx="798">
                  <c:v>5.8750397406335031</c:v>
                </c:pt>
                <c:pt idx="799">
                  <c:v>5.7854355382992635</c:v>
                </c:pt>
                <c:pt idx="800">
                  <c:v>5.7451628829585095</c:v>
                </c:pt>
                <c:pt idx="801">
                  <c:v>5.4541980035628495</c:v>
                </c:pt>
                <c:pt idx="802">
                  <c:v>5.5003657140689981</c:v>
                </c:pt>
                <c:pt idx="803">
                  <c:v>5.3863386152525656</c:v>
                </c:pt>
                <c:pt idx="804">
                  <c:v>5.4752315859276894</c:v>
                </c:pt>
                <c:pt idx="805">
                  <c:v>5.7143698680174477</c:v>
                </c:pt>
                <c:pt idx="806">
                  <c:v>5.7519611847842276</c:v>
                </c:pt>
                <c:pt idx="807">
                  <c:v>5.8765068989437363</c:v>
                </c:pt>
                <c:pt idx="808">
                  <c:v>5.8392252674595397</c:v>
                </c:pt>
                <c:pt idx="809">
                  <c:v>5.8108103773380275</c:v>
                </c:pt>
                <c:pt idx="810">
                  <c:v>5.7854355382992644</c:v>
                </c:pt>
                <c:pt idx="811">
                  <c:v>5.7779803972724215</c:v>
                </c:pt>
                <c:pt idx="812">
                  <c:v>5.5316227795026531</c:v>
                </c:pt>
                <c:pt idx="813">
                  <c:v>5.8436526130553785</c:v>
                </c:pt>
                <c:pt idx="814">
                  <c:v>5.6552284830413608</c:v>
                </c:pt>
                <c:pt idx="815">
                  <c:v>5.7022883085672706</c:v>
                </c:pt>
                <c:pt idx="816">
                  <c:v>5.5750882679471818</c:v>
                </c:pt>
                <c:pt idx="817">
                  <c:v>5.6186266575775772</c:v>
                </c:pt>
                <c:pt idx="818">
                  <c:v>5.3786508584840549</c:v>
                </c:pt>
                <c:pt idx="819">
                  <c:v>5.4144336688173578</c:v>
                </c:pt>
                <c:pt idx="820">
                  <c:v>5.4198443375873957</c:v>
                </c:pt>
                <c:pt idx="821">
                  <c:v>5.6431221487937773</c:v>
                </c:pt>
                <c:pt idx="822">
                  <c:v>5.6610181448906882</c:v>
                </c:pt>
                <c:pt idx="823">
                  <c:v>5.4668278641778842</c:v>
                </c:pt>
                <c:pt idx="824">
                  <c:v>5.4185717251163039</c:v>
                </c:pt>
                <c:pt idx="825">
                  <c:v>5.691695907095756</c:v>
                </c:pt>
                <c:pt idx="826">
                  <c:v>5.727128425310541</c:v>
                </c:pt>
                <c:pt idx="827">
                  <c:v>5.827008064908247</c:v>
                </c:pt>
                <c:pt idx="828">
                  <c:v>5.8515151785719119</c:v>
                </c:pt>
                <c:pt idx="829">
                  <c:v>5.852202650461531</c:v>
                </c:pt>
                <c:pt idx="830">
                  <c:v>5.8470937864144483</c:v>
                </c:pt>
                <c:pt idx="831">
                  <c:v>5.9693662421846216</c:v>
                </c:pt>
                <c:pt idx="832">
                  <c:v>6.01683462051058</c:v>
                </c:pt>
                <c:pt idx="833">
                  <c:v>6.2019648351221699</c:v>
                </c:pt>
                <c:pt idx="834">
                  <c:v>6.1104771527666113</c:v>
                </c:pt>
                <c:pt idx="835">
                  <c:v>6.0282858164703406</c:v>
                </c:pt>
                <c:pt idx="836">
                  <c:v>5.988494716163423</c:v>
                </c:pt>
                <c:pt idx="837">
                  <c:v>5.8056650890691914</c:v>
                </c:pt>
                <c:pt idx="838">
                  <c:v>5.7863295097498808</c:v>
                </c:pt>
                <c:pt idx="839">
                  <c:v>5.73154208853461</c:v>
                </c:pt>
                <c:pt idx="840">
                  <c:v>5.7830509388141778</c:v>
                </c:pt>
                <c:pt idx="841">
                  <c:v>5.7675270104345371</c:v>
                </c:pt>
                <c:pt idx="842">
                  <c:v>5.824640485180967</c:v>
                </c:pt>
                <c:pt idx="843">
                  <c:v>5.5066313210298672</c:v>
                </c:pt>
                <c:pt idx="844">
                  <c:v>5.5216397697718786</c:v>
                </c:pt>
                <c:pt idx="845">
                  <c:v>5.5216397697718786</c:v>
                </c:pt>
                <c:pt idx="846">
                  <c:v>5.4436507357960933</c:v>
                </c:pt>
                <c:pt idx="847">
                  <c:v>5.4768058481975199</c:v>
                </c:pt>
                <c:pt idx="848">
                  <c:v>5.5800341942675766</c:v>
                </c:pt>
                <c:pt idx="849">
                  <c:v>5.6013134748626747</c:v>
                </c:pt>
                <c:pt idx="850">
                  <c:v>5.8565220544887087</c:v>
                </c:pt>
                <c:pt idx="851">
                  <c:v>5.7531600511990497</c:v>
                </c:pt>
                <c:pt idx="852">
                  <c:v>5.7255226132993569</c:v>
                </c:pt>
                <c:pt idx="853">
                  <c:v>5.5853873387740922</c:v>
                </c:pt>
                <c:pt idx="854">
                  <c:v>5.4705060809407025</c:v>
                </c:pt>
                <c:pt idx="855">
                  <c:v>5.1305933872942155</c:v>
                </c:pt>
                <c:pt idx="856">
                  <c:v>5.2422904531704742</c:v>
                </c:pt>
                <c:pt idx="857">
                  <c:v>5.0418934593238305</c:v>
                </c:pt>
                <c:pt idx="858">
                  <c:v>5.0205325540660315</c:v>
                </c:pt>
                <c:pt idx="859">
                  <c:v>5.0578265287969586</c:v>
                </c:pt>
                <c:pt idx="860">
                  <c:v>5.3170729135320398</c:v>
                </c:pt>
                <c:pt idx="861">
                  <c:v>5.276384167690737</c:v>
                </c:pt>
                <c:pt idx="862">
                  <c:v>5.2291182967035219</c:v>
                </c:pt>
                <c:pt idx="863">
                  <c:v>4.8882923704347494</c:v>
                </c:pt>
                <c:pt idx="864">
                  <c:v>4.8233150235177416</c:v>
                </c:pt>
                <c:pt idx="865">
                  <c:v>4.5692626231745788</c:v>
                </c:pt>
                <c:pt idx="866">
                  <c:v>4.6099592338686719</c:v>
                </c:pt>
                <c:pt idx="867">
                  <c:v>4.6043457732885358</c:v>
                </c:pt>
                <c:pt idx="868">
                  <c:v>4.8707430573819517</c:v>
                </c:pt>
                <c:pt idx="869">
                  <c:v>4.8670839059057167</c:v>
                </c:pt>
                <c:pt idx="870">
                  <c:v>4.8377110575004458</c:v>
                </c:pt>
                <c:pt idx="871">
                  <c:v>4.9891837030709247</c:v>
                </c:pt>
                <c:pt idx="872">
                  <c:v>5.3863386152525647</c:v>
                </c:pt>
                <c:pt idx="873">
                  <c:v>5.3922038230175904</c:v>
                </c:pt>
                <c:pt idx="874">
                  <c:v>5.3922038230175913</c:v>
                </c:pt>
                <c:pt idx="875">
                  <c:v>5.3712730998007983</c:v>
                </c:pt>
                <c:pt idx="876">
                  <c:v>5.4865561922370496</c:v>
                </c:pt>
                <c:pt idx="877">
                  <c:v>5.6182174945521615</c:v>
                </c:pt>
                <c:pt idx="878">
                  <c:v>5.6674103636392044</c:v>
                </c:pt>
                <c:pt idx="879">
                  <c:v>5.6431221487937773</c:v>
                </c:pt>
                <c:pt idx="880">
                  <c:v>5.3649565348369457</c:v>
                </c:pt>
                <c:pt idx="881">
                  <c:v>5.3222586165658266</c:v>
                </c:pt>
                <c:pt idx="882">
                  <c:v>5.3132884810405896</c:v>
                </c:pt>
                <c:pt idx="883">
                  <c:v>5.3400460629120969</c:v>
                </c:pt>
                <c:pt idx="884">
                  <c:v>5.4007236637282245</c:v>
                </c:pt>
                <c:pt idx="885">
                  <c:v>5.5874448748855743</c:v>
                </c:pt>
                <c:pt idx="886">
                  <c:v>5.7890105957893105</c:v>
                </c:pt>
                <c:pt idx="887">
                  <c:v>6.1179968173799564</c:v>
                </c:pt>
                <c:pt idx="888">
                  <c:v>6.0133950094958735</c:v>
                </c:pt>
                <c:pt idx="889">
                  <c:v>5.9746591303720358</c:v>
                </c:pt>
                <c:pt idx="890">
                  <c:v>5.9159826381348211</c:v>
                </c:pt>
                <c:pt idx="891">
                  <c:v>6.072739161164443</c:v>
                </c:pt>
                <c:pt idx="892">
                  <c:v>6.1213776527687038</c:v>
                </c:pt>
                <c:pt idx="893">
                  <c:v>6.2430651181102954</c:v>
                </c:pt>
                <c:pt idx="894">
                  <c:v>6.1722404136697353</c:v>
                </c:pt>
                <c:pt idx="895">
                  <c:v>6.3969281420985507</c:v>
                </c:pt>
                <c:pt idx="896">
                  <c:v>6.1863773218108911</c:v>
                </c:pt>
                <c:pt idx="897">
                  <c:v>6.3155527783838314</c:v>
                </c:pt>
                <c:pt idx="898">
                  <c:v>6.2859083415335375</c:v>
                </c:pt>
                <c:pt idx="899">
                  <c:v>6.2609903369994111</c:v>
                </c:pt>
                <c:pt idx="900">
                  <c:v>6.3282798955783868</c:v>
                </c:pt>
                <c:pt idx="901">
                  <c:v>6.3263724602450591</c:v>
                </c:pt>
                <c:pt idx="902">
                  <c:v>6.3263724602450591</c:v>
                </c:pt>
                <c:pt idx="903">
                  <c:v>6.5341718908252311</c:v>
                </c:pt>
                <c:pt idx="904">
                  <c:v>6.5639208916062026</c:v>
                </c:pt>
                <c:pt idx="905">
                  <c:v>6.7514153475698917</c:v>
                </c:pt>
                <c:pt idx="906">
                  <c:v>6.6909614792824339</c:v>
                </c:pt>
                <c:pt idx="907">
                  <c:v>6.7640020799768417</c:v>
                </c:pt>
                <c:pt idx="908">
                  <c:v>6.6405234525704326</c:v>
                </c:pt>
                <c:pt idx="909">
                  <c:v>6.6627287220018578</c:v>
                </c:pt>
                <c:pt idx="910">
                  <c:v>6.6957698088668893</c:v>
                </c:pt>
                <c:pt idx="911">
                  <c:v>6.6957698088668893</c:v>
                </c:pt>
                <c:pt idx="912">
                  <c:v>6.8195965094515776</c:v>
                </c:pt>
                <c:pt idx="913">
                  <c:v>6.8073658550909002</c:v>
                </c:pt>
                <c:pt idx="914">
                  <c:v>6.7399137072821036</c:v>
                </c:pt>
                <c:pt idx="915">
                  <c:v>6.5320606313746072</c:v>
                </c:pt>
                <c:pt idx="916">
                  <c:v>6.4775474285917172</c:v>
                </c:pt>
                <c:pt idx="917">
                  <c:v>6.2408553790381145</c:v>
                </c:pt>
                <c:pt idx="918">
                  <c:v>6.5197313251179416</c:v>
                </c:pt>
                <c:pt idx="919">
                  <c:v>6.5386560536937361</c:v>
                </c:pt>
                <c:pt idx="920">
                  <c:v>6.3304591179217136</c:v>
                </c:pt>
                <c:pt idx="921">
                  <c:v>6.0328602087940499</c:v>
                </c:pt>
                <c:pt idx="922">
                  <c:v>6.0022984103505346</c:v>
                </c:pt>
                <c:pt idx="923">
                  <c:v>5.8530864242427834</c:v>
                </c:pt>
                <c:pt idx="924">
                  <c:v>6.0819121312638025</c:v>
                </c:pt>
                <c:pt idx="925">
                  <c:v>5.8706360657165559</c:v>
                </c:pt>
                <c:pt idx="926">
                  <c:v>6.0077536108162652</c:v>
                </c:pt>
                <c:pt idx="927">
                  <c:v>6.0378118895667088</c:v>
                </c:pt>
                <c:pt idx="928">
                  <c:v>6.0511231977231272</c:v>
                </c:pt>
                <c:pt idx="929">
                  <c:v>6.0917317244194908</c:v>
                </c:pt>
                <c:pt idx="930">
                  <c:v>6.1794059157223504</c:v>
                </c:pt>
                <c:pt idx="931">
                  <c:v>6.1794059157223513</c:v>
                </c:pt>
                <c:pt idx="932">
                  <c:v>6.1270082328210949</c:v>
                </c:pt>
                <c:pt idx="933">
                  <c:v>5.8600537442123732</c:v>
                </c:pt>
                <c:pt idx="934">
                  <c:v>5.8984704816578093</c:v>
                </c:pt>
                <c:pt idx="935">
                  <c:v>5.6516704884790325</c:v>
                </c:pt>
                <c:pt idx="936">
                  <c:v>5.6977511191778074</c:v>
                </c:pt>
                <c:pt idx="937">
                  <c:v>5.5107001453494115</c:v>
                </c:pt>
                <c:pt idx="938">
                  <c:v>5.4058291228771846</c:v>
                </c:pt>
                <c:pt idx="939">
                  <c:v>5.6258843493839858</c:v>
                </c:pt>
                <c:pt idx="940">
                  <c:v>5.8800265852866813</c:v>
                </c:pt>
                <c:pt idx="941">
                  <c:v>5.81555583372496</c:v>
                </c:pt>
                <c:pt idx="942">
                  <c:v>5.8526936523711681</c:v>
                </c:pt>
                <c:pt idx="943">
                  <c:v>5.833021338126108</c:v>
                </c:pt>
                <c:pt idx="944">
                  <c:v>5.8411933908992486</c:v>
                </c:pt>
                <c:pt idx="945">
                  <c:v>5.7651350035532918</c:v>
                </c:pt>
                <c:pt idx="946">
                  <c:v>5.5889875298836893</c:v>
                </c:pt>
                <c:pt idx="947">
                  <c:v>5.7699180256731992</c:v>
                </c:pt>
                <c:pt idx="948">
                  <c:v>5.5655962905124108</c:v>
                </c:pt>
                <c:pt idx="949">
                  <c:v>5.5936129421981331</c:v>
                </c:pt>
                <c:pt idx="950">
                  <c:v>5.5815788974541736</c:v>
                </c:pt>
                <c:pt idx="951">
                  <c:v>5.5878562911938321</c:v>
                </c:pt>
                <c:pt idx="952">
                  <c:v>5.7204010790981368</c:v>
                </c:pt>
                <c:pt idx="953">
                  <c:v>5.7660321224202011</c:v>
                </c:pt>
                <c:pt idx="954">
                  <c:v>5.5373341027535306</c:v>
                </c:pt>
                <c:pt idx="955">
                  <c:v>5.7155766193756889</c:v>
                </c:pt>
                <c:pt idx="956">
                  <c:v>5.4991117360040489</c:v>
                </c:pt>
                <c:pt idx="957">
                  <c:v>5.2335126991738337</c:v>
                </c:pt>
                <c:pt idx="958">
                  <c:v>5.2017901427926887</c:v>
                </c:pt>
                <c:pt idx="959">
                  <c:v>5.2017901427926887</c:v>
                </c:pt>
                <c:pt idx="960">
                  <c:v>4.8476798574163293</c:v>
                </c:pt>
                <c:pt idx="961">
                  <c:v>5.085024214727774</c:v>
                </c:pt>
                <c:pt idx="962">
                  <c:v>4.9531134989351235</c:v>
                </c:pt>
                <c:pt idx="963">
                  <c:v>4.9293864298422214</c:v>
                </c:pt>
                <c:pt idx="964">
                  <c:v>4.8262929302183739</c:v>
                </c:pt>
                <c:pt idx="965">
                  <c:v>4.8942847269550773</c:v>
                </c:pt>
                <c:pt idx="966">
                  <c:v>4.8204545023467853</c:v>
                </c:pt>
                <c:pt idx="967">
                  <c:v>4.7885159556454715</c:v>
                </c:pt>
                <c:pt idx="968">
                  <c:v>4.7596242486677189</c:v>
                </c:pt>
                <c:pt idx="969">
                  <c:v>4.5673755637378761</c:v>
                </c:pt>
                <c:pt idx="970">
                  <c:v>4.7451124279644832</c:v>
                </c:pt>
                <c:pt idx="971">
                  <c:v>4.7885159556454715</c:v>
                </c:pt>
                <c:pt idx="972">
                  <c:v>4.9475408961968395</c:v>
                </c:pt>
                <c:pt idx="973">
                  <c:v>5.2679905218148448</c:v>
                </c:pt>
                <c:pt idx="974">
                  <c:v>5.2649349691981051</c:v>
                </c:pt>
                <c:pt idx="975">
                  <c:v>5.2701719747725644</c:v>
                </c:pt>
                <c:pt idx="976">
                  <c:v>5.3235542530397364</c:v>
                </c:pt>
                <c:pt idx="977">
                  <c:v>5.1621968058249159</c:v>
                </c:pt>
                <c:pt idx="978">
                  <c:v>5.1621968058249159</c:v>
                </c:pt>
                <c:pt idx="979">
                  <c:v>5.1621968058249159</c:v>
                </c:pt>
                <c:pt idx="980">
                  <c:v>5.3482191686450236</c:v>
                </c:pt>
                <c:pt idx="981">
                  <c:v>5.5158080034600987</c:v>
                </c:pt>
                <c:pt idx="982">
                  <c:v>5.511117290813492</c:v>
                </c:pt>
                <c:pt idx="983">
                  <c:v>5.7364533077263111</c:v>
                </c:pt>
                <c:pt idx="984">
                  <c:v>5.888231004963723</c:v>
                </c:pt>
                <c:pt idx="985">
                  <c:v>5.8250351486285998</c:v>
                </c:pt>
                <c:pt idx="986">
                  <c:v>5.9035348849592681</c:v>
                </c:pt>
                <c:pt idx="987">
                  <c:v>5.9096647900735011</c:v>
                </c:pt>
                <c:pt idx="988">
                  <c:v>6.0840851369801685</c:v>
                </c:pt>
                <c:pt idx="989">
                  <c:v>6.1950109700903857</c:v>
                </c:pt>
                <c:pt idx="990">
                  <c:v>6.2275804788609239</c:v>
                </c:pt>
                <c:pt idx="991">
                  <c:v>6.0004789080903187</c:v>
                </c:pt>
                <c:pt idx="992">
                  <c:v>5.9984672371700336</c:v>
                </c:pt>
                <c:pt idx="993">
                  <c:v>6.0954099934709687</c:v>
                </c:pt>
                <c:pt idx="994">
                  <c:v>6.1228796470626285</c:v>
                </c:pt>
                <c:pt idx="995">
                  <c:v>6.0382877987248911</c:v>
                </c:pt>
                <c:pt idx="996">
                  <c:v>6.0382877987248911</c:v>
                </c:pt>
                <c:pt idx="997">
                  <c:v>6.2330229193099935</c:v>
                </c:pt>
                <c:pt idx="998">
                  <c:v>6.2338527044059902</c:v>
                </c:pt>
                <c:pt idx="999">
                  <c:v>6.2628259201216121</c:v>
                </c:pt>
                <c:pt idx="1000">
                  <c:v>6.0428546196332569</c:v>
                </c:pt>
                <c:pt idx="1001">
                  <c:v>5.9869590077868056</c:v>
                </c:pt>
                <c:pt idx="1002">
                  <c:v>5.821186038648114</c:v>
                </c:pt>
                <c:pt idx="1003">
                  <c:v>5.5378530218807756</c:v>
                </c:pt>
                <c:pt idx="1004">
                  <c:v>5.616478219151829</c:v>
                </c:pt>
                <c:pt idx="1005">
                  <c:v>5.6512637178949117</c:v>
                </c:pt>
                <c:pt idx="1006">
                  <c:v>5.6185243696146774</c:v>
                </c:pt>
                <c:pt idx="1007">
                  <c:v>5.6353767633023271</c:v>
                </c:pt>
                <c:pt idx="1008">
                  <c:v>5.8882310049637221</c:v>
                </c:pt>
                <c:pt idx="1009">
                  <c:v>5.8726915249420726</c:v>
                </c:pt>
                <c:pt idx="1010">
                  <c:v>5.7684237572909085</c:v>
                </c:pt>
                <c:pt idx="1011">
                  <c:v>5.5878562911938321</c:v>
                </c:pt>
                <c:pt idx="1012">
                  <c:v>5.6962379196081345</c:v>
                </c:pt>
                <c:pt idx="1013">
                  <c:v>5.5580530784608833</c:v>
                </c:pt>
                <c:pt idx="1014">
                  <c:v>5.6568542494923806</c:v>
                </c:pt>
                <c:pt idx="1015">
                  <c:v>5.5232008044644525</c:v>
                </c:pt>
                <c:pt idx="1016">
                  <c:v>5.563014150330881</c:v>
                </c:pt>
                <c:pt idx="1017">
                  <c:v>5.869167439831787</c:v>
                </c:pt>
                <c:pt idx="1018">
                  <c:v>5.7615451311996662</c:v>
                </c:pt>
                <c:pt idx="1019">
                  <c:v>5.4907445635422674</c:v>
                </c:pt>
                <c:pt idx="1020">
                  <c:v>5.4815259222940478</c:v>
                </c:pt>
                <c:pt idx="1021">
                  <c:v>5.5158080034600987</c:v>
                </c:pt>
                <c:pt idx="1022">
                  <c:v>5.5889875298836902</c:v>
                </c:pt>
                <c:pt idx="1023">
                  <c:v>5.35197890138961</c:v>
                </c:pt>
                <c:pt idx="1024">
                  <c:v>5.4185717251163057</c:v>
                </c:pt>
                <c:pt idx="1025">
                  <c:v>5.4169805390936689</c:v>
                </c:pt>
                <c:pt idx="1026">
                  <c:v>5.4177231507277153</c:v>
                </c:pt>
                <c:pt idx="1027">
                  <c:v>5.6307856580087279</c:v>
                </c:pt>
                <c:pt idx="1028">
                  <c:v>5.6074662870961181</c:v>
                </c:pt>
                <c:pt idx="1029">
                  <c:v>5.5960782655376597</c:v>
                </c:pt>
                <c:pt idx="1030">
                  <c:v>5.5688996828961574</c:v>
                </c:pt>
                <c:pt idx="1031">
                  <c:v>5.6099255224838842</c:v>
                </c:pt>
                <c:pt idx="1032">
                  <c:v>5.6908880586909918</c:v>
                </c:pt>
                <c:pt idx="1033">
                  <c:v>5.7083322845875371</c:v>
                </c:pt>
                <c:pt idx="1034">
                  <c:v>5.7364533077263111</c:v>
                </c:pt>
                <c:pt idx="1035">
                  <c:v>5.6381296319902416</c:v>
                </c:pt>
                <c:pt idx="1036">
                  <c:v>5.5655962905124117</c:v>
                </c:pt>
                <c:pt idx="1037">
                  <c:v>5.6962379196081336</c:v>
                </c:pt>
                <c:pt idx="1038">
                  <c:v>5.3149107106393583</c:v>
                </c:pt>
                <c:pt idx="1039">
                  <c:v>5.4312844313949009</c:v>
                </c:pt>
                <c:pt idx="1040">
                  <c:v>5.2881346253751849</c:v>
                </c:pt>
                <c:pt idx="1041">
                  <c:v>5.5069444142472692</c:v>
                </c:pt>
                <c:pt idx="1042">
                  <c:v>5.3558433015972717</c:v>
                </c:pt>
                <c:pt idx="1043">
                  <c:v>5.3914576963891712</c:v>
                </c:pt>
                <c:pt idx="1044">
                  <c:v>5.3914576963891712</c:v>
                </c:pt>
                <c:pt idx="1045">
                  <c:v>5.4920004520681935</c:v>
                </c:pt>
                <c:pt idx="1046">
                  <c:v>5.4920004520681935</c:v>
                </c:pt>
                <c:pt idx="1047">
                  <c:v>5.2583813776335848</c:v>
                </c:pt>
                <c:pt idx="1048">
                  <c:v>5.2254901326513643</c:v>
                </c:pt>
                <c:pt idx="1049">
                  <c:v>5.4291677142049606</c:v>
                </c:pt>
                <c:pt idx="1050">
                  <c:v>5.7375552485257222</c:v>
                </c:pt>
                <c:pt idx="1051">
                  <c:v>5.81555583372496</c:v>
                </c:pt>
                <c:pt idx="1052">
                  <c:v>5.9797551174247774</c:v>
                </c:pt>
                <c:pt idx="1053">
                  <c:v>6.1143321361588105</c:v>
                </c:pt>
                <c:pt idx="1054">
                  <c:v>6.3053525884257899</c:v>
                </c:pt>
                <c:pt idx="1055">
                  <c:v>6.3394404916464397</c:v>
                </c:pt>
                <c:pt idx="1056">
                  <c:v>6.4833119108472115</c:v>
                </c:pt>
                <c:pt idx="1057">
                  <c:v>6.122222569900762</c:v>
                </c:pt>
                <c:pt idx="1058">
                  <c:v>6.1334770098114051</c:v>
                </c:pt>
                <c:pt idx="1059">
                  <c:v>6.0648791101463573</c:v>
                </c:pt>
                <c:pt idx="1060">
                  <c:v>6.058052492344383</c:v>
                </c:pt>
                <c:pt idx="1061">
                  <c:v>5.8574051765520583</c:v>
                </c:pt>
                <c:pt idx="1062">
                  <c:v>5.3609915020504797</c:v>
                </c:pt>
                <c:pt idx="1063">
                  <c:v>5.3558433015972717</c:v>
                </c:pt>
                <c:pt idx="1064">
                  <c:v>4.9335818514602012</c:v>
                </c:pt>
                <c:pt idx="1065">
                  <c:v>4.7441433949369767</c:v>
                </c:pt>
                <c:pt idx="1066">
                  <c:v>4.6456010585716792</c:v>
                </c:pt>
                <c:pt idx="1067">
                  <c:v>3.9034320295344478</c:v>
                </c:pt>
                <c:pt idx="1068">
                  <c:v>3.7448815643534674</c:v>
                </c:pt>
                <c:pt idx="1069">
                  <c:v>2.7534722071236351</c:v>
                </c:pt>
                <c:pt idx="1070">
                  <c:v>2.5508619232965426</c:v>
                </c:pt>
                <c:pt idx="1071">
                  <c:v>2.5694938899664099</c:v>
                </c:pt>
                <c:pt idx="1072">
                  <c:v>2.5042492623171708</c:v>
                </c:pt>
                <c:pt idx="1073">
                  <c:v>2.5917641442288581</c:v>
                </c:pt>
                <c:pt idx="1074">
                  <c:v>2.7352530404703503</c:v>
                </c:pt>
                <c:pt idx="1075">
                  <c:v>2.8235463150271589</c:v>
                </c:pt>
                <c:pt idx="1076">
                  <c:v>3.002106540108282</c:v>
                </c:pt>
                <c:pt idx="1077">
                  <c:v>3.0026807945605851</c:v>
                </c:pt>
                <c:pt idx="1078">
                  <c:v>2.8357325879470419</c:v>
                </c:pt>
                <c:pt idx="1079">
                  <c:v>2.8464537323790653</c:v>
                </c:pt>
                <c:pt idx="1080">
                  <c:v>2.8464537323790653</c:v>
                </c:pt>
                <c:pt idx="1081">
                  <c:v>2.9563879794535546</c:v>
                </c:pt>
                <c:pt idx="1082">
                  <c:v>3.0126171460983087</c:v>
                </c:pt>
                <c:pt idx="1083">
                  <c:v>3.1176177170854444</c:v>
                </c:pt>
                <c:pt idx="1084">
                  <c:v>3.1593684804723705</c:v>
                </c:pt>
                <c:pt idx="1085">
                  <c:v>3.1593684804723705</c:v>
                </c:pt>
                <c:pt idx="1086">
                  <c:v>3.0926312124293052</c:v>
                </c:pt>
                <c:pt idx="1087">
                  <c:v>3.1154048094006623</c:v>
                </c:pt>
                <c:pt idx="1088">
                  <c:v>3.1805804429416638</c:v>
                </c:pt>
                <c:pt idx="1089">
                  <c:v>3.0792221737643901</c:v>
                </c:pt>
                <c:pt idx="1090">
                  <c:v>3.0663168216240662</c:v>
                </c:pt>
                <c:pt idx="1091">
                  <c:v>3.0522273758720835</c:v>
                </c:pt>
                <c:pt idx="1092">
                  <c:v>3.0369373562434778</c:v>
                </c:pt>
                <c:pt idx="1093">
                  <c:v>3.0399637021426469</c:v>
                </c:pt>
                <c:pt idx="1094">
                  <c:v>3.0399637021426469</c:v>
                </c:pt>
                <c:pt idx="1095">
                  <c:v>3.0618152530285303</c:v>
                </c:pt>
                <c:pt idx="1096">
                  <c:v>3.0325816929042362</c:v>
                </c:pt>
                <c:pt idx="1097">
                  <c:v>3.7008852622228008</c:v>
                </c:pt>
                <c:pt idx="1098">
                  <c:v>3.9276502875904304</c:v>
                </c:pt>
                <c:pt idx="1099">
                  <c:v>4.0931678426990681</c:v>
                </c:pt>
                <c:pt idx="1100">
                  <c:v>4.0606041111054445</c:v>
                </c:pt>
                <c:pt idx="1101">
                  <c:v>4.4921387272464761</c:v>
                </c:pt>
                <c:pt idx="1102">
                  <c:v>4.6292423848261892</c:v>
                </c:pt>
                <c:pt idx="1103">
                  <c:v>4.730556089884173</c:v>
                </c:pt>
                <c:pt idx="1104">
                  <c:v>4.6064672179323125</c:v>
                </c:pt>
                <c:pt idx="1105">
                  <c:v>4.4546243568812329</c:v>
                </c:pt>
                <c:pt idx="1106">
                  <c:v>5.3520862835166341</c:v>
                </c:pt>
                <c:pt idx="1107">
                  <c:v>5.9870550011008667</c:v>
                </c:pt>
                <c:pt idx="1108">
                  <c:v>6.3350874763757865</c:v>
                </c:pt>
                <c:pt idx="1109">
                  <c:v>6.2757515463300786</c:v>
                </c:pt>
                <c:pt idx="1110">
                  <c:v>6.3730755490597311</c:v>
                </c:pt>
                <c:pt idx="1111">
                  <c:v>6.3922546523296377</c:v>
                </c:pt>
                <c:pt idx="1112">
                  <c:v>6.253275004016861</c:v>
                </c:pt>
                <c:pt idx="1113">
                  <c:v>6.0784147963742656</c:v>
                </c:pt>
                <c:pt idx="1114">
                  <c:v>6.1053020108491092</c:v>
                </c:pt>
                <c:pt idx="1115">
                  <c:v>6.1143321361588105</c:v>
                </c:pt>
                <c:pt idx="1116">
                  <c:v>6.398724729265945</c:v>
                </c:pt>
                <c:pt idx="1117">
                  <c:v>6.2717208769699493</c:v>
                </c:pt>
                <c:pt idx="1118">
                  <c:v>5.9951129522590998</c:v>
                </c:pt>
                <c:pt idx="1119">
                  <c:v>6.457998693592061</c:v>
                </c:pt>
                <c:pt idx="1120">
                  <c:v>6.3706402716888961</c:v>
                </c:pt>
                <c:pt idx="1121">
                  <c:v>6.2308096188013247</c:v>
                </c:pt>
                <c:pt idx="1122">
                  <c:v>6.0939955373462009</c:v>
                </c:pt>
                <c:pt idx="1123">
                  <c:v>5.8018031283584497</c:v>
                </c:pt>
                <c:pt idx="1124">
                  <c:v>5.8404062211104986</c:v>
                </c:pt>
                <c:pt idx="1125">
                  <c:v>5.511638678246265</c:v>
                </c:pt>
                <c:pt idx="1126">
                  <c:v>5.511638678246265</c:v>
                </c:pt>
                <c:pt idx="1127">
                  <c:v>5.6491276917910893</c:v>
                </c:pt>
                <c:pt idx="1128">
                  <c:v>5.858974842657763</c:v>
                </c:pt>
                <c:pt idx="1129">
                  <c:v>5.8565220544887087</c:v>
                </c:pt>
                <c:pt idx="1130">
                  <c:v>6.0096665426646583</c:v>
                </c:pt>
                <c:pt idx="1131">
                  <c:v>6.2683294443566462</c:v>
                </c:pt>
                <c:pt idx="1132">
                  <c:v>6.4771925236560435</c:v>
                </c:pt>
                <c:pt idx="1133">
                  <c:v>6.5565620371599049</c:v>
                </c:pt>
                <c:pt idx="1134">
                  <c:v>6.4376764566821416</c:v>
                </c:pt>
                <c:pt idx="1135">
                  <c:v>6.2061334141333919</c:v>
                </c:pt>
                <c:pt idx="1136">
                  <c:v>6.4094936769921453</c:v>
                </c:pt>
                <c:pt idx="1137">
                  <c:v>6.5373375015517903</c:v>
                </c:pt>
                <c:pt idx="1138">
                  <c:v>6.5649714831606572</c:v>
                </c:pt>
                <c:pt idx="1139">
                  <c:v>6.745027968722634</c:v>
                </c:pt>
                <c:pt idx="1140">
                  <c:v>6.8364304727829568</c:v>
                </c:pt>
                <c:pt idx="1141">
                  <c:v>6.6024203155349408</c:v>
                </c:pt>
                <c:pt idx="1142">
                  <c:v>6.7636622059932607</c:v>
                </c:pt>
                <c:pt idx="1143">
                  <c:v>6.7565209029976128</c:v>
                </c:pt>
                <c:pt idx="1144">
                  <c:v>6.8511262602934675</c:v>
                </c:pt>
                <c:pt idx="1145">
                  <c:v>7.0417474320335947</c:v>
                </c:pt>
                <c:pt idx="1146">
                  <c:v>7.1503556699577233</c:v>
                </c:pt>
                <c:pt idx="1147">
                  <c:v>7.266993560083761</c:v>
                </c:pt>
                <c:pt idx="1148">
                  <c:v>7.4293608270732543</c:v>
                </c:pt>
                <c:pt idx="1149">
                  <c:v>7.4602394340793854</c:v>
                </c:pt>
                <c:pt idx="1150">
                  <c:v>7.3933800771715532</c:v>
                </c:pt>
                <c:pt idx="1151">
                  <c:v>7.180433182591087</c:v>
                </c:pt>
                <c:pt idx="1152">
                  <c:v>7.2050429338180155</c:v>
                </c:pt>
                <c:pt idx="1153">
                  <c:v>7.4096085490783326</c:v>
                </c:pt>
                <c:pt idx="1154">
                  <c:v>7.3183755499192005</c:v>
                </c:pt>
                <c:pt idx="1155">
                  <c:v>7.4929085247932621</c:v>
                </c:pt>
                <c:pt idx="1156">
                  <c:v>7.4943656997359911</c:v>
                </c:pt>
                <c:pt idx="1157">
                  <c:v>7.678601405218914</c:v>
                </c:pt>
                <c:pt idx="1158">
                  <c:v>7.7154122512602363</c:v>
                </c:pt>
                <c:pt idx="1159">
                  <c:v>7.7712260308775285</c:v>
                </c:pt>
                <c:pt idx="1160">
                  <c:v>7.616452246786964</c:v>
                </c:pt>
                <c:pt idx="1161">
                  <c:v>7.5700559526622246</c:v>
                </c:pt>
                <c:pt idx="1162">
                  <c:v>7.4219308452224464</c:v>
                </c:pt>
                <c:pt idx="1163">
                  <c:v>7.3171189607015048</c:v>
                </c:pt>
                <c:pt idx="1164">
                  <c:v>7.2384668472578211</c:v>
                </c:pt>
                <c:pt idx="1165">
                  <c:v>7.4114698311111864</c:v>
                </c:pt>
                <c:pt idx="1166">
                  <c:v>7.2139711193173506</c:v>
                </c:pt>
                <c:pt idx="1167">
                  <c:v>7.2225699886798829</c:v>
                </c:pt>
                <c:pt idx="1168">
                  <c:v>7.2286944179779606</c:v>
                </c:pt>
                <c:pt idx="1169">
                  <c:v>7.0093533569622979</c:v>
                </c:pt>
                <c:pt idx="1170">
                  <c:v>6.9782091039786556</c:v>
                </c:pt>
                <c:pt idx="1171">
                  <c:v>6.9782091039786556</c:v>
                </c:pt>
                <c:pt idx="1172">
                  <c:v>6.9099295536772019</c:v>
                </c:pt>
                <c:pt idx="1173">
                  <c:v>6.9365763856547398</c:v>
                </c:pt>
                <c:pt idx="1174">
                  <c:v>6.8397922936803921</c:v>
                </c:pt>
                <c:pt idx="1175">
                  <c:v>6.6984300785513451</c:v>
                </c:pt>
                <c:pt idx="1176">
                  <c:v>6.5713589630067881</c:v>
                </c:pt>
                <c:pt idx="1177">
                  <c:v>6.5143519715467786</c:v>
                </c:pt>
                <c:pt idx="1178">
                  <c:v>6.3296419974665188</c:v>
                </c:pt>
                <c:pt idx="1179">
                  <c:v>5.9927158849857829</c:v>
                </c:pt>
                <c:pt idx="1180">
                  <c:v>5.973119864822757</c:v>
                </c:pt>
                <c:pt idx="1181">
                  <c:v>5.9450549333811491</c:v>
                </c:pt>
                <c:pt idx="1182">
                  <c:v>5.9049949633544463</c:v>
                </c:pt>
                <c:pt idx="1183">
                  <c:v>5.689272017750076</c:v>
                </c:pt>
                <c:pt idx="1184">
                  <c:v>5.8108103773380275</c:v>
                </c:pt>
                <c:pt idx="1185">
                  <c:v>5.48184044939687</c:v>
                </c:pt>
                <c:pt idx="1186">
                  <c:v>5.3909246855727124</c:v>
                </c:pt>
                <c:pt idx="1187">
                  <c:v>4.9136216949333349</c:v>
                </c:pt>
                <c:pt idx="1188">
                  <c:v>4.9947098451042784</c:v>
                </c:pt>
                <c:pt idx="1189">
                  <c:v>5.053847970640275</c:v>
                </c:pt>
                <c:pt idx="1190">
                  <c:v>5.0836677862464157</c:v>
                </c:pt>
                <c:pt idx="1191">
                  <c:v>4.9666705237970064</c:v>
                </c:pt>
                <c:pt idx="1192">
                  <c:v>5.0456536434494952</c:v>
                </c:pt>
                <c:pt idx="1193">
                  <c:v>5.402106868684629</c:v>
                </c:pt>
                <c:pt idx="1194">
                  <c:v>5.6503483770126239</c:v>
                </c:pt>
                <c:pt idx="1195">
                  <c:v>5.498589160741207</c:v>
                </c:pt>
                <c:pt idx="1196">
                  <c:v>5.4629367707231919</c:v>
                </c:pt>
                <c:pt idx="1197">
                  <c:v>5.2832417773712503</c:v>
                </c:pt>
                <c:pt idx="1198">
                  <c:v>5.4747067312417244</c:v>
                </c:pt>
                <c:pt idx="1199">
                  <c:v>5.5236170058745211</c:v>
                </c:pt>
                <c:pt idx="1200">
                  <c:v>5.5589836166852225</c:v>
                </c:pt>
                <c:pt idx="1201">
                  <c:v>5.625884349383985</c:v>
                </c:pt>
                <c:pt idx="1202">
                  <c:v>5.7098422789578613</c:v>
                </c:pt>
                <c:pt idx="1203">
                  <c:v>5.8274025680104833</c:v>
                </c:pt>
                <c:pt idx="1204">
                  <c:v>5.9383809086393198</c:v>
                </c:pt>
                <c:pt idx="1205">
                  <c:v>6.0747262366772317</c:v>
                </c:pt>
                <c:pt idx="1206">
                  <c:v>5.984750736606359</c:v>
                </c:pt>
                <c:pt idx="1207">
                  <c:v>5.943121204819267</c:v>
                </c:pt>
                <c:pt idx="1208">
                  <c:v>5.9977007088636434</c:v>
                </c:pt>
                <c:pt idx="1209">
                  <c:v>6.1682352773529647</c:v>
                </c:pt>
                <c:pt idx="1210">
                  <c:v>6.1764290542407236</c:v>
                </c:pt>
                <c:pt idx="1211">
                  <c:v>6.4473107643384173</c:v>
                </c:pt>
                <c:pt idx="1212">
                  <c:v>6.6505552442988742</c:v>
                </c:pt>
                <c:pt idx="1213">
                  <c:v>6.674363373145157</c:v>
                </c:pt>
                <c:pt idx="1214">
                  <c:v>6.583591585215439</c:v>
                </c:pt>
                <c:pt idx="1215">
                  <c:v>6.6107714262841304</c:v>
                </c:pt>
                <c:pt idx="1216">
                  <c:v>6.4673361426177003</c:v>
                </c:pt>
                <c:pt idx="1217">
                  <c:v>6.6038129007101816</c:v>
                </c:pt>
                <c:pt idx="1218">
                  <c:v>6.4344618151462152</c:v>
                </c:pt>
                <c:pt idx="1219">
                  <c:v>6.3622449590958237</c:v>
                </c:pt>
                <c:pt idx="1220">
                  <c:v>6.441692502661903</c:v>
                </c:pt>
                <c:pt idx="1221">
                  <c:v>6.6045090831859001</c:v>
                </c:pt>
                <c:pt idx="1222">
                  <c:v>6.6523697272855902</c:v>
                </c:pt>
                <c:pt idx="1223">
                  <c:v>6.6277022248747102</c:v>
                </c:pt>
                <c:pt idx="1224">
                  <c:v>6.5932741765996719</c:v>
                </c:pt>
                <c:pt idx="1225">
                  <c:v>6.6207614938631272</c:v>
                </c:pt>
                <c:pt idx="1226">
                  <c:v>6.83542160409635</c:v>
                </c:pt>
                <c:pt idx="1227">
                  <c:v>6.9216468706731096</c:v>
                </c:pt>
                <c:pt idx="1228">
                  <c:v>6.7941827720653718</c:v>
                </c:pt>
                <c:pt idx="1229">
                  <c:v>6.8856839658933602</c:v>
                </c:pt>
                <c:pt idx="1230">
                  <c:v>6.8460912583196976</c:v>
                </c:pt>
                <c:pt idx="1231">
                  <c:v>6.8174893413587547</c:v>
                </c:pt>
                <c:pt idx="1232">
                  <c:v>6.8144538746105985</c:v>
                </c:pt>
                <c:pt idx="1233">
                  <c:v>7.2563091850131176</c:v>
                </c:pt>
                <c:pt idx="1234">
                  <c:v>7.5417611285123733</c:v>
                </c:pt>
                <c:pt idx="1235">
                  <c:v>7.4726320587231827</c:v>
                </c:pt>
                <c:pt idx="1236">
                  <c:v>7.6281390749727702</c:v>
                </c:pt>
                <c:pt idx="1237">
                  <c:v>7.7073632505456802</c:v>
                </c:pt>
                <c:pt idx="1238">
                  <c:v>7.7933806277632431</c:v>
                </c:pt>
                <c:pt idx="1239">
                  <c:v>7.52436654835628</c:v>
                </c:pt>
                <c:pt idx="1240">
                  <c:v>7.765233452685929</c:v>
                </c:pt>
                <c:pt idx="1241">
                  <c:v>7.6702889993359005</c:v>
                </c:pt>
                <c:pt idx="1242">
                  <c:v>7.4553074514336624</c:v>
                </c:pt>
                <c:pt idx="1243">
                  <c:v>7.3209665840063716</c:v>
                </c:pt>
                <c:pt idx="1244">
                  <c:v>7.2699191287063885</c:v>
                </c:pt>
                <c:pt idx="1245">
                  <c:v>7.4460511790424562</c:v>
                </c:pt>
                <c:pt idx="1246">
                  <c:v>7.3324973400185627</c:v>
                </c:pt>
                <c:pt idx="1247">
                  <c:v>7.3281852358257629</c:v>
                </c:pt>
                <c:pt idx="1248">
                  <c:v>6.9547800480850146</c:v>
                </c:pt>
                <c:pt idx="1249">
                  <c:v>7.098324231574078</c:v>
                </c:pt>
                <c:pt idx="1250">
                  <c:v>7.1666533012438869</c:v>
                </c:pt>
                <c:pt idx="1251">
                  <c:v>7.2317944228740787</c:v>
                </c:pt>
                <c:pt idx="1252">
                  <c:v>6.757286403596483</c:v>
                </c:pt>
                <c:pt idx="1253">
                  <c:v>5.9499830966629395</c:v>
                </c:pt>
                <c:pt idx="1254">
                  <c:v>4.9513727343054059</c:v>
                </c:pt>
                <c:pt idx="1255">
                  <c:v>4.8100708528248735</c:v>
                </c:pt>
                <c:pt idx="1256">
                  <c:v>4.9065988875878341</c:v>
                </c:pt>
                <c:pt idx="1257">
                  <c:v>3.6230424758218334</c:v>
                </c:pt>
                <c:pt idx="1258">
                  <c:v>3.5616088318714021</c:v>
                </c:pt>
                <c:pt idx="1259">
                  <c:v>3.6149434424281144</c:v>
                </c:pt>
                <c:pt idx="1260">
                  <c:v>3.5616088318714012</c:v>
                </c:pt>
                <c:pt idx="1261">
                  <c:v>3.3726417900035224</c:v>
                </c:pt>
                <c:pt idx="1262">
                  <c:v>3.3646232560529592</c:v>
                </c:pt>
                <c:pt idx="1263">
                  <c:v>3.3646232560529592</c:v>
                </c:pt>
                <c:pt idx="1264">
                  <c:v>3.438958676926664</c:v>
                </c:pt>
                <c:pt idx="1265">
                  <c:v>3.5404071458831807</c:v>
                </c:pt>
                <c:pt idx="1266">
                  <c:v>3.5499716689819807</c:v>
                </c:pt>
                <c:pt idx="1267">
                  <c:v>3.5751376470567258</c:v>
                </c:pt>
                <c:pt idx="1268">
                  <c:v>3.7114299998353939</c:v>
                </c:pt>
                <c:pt idx="1269">
                  <c:v>3.6358685660905095</c:v>
                </c:pt>
                <c:pt idx="1270">
                  <c:v>3.6001277116555026</c:v>
                </c:pt>
                <c:pt idx="1271">
                  <c:v>3.4376214712080126</c:v>
                </c:pt>
                <c:pt idx="1272">
                  <c:v>3.4180050644622595</c:v>
                </c:pt>
                <c:pt idx="1273">
                  <c:v>3.3884523304013445</c:v>
                </c:pt>
                <c:pt idx="1274">
                  <c:v>3.3870951851259576</c:v>
                </c:pt>
                <c:pt idx="1275">
                  <c:v>3.3603502827813205</c:v>
                </c:pt>
                <c:pt idx="1276">
                  <c:v>3.3218191941495987</c:v>
                </c:pt>
                <c:pt idx="1277">
                  <c:v>3.3218191941495987</c:v>
                </c:pt>
                <c:pt idx="1278">
                  <c:v>3.4275757996095373</c:v>
                </c:pt>
                <c:pt idx="1279">
                  <c:v>4.9461467645119415</c:v>
                </c:pt>
                <c:pt idx="1280">
                  <c:v>5.9348958293930583</c:v>
                </c:pt>
                <c:pt idx="1281">
                  <c:v>5.9159826381348219</c:v>
                </c:pt>
                <c:pt idx="1282">
                  <c:v>5.943121204819267</c:v>
                </c:pt>
                <c:pt idx="1283">
                  <c:v>6.0423790701665032</c:v>
                </c:pt>
                <c:pt idx="1284">
                  <c:v>6.6357616995589384</c:v>
                </c:pt>
                <c:pt idx="1285">
                  <c:v>7.2155642756538425</c:v>
                </c:pt>
                <c:pt idx="1286">
                  <c:v>7.5048643229406302</c:v>
                </c:pt>
                <c:pt idx="1287">
                  <c:v>7.5140481459882782</c:v>
                </c:pt>
                <c:pt idx="1288">
                  <c:v>7.5014174905691053</c:v>
                </c:pt>
                <c:pt idx="1289">
                  <c:v>7.5645877948337095</c:v>
                </c:pt>
                <c:pt idx="1290">
                  <c:v>7.6525857698896287</c:v>
                </c:pt>
                <c:pt idx="1291">
                  <c:v>7.6279130482238955</c:v>
                </c:pt>
                <c:pt idx="1292">
                  <c:v>7.7374295532789201</c:v>
                </c:pt>
                <c:pt idx="1293">
                  <c:v>7.5418373321643308</c:v>
                </c:pt>
                <c:pt idx="1294">
                  <c:v>7.3268518901837814</c:v>
                </c:pt>
                <c:pt idx="1295">
                  <c:v>7.1241857772313706</c:v>
                </c:pt>
                <c:pt idx="1296">
                  <c:v>7.0941938377025302</c:v>
                </c:pt>
                <c:pt idx="1297">
                  <c:v>7.1602350182966328</c:v>
                </c:pt>
                <c:pt idx="1298">
                  <c:v>7.3331243439395042</c:v>
                </c:pt>
                <c:pt idx="1299">
                  <c:v>7.1964231217408576</c:v>
                </c:pt>
                <c:pt idx="1300">
                  <c:v>6.8869358249856862</c:v>
                </c:pt>
                <c:pt idx="1301">
                  <c:v>6.8215345292194582</c:v>
                </c:pt>
                <c:pt idx="1302">
                  <c:v>7.0339080224982711</c:v>
                </c:pt>
                <c:pt idx="1303">
                  <c:v>6.8195965094515785</c:v>
                </c:pt>
                <c:pt idx="1304">
                  <c:v>6.8195965094515776</c:v>
                </c:pt>
                <c:pt idx="1305">
                  <c:v>6.5754681665411008</c:v>
                </c:pt>
                <c:pt idx="1306">
                  <c:v>6.46866896362146</c:v>
                </c:pt>
                <c:pt idx="1307">
                  <c:v>6.5478784841869331</c:v>
                </c:pt>
                <c:pt idx="1308">
                  <c:v>6.5210534372166027</c:v>
                </c:pt>
                <c:pt idx="1309">
                  <c:v>6.4137961933004544</c:v>
                </c:pt>
                <c:pt idx="1310">
                  <c:v>6.3680235660627886</c:v>
                </c:pt>
                <c:pt idx="1311">
                  <c:v>6.2460102207858199</c:v>
                </c:pt>
                <c:pt idx="1312">
                  <c:v>6.3589921850239284</c:v>
                </c:pt>
                <c:pt idx="1313">
                  <c:v>6.4097626688719433</c:v>
                </c:pt>
                <c:pt idx="1314">
                  <c:v>6.3114564688842378</c:v>
                </c:pt>
                <c:pt idx="1315">
                  <c:v>6.1584443475287802</c:v>
                </c:pt>
                <c:pt idx="1316">
                  <c:v>6.1838685210034559</c:v>
                </c:pt>
                <c:pt idx="1317">
                  <c:v>6.190556397105766</c:v>
                </c:pt>
                <c:pt idx="1318">
                  <c:v>6.201964835122169</c:v>
                </c:pt>
                <c:pt idx="1319">
                  <c:v>6.4779910324183039</c:v>
                </c:pt>
                <c:pt idx="1320">
                  <c:v>6.4779910324183039</c:v>
                </c:pt>
                <c:pt idx="1321">
                  <c:v>6.3828073670648626</c:v>
                </c:pt>
                <c:pt idx="1322">
                  <c:v>6.365857203160818</c:v>
                </c:pt>
                <c:pt idx="1323">
                  <c:v>6.327190002942328</c:v>
                </c:pt>
                <c:pt idx="1324">
                  <c:v>6.398724729265945</c:v>
                </c:pt>
                <c:pt idx="1325">
                  <c:v>6.632903006893029</c:v>
                </c:pt>
                <c:pt idx="1326">
                  <c:v>6.6991164282717337</c:v>
                </c:pt>
                <c:pt idx="1327">
                  <c:v>6.6513329404757258</c:v>
                </c:pt>
                <c:pt idx="1328">
                  <c:v>6.5587530353955499</c:v>
                </c:pt>
                <c:pt idx="1329">
                  <c:v>6.6159855175035034</c:v>
                </c:pt>
                <c:pt idx="1330">
                  <c:v>6.7179635666441833</c:v>
                </c:pt>
                <c:pt idx="1331">
                  <c:v>6.6578102091910969</c:v>
                </c:pt>
                <c:pt idx="1332">
                  <c:v>6.3177363907849369</c:v>
                </c:pt>
                <c:pt idx="1333">
                  <c:v>6.1494789985837821</c:v>
                </c:pt>
                <c:pt idx="1334">
                  <c:v>6.0454219403430889</c:v>
                </c:pt>
                <c:pt idx="1335">
                  <c:v>6.2440776538353875</c:v>
                </c:pt>
                <c:pt idx="1336">
                  <c:v>6.0211313711382983</c:v>
                </c:pt>
                <c:pt idx="1337">
                  <c:v>5.9218085153062843</c:v>
                </c:pt>
                <c:pt idx="1338">
                  <c:v>6.0211313711382974</c:v>
                </c:pt>
                <c:pt idx="1339">
                  <c:v>5.8844232327059203</c:v>
                </c:pt>
                <c:pt idx="1340">
                  <c:v>5.9271438722844101</c:v>
                </c:pt>
                <c:pt idx="1341">
                  <c:v>6.1053020108491083</c:v>
                </c:pt>
                <c:pt idx="1342">
                  <c:v>5.8447343429988239</c:v>
                </c:pt>
                <c:pt idx="1343">
                  <c:v>6.0613719474272045</c:v>
                </c:pt>
                <c:pt idx="1344">
                  <c:v>6.0795492875894901</c:v>
                </c:pt>
                <c:pt idx="1345">
                  <c:v>6.0656371489719447</c:v>
                </c:pt>
                <c:pt idx="1346">
                  <c:v>5.8639753492448889</c:v>
                </c:pt>
                <c:pt idx="1347">
                  <c:v>5.7724076133942939</c:v>
                </c:pt>
                <c:pt idx="1348">
                  <c:v>5.7324444646441961</c:v>
                </c:pt>
                <c:pt idx="1349">
                  <c:v>5.6451586418765967</c:v>
                </c:pt>
                <c:pt idx="1350">
                  <c:v>5.6564478516866536</c:v>
                </c:pt>
                <c:pt idx="1351">
                  <c:v>5.5443872416216982</c:v>
                </c:pt>
                <c:pt idx="1352">
                  <c:v>5.8432592070624034</c:v>
                </c:pt>
                <c:pt idx="1353">
                  <c:v>5.9043136383689756</c:v>
                </c:pt>
                <c:pt idx="1354">
                  <c:v>6.0154016882718961</c:v>
                </c:pt>
                <c:pt idx="1355">
                  <c:v>5.7022883085672706</c:v>
                </c:pt>
                <c:pt idx="1356">
                  <c:v>5.5469780527095454</c:v>
                </c:pt>
                <c:pt idx="1357">
                  <c:v>5.3287336487059074</c:v>
                </c:pt>
                <c:pt idx="1358">
                  <c:v>5.5003657140689981</c:v>
                </c:pt>
                <c:pt idx="1359">
                  <c:v>5.8187173212287782</c:v>
                </c:pt>
                <c:pt idx="1360">
                  <c:v>5.818717321228779</c:v>
                </c:pt>
                <c:pt idx="1361">
                  <c:v>5.7519611847842267</c:v>
                </c:pt>
                <c:pt idx="1362">
                  <c:v>5.8160499294288392</c:v>
                </c:pt>
                <c:pt idx="1363">
                  <c:v>5.9154968893809645</c:v>
                </c:pt>
                <c:pt idx="1364">
                  <c:v>5.9476644696618663</c:v>
                </c:pt>
                <c:pt idx="1365">
                  <c:v>5.7256229897444051</c:v>
                </c:pt>
                <c:pt idx="1366">
                  <c:v>5.7411601214588917</c:v>
                </c:pt>
                <c:pt idx="1367">
                  <c:v>5.8108103773380275</c:v>
                </c:pt>
                <c:pt idx="1368">
                  <c:v>6.0099534299264796</c:v>
                </c:pt>
                <c:pt idx="1369">
                  <c:v>5.994729485906384</c:v>
                </c:pt>
                <c:pt idx="1370">
                  <c:v>6.0875792142406802</c:v>
                </c:pt>
                <c:pt idx="1371">
                  <c:v>5.8926215308423737</c:v>
                </c:pt>
                <c:pt idx="1372">
                  <c:v>5.9290828117429557</c:v>
                </c:pt>
                <c:pt idx="1373">
                  <c:v>5.804180023666258</c:v>
                </c:pt>
                <c:pt idx="1374">
                  <c:v>5.930245871121536</c:v>
                </c:pt>
                <c:pt idx="1375">
                  <c:v>6.1199691983298203</c:v>
                </c:pt>
                <c:pt idx="1376">
                  <c:v>6.2935836692856366</c:v>
                </c:pt>
                <c:pt idx="1377">
                  <c:v>6.2935836692856357</c:v>
                </c:pt>
                <c:pt idx="1378">
                  <c:v>6.3285523394093595</c:v>
                </c:pt>
                <c:pt idx="1379">
                  <c:v>6.5231682592074103</c:v>
                </c:pt>
                <c:pt idx="1380">
                  <c:v>6.4985409503025089</c:v>
                </c:pt>
                <c:pt idx="1381">
                  <c:v>6.4971258013186821</c:v>
                </c:pt>
                <c:pt idx="1382">
                  <c:v>6.3417065037188793</c:v>
                </c:pt>
                <c:pt idx="1383">
                  <c:v>6.2900212890014888</c:v>
                </c:pt>
                <c:pt idx="1384">
                  <c:v>6.1853553406134374</c:v>
                </c:pt>
                <c:pt idx="1385">
                  <c:v>6.201686830228522</c:v>
                </c:pt>
                <c:pt idx="1386">
                  <c:v>6.2141847376806387</c:v>
                </c:pt>
                <c:pt idx="1387">
                  <c:v>6.2019648351221699</c:v>
                </c:pt>
                <c:pt idx="1388">
                  <c:v>6.2252729248207057</c:v>
                </c:pt>
                <c:pt idx="1389">
                  <c:v>5.8933042075527222</c:v>
                </c:pt>
                <c:pt idx="1390">
                  <c:v>6.0458021914325837</c:v>
                </c:pt>
                <c:pt idx="1391">
                  <c:v>6.1134861285258628</c:v>
                </c:pt>
                <c:pt idx="1392">
                  <c:v>6.2020575006508372</c:v>
                </c:pt>
                <c:pt idx="1393">
                  <c:v>6.1191239700564601</c:v>
                </c:pt>
                <c:pt idx="1394">
                  <c:v>6.2455501400376363</c:v>
                </c:pt>
                <c:pt idx="1395">
                  <c:v>6.3405282785091899</c:v>
                </c:pt>
                <c:pt idx="1396">
                  <c:v>6.4932325513196627</c:v>
                </c:pt>
                <c:pt idx="1397">
                  <c:v>6.325373097895981</c:v>
                </c:pt>
                <c:pt idx="1398">
                  <c:v>6.0795492875894892</c:v>
                </c:pt>
                <c:pt idx="1399">
                  <c:v>6.3285523394093603</c:v>
                </c:pt>
                <c:pt idx="1400">
                  <c:v>6.3285523394093595</c:v>
                </c:pt>
                <c:pt idx="1401">
                  <c:v>6.4750626855351134</c:v>
                </c:pt>
                <c:pt idx="1402">
                  <c:v>6.4750626855351134</c:v>
                </c:pt>
                <c:pt idx="1403">
                  <c:v>6.5147048521283626</c:v>
                </c:pt>
                <c:pt idx="1404">
                  <c:v>6.4094936769921453</c:v>
                </c:pt>
                <c:pt idx="1405">
                  <c:v>6.1495724550012696</c:v>
                </c:pt>
                <c:pt idx="1406">
                  <c:v>5.79496412373729</c:v>
                </c:pt>
                <c:pt idx="1407">
                  <c:v>5.9407031589693569</c:v>
                </c:pt>
                <c:pt idx="1408">
                  <c:v>6.0553956181205892</c:v>
                </c:pt>
                <c:pt idx="1409">
                  <c:v>5.8659351686068639</c:v>
                </c:pt>
                <c:pt idx="1410">
                  <c:v>5.8902803243012611</c:v>
                </c:pt>
                <c:pt idx="1411">
                  <c:v>6.1011587367511169</c:v>
                </c:pt>
                <c:pt idx="1412">
                  <c:v>6.1626423650525295</c:v>
                </c:pt>
                <c:pt idx="1413">
                  <c:v>6.3969281420985515</c:v>
                </c:pt>
                <c:pt idx="1414">
                  <c:v>6.3108190262127772</c:v>
                </c:pt>
                <c:pt idx="1415">
                  <c:v>6.3318207510153428</c:v>
                </c:pt>
                <c:pt idx="1416">
                  <c:v>6.3241918297005011</c:v>
                </c:pt>
                <c:pt idx="1417">
                  <c:v>6.3285523394093595</c:v>
                </c:pt>
                <c:pt idx="1418">
                  <c:v>6.4036627450018111</c:v>
                </c:pt>
                <c:pt idx="1419">
                  <c:v>6.6024203155349408</c:v>
                </c:pt>
                <c:pt idx="1420">
                  <c:v>6.4771925236560435</c:v>
                </c:pt>
                <c:pt idx="1421">
                  <c:v>6.3132773790138357</c:v>
                </c:pt>
                <c:pt idx="1422">
                  <c:v>6.2669540164004847</c:v>
                </c:pt>
                <c:pt idx="1423">
                  <c:v>6.3946816983324899</c:v>
                </c:pt>
                <c:pt idx="1424">
                  <c:v>6.3946816983324899</c:v>
                </c:pt>
                <c:pt idx="1425">
                  <c:v>6.548141791343574</c:v>
                </c:pt>
                <c:pt idx="1426">
                  <c:v>6.548141791343574</c:v>
                </c:pt>
                <c:pt idx="1427">
                  <c:v>6.5657593165070285</c:v>
                </c:pt>
                <c:pt idx="1428">
                  <c:v>6.7043475344039978</c:v>
                </c:pt>
                <c:pt idx="1429">
                  <c:v>6.4598672631464549</c:v>
                </c:pt>
                <c:pt idx="1430">
                  <c:v>6.4615574080813563</c:v>
                </c:pt>
                <c:pt idx="1431">
                  <c:v>6.3976468375076214</c:v>
                </c:pt>
                <c:pt idx="1432">
                  <c:v>6.3688357621717051</c:v>
                </c:pt>
                <c:pt idx="1433">
                  <c:v>6.2075223183918826</c:v>
                </c:pt>
                <c:pt idx="1434">
                  <c:v>6.3539290044116363</c:v>
                </c:pt>
                <c:pt idx="1435">
                  <c:v>6.4000718386772721</c:v>
                </c:pt>
                <c:pt idx="1436">
                  <c:v>6.4952679503717503</c:v>
                </c:pt>
                <c:pt idx="1437">
                  <c:v>6.4952679503717503</c:v>
                </c:pt>
                <c:pt idx="1438">
                  <c:v>6.4097626688719442</c:v>
                </c:pt>
                <c:pt idx="1439">
                  <c:v>6.3373550449313827</c:v>
                </c:pt>
                <c:pt idx="1440">
                  <c:v>6.3554664677731161</c:v>
                </c:pt>
                <c:pt idx="1441">
                  <c:v>6.2614492832280275</c:v>
                </c:pt>
                <c:pt idx="1442">
                  <c:v>6.174102382523718</c:v>
                </c:pt>
                <c:pt idx="1443">
                  <c:v>6.1271020319841938</c:v>
                </c:pt>
                <c:pt idx="1444">
                  <c:v>5.9981798005345128</c:v>
                </c:pt>
                <c:pt idx="1445">
                  <c:v>6.072833798551347</c:v>
                </c:pt>
                <c:pt idx="1446">
                  <c:v>6.3684747989112607</c:v>
                </c:pt>
                <c:pt idx="1447">
                  <c:v>6.4913735861127853</c:v>
                </c:pt>
                <c:pt idx="1448">
                  <c:v>6.339440491646438</c:v>
                </c:pt>
                <c:pt idx="1449">
                  <c:v>6.2867311462911415</c:v>
                </c:pt>
                <c:pt idx="1450">
                  <c:v>6.4151401378696127</c:v>
                </c:pt>
                <c:pt idx="1451">
                  <c:v>6.6937095191259077</c:v>
                </c:pt>
                <c:pt idx="1452">
                  <c:v>6.7309543993728536</c:v>
                </c:pt>
                <c:pt idx="1453">
                  <c:v>6.7350515618092999</c:v>
                </c:pt>
                <c:pt idx="1454">
                  <c:v>6.7790244441064766</c:v>
                </c:pt>
                <c:pt idx="1455">
                  <c:v>6.5239611407117719</c:v>
                </c:pt>
                <c:pt idx="1456">
                  <c:v>6.3332728369766462</c:v>
                </c:pt>
                <c:pt idx="1457">
                  <c:v>6.3489523074519028</c:v>
                </c:pt>
                <c:pt idx="1458">
                  <c:v>6.2900212890014888</c:v>
                </c:pt>
                <c:pt idx="1459">
                  <c:v>6.2944054707243842</c:v>
                </c:pt>
                <c:pt idx="1460">
                  <c:v>5.9682108064213892</c:v>
                </c:pt>
                <c:pt idx="1461">
                  <c:v>6.1045488974517452</c:v>
                </c:pt>
                <c:pt idx="1462">
                  <c:v>6.0765235069926682</c:v>
                </c:pt>
                <c:pt idx="1463">
                  <c:v>6.1606836461959107</c:v>
                </c:pt>
                <c:pt idx="1464">
                  <c:v>6.2462862529684777</c:v>
                </c:pt>
                <c:pt idx="1465">
                  <c:v>6.5210534372166027</c:v>
                </c:pt>
                <c:pt idx="1466">
                  <c:v>6.4430306283736485</c:v>
                </c:pt>
                <c:pt idx="1467">
                  <c:v>6.3035293890502873</c:v>
                </c:pt>
                <c:pt idx="1468">
                  <c:v>6.3296419974665206</c:v>
                </c:pt>
                <c:pt idx="1469">
                  <c:v>6.3864079807472152</c:v>
                </c:pt>
                <c:pt idx="1470">
                  <c:v>6.3676625567614362</c:v>
                </c:pt>
                <c:pt idx="1471">
                  <c:v>6.339168515764853</c:v>
                </c:pt>
                <c:pt idx="1472">
                  <c:v>6.3828073670648626</c:v>
                </c:pt>
                <c:pt idx="1473">
                  <c:v>6.5901354354422228</c:v>
                </c:pt>
                <c:pt idx="1474">
                  <c:v>6.7708808574813144</c:v>
                </c:pt>
                <c:pt idx="1475">
                  <c:v>6.7708808574813144</c:v>
                </c:pt>
                <c:pt idx="1476">
                  <c:v>6.5122342865025091</c:v>
                </c:pt>
                <c:pt idx="1477">
                  <c:v>6.473731180880069</c:v>
                </c:pt>
                <c:pt idx="1478">
                  <c:v>6.3712717292763354</c:v>
                </c:pt>
                <c:pt idx="1479">
                  <c:v>6.3712717292763354</c:v>
                </c:pt>
                <c:pt idx="1480">
                  <c:v>6.2694295694613871</c:v>
                </c:pt>
                <c:pt idx="1481">
                  <c:v>5.9774480388767302</c:v>
                </c:pt>
                <c:pt idx="1482">
                  <c:v>5.9861910058584575</c:v>
                </c:pt>
                <c:pt idx="1483">
                  <c:v>5.8285859171074632</c:v>
                </c:pt>
                <c:pt idx="1484">
                  <c:v>5.6665990530110921</c:v>
                </c:pt>
                <c:pt idx="1485">
                  <c:v>5.8683840224104937</c:v>
                </c:pt>
                <c:pt idx="1486">
                  <c:v>6.2706211538548891</c:v>
                </c:pt>
                <c:pt idx="1487">
                  <c:v>6.2462862529684777</c:v>
                </c:pt>
                <c:pt idx="1488">
                  <c:v>6.3435187305672454</c:v>
                </c:pt>
                <c:pt idx="1489">
                  <c:v>6.3535671942582006</c:v>
                </c:pt>
                <c:pt idx="1490">
                  <c:v>6.3663085895573159</c:v>
                </c:pt>
                <c:pt idx="1491">
                  <c:v>6.1741954662265446</c:v>
                </c:pt>
                <c:pt idx="1492">
                  <c:v>6.1900921947342873</c:v>
                </c:pt>
                <c:pt idx="1493">
                  <c:v>6.1109474028925774</c:v>
                </c:pt>
                <c:pt idx="1494">
                  <c:v>6.1532161481226417</c:v>
                </c:pt>
                <c:pt idx="1495">
                  <c:v>5.8639753492448898</c:v>
                </c:pt>
                <c:pt idx="1496">
                  <c:v>5.8574051765520592</c:v>
                </c:pt>
                <c:pt idx="1497">
                  <c:v>5.7934763153129367</c:v>
                </c:pt>
                <c:pt idx="1498">
                  <c:v>5.7014819610101508</c:v>
                </c:pt>
                <c:pt idx="1499">
                  <c:v>5.6625407562411363</c:v>
                </c:pt>
                <c:pt idx="1500">
                  <c:v>5.8848138868411644</c:v>
                </c:pt>
                <c:pt idx="1501">
                  <c:v>5.8344990625026956</c:v>
                </c:pt>
                <c:pt idx="1502">
                  <c:v>5.8762134965870052</c:v>
                </c:pt>
                <c:pt idx="1503">
                  <c:v>5.7759907345421908</c:v>
                </c:pt>
                <c:pt idx="1504">
                  <c:v>5.7759907345421908</c:v>
                </c:pt>
                <c:pt idx="1505">
                  <c:v>5.571788544642275</c:v>
                </c:pt>
                <c:pt idx="1506">
                  <c:v>5.7264259379641418</c:v>
                </c:pt>
                <c:pt idx="1507">
                  <c:v>5.5207029370851162</c:v>
                </c:pt>
                <c:pt idx="1508">
                  <c:v>5.534115718125995</c:v>
                </c:pt>
                <c:pt idx="1509">
                  <c:v>5.5877534399566278</c:v>
                </c:pt>
                <c:pt idx="1510">
                  <c:v>5.6182174945521606</c:v>
                </c:pt>
                <c:pt idx="1511">
                  <c:v>5.39955298277488</c:v>
                </c:pt>
                <c:pt idx="1512">
                  <c:v>5.3601338120198667</c:v>
                </c:pt>
                <c:pt idx="1513">
                  <c:v>5.6246583548865789</c:v>
                </c:pt>
                <c:pt idx="1514">
                  <c:v>5.7934763153129367</c:v>
                </c:pt>
                <c:pt idx="1515">
                  <c:v>5.7219078885505903</c:v>
                </c:pt>
                <c:pt idx="1516">
                  <c:v>5.441855667274563</c:v>
                </c:pt>
                <c:pt idx="1517">
                  <c:v>5.4515630996884781</c:v>
                </c:pt>
                <c:pt idx="1518">
                  <c:v>5.301160141947677</c:v>
                </c:pt>
                <c:pt idx="1519">
                  <c:v>5.3687045463265273</c:v>
                </c:pt>
                <c:pt idx="1520">
                  <c:v>5.5373341027535306</c:v>
                </c:pt>
                <c:pt idx="1521">
                  <c:v>5.7922857934190093</c:v>
                </c:pt>
                <c:pt idx="1522">
                  <c:v>5.9573194620075389</c:v>
                </c:pt>
                <c:pt idx="1523">
                  <c:v>5.9465048171366925</c:v>
                </c:pt>
                <c:pt idx="1524">
                  <c:v>5.8952542768319791</c:v>
                </c:pt>
                <c:pt idx="1525">
                  <c:v>5.932571305837846</c:v>
                </c:pt>
                <c:pt idx="1526">
                  <c:v>5.9232640892724318</c:v>
                </c:pt>
                <c:pt idx="1527">
                  <c:v>6.1517215607437512</c:v>
                </c:pt>
                <c:pt idx="1528">
                  <c:v>6.1191239700564601</c:v>
                </c:pt>
                <c:pt idx="1529">
                  <c:v>6.0156883020255005</c:v>
                </c:pt>
                <c:pt idx="1530">
                  <c:v>5.9287920112484711</c:v>
                </c:pt>
                <c:pt idx="1531">
                  <c:v>5.981196589619687</c:v>
                </c:pt>
                <c:pt idx="1532">
                  <c:v>6.1010645387298705</c:v>
                </c:pt>
                <c:pt idx="1533">
                  <c:v>6.1741023825237198</c:v>
                </c:pt>
                <c:pt idx="1534">
                  <c:v>6.1236305060570606</c:v>
                </c:pt>
                <c:pt idx="1535">
                  <c:v>6.0807780808845102</c:v>
                </c:pt>
                <c:pt idx="1536">
                  <c:v>5.9019770698752572</c:v>
                </c:pt>
                <c:pt idx="1537">
                  <c:v>6.0320980509729551</c:v>
                </c:pt>
                <c:pt idx="1538">
                  <c:v>6.0325744108952781</c:v>
                </c:pt>
                <c:pt idx="1539">
                  <c:v>6.1615231733794484</c:v>
                </c:pt>
                <c:pt idx="1540">
                  <c:v>6.09173172441949</c:v>
                </c:pt>
                <c:pt idx="1541">
                  <c:v>6.0897501977720214</c:v>
                </c:pt>
                <c:pt idx="1542">
                  <c:v>6.1120758555803132</c:v>
                </c:pt>
                <c:pt idx="1543">
                  <c:v>5.8545590840784518</c:v>
                </c:pt>
                <c:pt idx="1544">
                  <c:v>5.6969441294252752</c:v>
                </c:pt>
                <c:pt idx="1545">
                  <c:v>5.9369290409084066</c:v>
                </c:pt>
                <c:pt idx="1546">
                  <c:v>5.9970299162245269</c:v>
                </c:pt>
                <c:pt idx="1547">
                  <c:v>6.2418682732199562</c:v>
                </c:pt>
                <c:pt idx="1548">
                  <c:v>6.2108544213882642</c:v>
                </c:pt>
                <c:pt idx="1549">
                  <c:v>6.17828976075225</c:v>
                </c:pt>
                <c:pt idx="1550">
                  <c:v>6.0568190885368507</c:v>
                </c:pt>
                <c:pt idx="1551">
                  <c:v>5.9499830966629403</c:v>
                </c:pt>
                <c:pt idx="1552">
                  <c:v>5.8427674123212165</c:v>
                </c:pt>
                <c:pt idx="1553">
                  <c:v>5.8574051765520592</c:v>
                </c:pt>
                <c:pt idx="1554">
                  <c:v>5.7770851338437224</c:v>
                </c:pt>
                <c:pt idx="1555">
                  <c:v>5.7564556464195409</c:v>
                </c:pt>
                <c:pt idx="1556">
                  <c:v>5.8569145696229912</c:v>
                </c:pt>
                <c:pt idx="1557">
                  <c:v>5.7183913821983179</c:v>
                </c:pt>
                <c:pt idx="1558">
                  <c:v>5.7219078885505912</c:v>
                </c:pt>
                <c:pt idx="1559">
                  <c:v>5.8427674123212165</c:v>
                </c:pt>
                <c:pt idx="1560">
                  <c:v>5.8427674123212165</c:v>
                </c:pt>
                <c:pt idx="1561">
                  <c:v>5.9732160805404986</c:v>
                </c:pt>
                <c:pt idx="1562">
                  <c:v>5.6780480699847438</c:v>
                </c:pt>
                <c:pt idx="1563">
                  <c:v>5.4519847698828441</c:v>
                </c:pt>
                <c:pt idx="1564">
                  <c:v>5.4414332121508995</c:v>
                </c:pt>
                <c:pt idx="1565">
                  <c:v>5.4423836900649567</c:v>
                </c:pt>
                <c:pt idx="1566">
                  <c:v>5.4246139753543021</c:v>
                </c:pt>
                <c:pt idx="1567">
                  <c:v>5.3558433015972717</c:v>
                </c:pt>
                <c:pt idx="1568">
                  <c:v>5.4376296390940446</c:v>
                </c:pt>
                <c:pt idx="1569">
                  <c:v>5.1734290191411691</c:v>
                </c:pt>
                <c:pt idx="1570">
                  <c:v>5.1888474569054823</c:v>
                </c:pt>
                <c:pt idx="1571">
                  <c:v>5.4312844313949027</c:v>
                </c:pt>
                <c:pt idx="1572">
                  <c:v>5.4177231507277144</c:v>
                </c:pt>
                <c:pt idx="1573">
                  <c:v>5.4373125545706831</c:v>
                </c:pt>
                <c:pt idx="1574">
                  <c:v>5.4177231507277144</c:v>
                </c:pt>
                <c:pt idx="1575">
                  <c:v>5.1238679714162965</c:v>
                </c:pt>
                <c:pt idx="1576">
                  <c:v>5.0623696236936864</c:v>
                </c:pt>
                <c:pt idx="1577">
                  <c:v>4.766863592106148</c:v>
                </c:pt>
                <c:pt idx="1578">
                  <c:v>4.7002078701892005</c:v>
                </c:pt>
                <c:pt idx="1579">
                  <c:v>4.5814468426921424</c:v>
                </c:pt>
                <c:pt idx="1580">
                  <c:v>4.7538248363515301</c:v>
                </c:pt>
                <c:pt idx="1581">
                  <c:v>4.753824836351531</c:v>
                </c:pt>
                <c:pt idx="1582">
                  <c:v>4.7294625584683532</c:v>
                </c:pt>
                <c:pt idx="1583">
                  <c:v>4.7989462444865199</c:v>
                </c:pt>
                <c:pt idx="1584">
                  <c:v>4.780347700526713</c:v>
                </c:pt>
                <c:pt idx="1585">
                  <c:v>4.8735740620135282</c:v>
                </c:pt>
                <c:pt idx="1586">
                  <c:v>4.7628833148907148</c:v>
                </c:pt>
                <c:pt idx="1587">
                  <c:v>4.6337095687813763</c:v>
                </c:pt>
                <c:pt idx="1588">
                  <c:v>4.6337095687813763</c:v>
                </c:pt>
                <c:pt idx="1589">
                  <c:v>4.2237696297333107</c:v>
                </c:pt>
                <c:pt idx="1590">
                  <c:v>4.2540041988857897</c:v>
                </c:pt>
                <c:pt idx="1591">
                  <c:v>4.0826236774841282</c:v>
                </c:pt>
                <c:pt idx="1592">
                  <c:v>4.1117996731022943</c:v>
                </c:pt>
                <c:pt idx="1593">
                  <c:v>4.3179656768213075</c:v>
                </c:pt>
                <c:pt idx="1594">
                  <c:v>4.280536006827548</c:v>
                </c:pt>
                <c:pt idx="1595">
                  <c:v>4.4931621100430412</c:v>
                </c:pt>
                <c:pt idx="1596">
                  <c:v>4.5008300639290759</c:v>
                </c:pt>
                <c:pt idx="1597">
                  <c:v>4.5914713540870871</c:v>
                </c:pt>
                <c:pt idx="1598">
                  <c:v>4.7749345545253297</c:v>
                </c:pt>
                <c:pt idx="1599">
                  <c:v>4.8261738492296882</c:v>
                </c:pt>
                <c:pt idx="1600">
                  <c:v>4.8333135156153366</c:v>
                </c:pt>
                <c:pt idx="1601">
                  <c:v>4.6910283655544847</c:v>
                </c:pt>
                <c:pt idx="1602">
                  <c:v>4.853722353993394</c:v>
                </c:pt>
                <c:pt idx="1603">
                  <c:v>4.8953414401951525</c:v>
                </c:pt>
                <c:pt idx="1604">
                  <c:v>4.8262929302183739</c:v>
                </c:pt>
                <c:pt idx="1605">
                  <c:v>4.8046911941626771</c:v>
                </c:pt>
                <c:pt idx="1606">
                  <c:v>4.8161605349957526</c:v>
                </c:pt>
                <c:pt idx="1607">
                  <c:v>4.8528934371819537</c:v>
                </c:pt>
                <c:pt idx="1608">
                  <c:v>4.7396590400673295</c:v>
                </c:pt>
                <c:pt idx="1609">
                  <c:v>4.686615816993319</c:v>
                </c:pt>
                <c:pt idx="1610">
                  <c:v>4.5737883892769959</c:v>
                </c:pt>
                <c:pt idx="1611">
                  <c:v>4.8844110458035583</c:v>
                </c:pt>
                <c:pt idx="1612">
                  <c:v>5.0887525287491204</c:v>
                </c:pt>
                <c:pt idx="1613">
                  <c:v>5.0441726934076652</c:v>
                </c:pt>
                <c:pt idx="1614">
                  <c:v>5.3777959848968253</c:v>
                </c:pt>
                <c:pt idx="1615">
                  <c:v>5.2959537797059379</c:v>
                </c:pt>
                <c:pt idx="1616">
                  <c:v>5.5253855121132744</c:v>
                </c:pt>
                <c:pt idx="1617">
                  <c:v>5.6390469562429297</c:v>
                </c:pt>
                <c:pt idx="1618">
                  <c:v>5.6120764694407521</c:v>
                </c:pt>
                <c:pt idx="1619">
                  <c:v>5.7818582702684145</c:v>
                </c:pt>
                <c:pt idx="1620">
                  <c:v>5.8293746830515456</c:v>
                </c:pt>
                <c:pt idx="1621">
                  <c:v>6.1217531858909116</c:v>
                </c:pt>
                <c:pt idx="1622">
                  <c:v>6.2935836692856357</c:v>
                </c:pt>
                <c:pt idx="1623">
                  <c:v>6.0670582164916498</c:v>
                </c:pt>
                <c:pt idx="1624">
                  <c:v>5.9778326138008149</c:v>
                </c:pt>
                <c:pt idx="1625">
                  <c:v>5.8526936523711672</c:v>
                </c:pt>
                <c:pt idx="1626">
                  <c:v>6.0549210536155833</c:v>
                </c:pt>
                <c:pt idx="1627">
                  <c:v>6.0397153011992408</c:v>
                </c:pt>
                <c:pt idx="1628">
                  <c:v>5.9708102224609068</c:v>
                </c:pt>
                <c:pt idx="1629">
                  <c:v>5.9797551174247774</c:v>
                </c:pt>
                <c:pt idx="1630">
                  <c:v>6.1458330898110223</c:v>
                </c:pt>
                <c:pt idx="1631">
                  <c:v>6.2680543829107318</c:v>
                </c:pt>
                <c:pt idx="1632">
                  <c:v>6.0439957856927116</c:v>
                </c:pt>
                <c:pt idx="1633">
                  <c:v>6.0499833760577157</c:v>
                </c:pt>
                <c:pt idx="1634">
                  <c:v>6.0499833760577157</c:v>
                </c:pt>
                <c:pt idx="1635">
                  <c:v>6.0670582164916516</c:v>
                </c:pt>
                <c:pt idx="1636">
                  <c:v>5.9797551174247774</c:v>
                </c:pt>
                <c:pt idx="1637">
                  <c:v>6.1203448178722066</c:v>
                </c:pt>
                <c:pt idx="1638">
                  <c:v>6.0670582164916516</c:v>
                </c:pt>
                <c:pt idx="1639">
                  <c:v>6.1662783350856882</c:v>
                </c:pt>
                <c:pt idx="1640">
                  <c:v>6.1662783350856882</c:v>
                </c:pt>
                <c:pt idx="1641">
                  <c:v>5.9905097359533386</c:v>
                </c:pt>
                <c:pt idx="1642">
                  <c:v>5.7711131618117451</c:v>
                </c:pt>
                <c:pt idx="1643">
                  <c:v>5.7516614291352637</c:v>
                </c:pt>
                <c:pt idx="1644">
                  <c:v>5.5646668580768885</c:v>
                </c:pt>
                <c:pt idx="1645">
                  <c:v>5.6771370476210334</c:v>
                </c:pt>
                <c:pt idx="1646">
                  <c:v>5.5646668580768885</c:v>
                </c:pt>
                <c:pt idx="1647">
                  <c:v>5.5543293665971651</c:v>
                </c:pt>
                <c:pt idx="1648">
                  <c:v>5.5593971392340844</c:v>
                </c:pt>
                <c:pt idx="1649">
                  <c:v>5.6552284830413617</c:v>
                </c:pt>
                <c:pt idx="1650">
                  <c:v>5.7391576938155957</c:v>
                </c:pt>
                <c:pt idx="1651">
                  <c:v>5.4802676333673102</c:v>
                </c:pt>
                <c:pt idx="1652">
                  <c:v>5.4329772113741051</c:v>
                </c:pt>
                <c:pt idx="1653">
                  <c:v>5.3456395378818353</c:v>
                </c:pt>
                <c:pt idx="1654">
                  <c:v>5.2832417773712486</c:v>
                </c:pt>
                <c:pt idx="1655">
                  <c:v>5.177426689624566</c:v>
                </c:pt>
                <c:pt idx="1656">
                  <c:v>5.1157858015964761</c:v>
                </c:pt>
                <c:pt idx="1657">
                  <c:v>5.11207720338155</c:v>
                </c:pt>
                <c:pt idx="1658">
                  <c:v>4.7265452378092681</c:v>
                </c:pt>
                <c:pt idx="1659">
                  <c:v>4.62824909173787</c:v>
                </c:pt>
                <c:pt idx="1660">
                  <c:v>4.5480828346968751</c:v>
                </c:pt>
                <c:pt idx="1661">
                  <c:v>4.792834690224157</c:v>
                </c:pt>
                <c:pt idx="1662">
                  <c:v>4.8375922575775974</c:v>
                </c:pt>
                <c:pt idx="1663">
                  <c:v>4.8546695141846712</c:v>
                </c:pt>
                <c:pt idx="1664">
                  <c:v>4.9960904255457468</c:v>
                </c:pt>
                <c:pt idx="1665">
                  <c:v>4.9975856239753931</c:v>
                </c:pt>
                <c:pt idx="1666">
                  <c:v>5.2959537797059388</c:v>
                </c:pt>
                <c:pt idx="1667">
                  <c:v>5.2357085173031654</c:v>
                </c:pt>
                <c:pt idx="1668">
                  <c:v>5.2172349218609151</c:v>
                </c:pt>
                <c:pt idx="1669">
                  <c:v>5.169428257142866</c:v>
                </c:pt>
                <c:pt idx="1670">
                  <c:v>5.2004641702646985</c:v>
                </c:pt>
                <c:pt idx="1671">
                  <c:v>5.4186777875711751</c:v>
                </c:pt>
                <c:pt idx="1672">
                  <c:v>5.4439674511513569</c:v>
                </c:pt>
                <c:pt idx="1673">
                  <c:v>5.5256975426938926</c:v>
                </c:pt>
                <c:pt idx="1674">
                  <c:v>5.852202650461531</c:v>
                </c:pt>
                <c:pt idx="1675">
                  <c:v>5.6671061357647954</c:v>
                </c:pt>
                <c:pt idx="1676">
                  <c:v>5.7029937691562038</c:v>
                </c:pt>
                <c:pt idx="1677">
                  <c:v>5.8290789083302208</c:v>
                </c:pt>
                <c:pt idx="1678">
                  <c:v>5.9268529766560407</c:v>
                </c:pt>
                <c:pt idx="1679">
                  <c:v>5.8172355878937445</c:v>
                </c:pt>
                <c:pt idx="1680">
                  <c:v>5.6054161000921612</c:v>
                </c:pt>
                <c:pt idx="1681">
                  <c:v>5.3760858299114531</c:v>
                </c:pt>
                <c:pt idx="1682">
                  <c:v>5.1107279549869462</c:v>
                </c:pt>
                <c:pt idx="1683">
                  <c:v>5.3601338120198658</c:v>
                </c:pt>
                <c:pt idx="1684">
                  <c:v>5.2452496297279225</c:v>
                </c:pt>
                <c:pt idx="1685">
                  <c:v>5.4262029229397166</c:v>
                </c:pt>
                <c:pt idx="1686">
                  <c:v>5.3994465446474926</c:v>
                </c:pt>
                <c:pt idx="1687">
                  <c:v>5.3914576963891703</c:v>
                </c:pt>
                <c:pt idx="1688">
                  <c:v>5.4956618209797714</c:v>
                </c:pt>
                <c:pt idx="1689">
                  <c:v>5.5053787701028201</c:v>
                </c:pt>
                <c:pt idx="1690">
                  <c:v>5.5469780527095454</c:v>
                </c:pt>
                <c:pt idx="1691">
                  <c:v>5.5527770829858936</c:v>
                </c:pt>
                <c:pt idx="1692">
                  <c:v>5.8448326721572839</c:v>
                </c:pt>
                <c:pt idx="1693">
                  <c:v>6.0724552401543619</c:v>
                </c:pt>
                <c:pt idx="1694">
                  <c:v>6.0309546336466058</c:v>
                </c:pt>
                <c:pt idx="1695">
                  <c:v>6.0328602087940491</c:v>
                </c:pt>
                <c:pt idx="1696">
                  <c:v>6.1360064139995538</c:v>
                </c:pt>
                <c:pt idx="1697">
                  <c:v>6.0912599908280116</c:v>
                </c:pt>
                <c:pt idx="1698">
                  <c:v>6.1554573487608373</c:v>
                </c:pt>
                <c:pt idx="1699">
                  <c:v>6.1116056922817785</c:v>
                </c:pt>
                <c:pt idx="1700">
                  <c:v>6.7163379458078829</c:v>
                </c:pt>
                <c:pt idx="1701">
                  <c:v>6.8263350763577844</c:v>
                </c:pt>
                <c:pt idx="1702">
                  <c:v>7.1425550018199369</c:v>
                </c:pt>
                <c:pt idx="1703">
                  <c:v>7.0538975938390136</c:v>
                </c:pt>
                <c:pt idx="1704">
                  <c:v>7.2479882266276707</c:v>
                </c:pt>
                <c:pt idx="1705">
                  <c:v>7.3284205069330444</c:v>
                </c:pt>
                <c:pt idx="1706">
                  <c:v>7.498735525590873</c:v>
                </c:pt>
                <c:pt idx="1707">
                  <c:v>7.7129537255459919</c:v>
                </c:pt>
                <c:pt idx="1708">
                  <c:v>7.6157731058639087</c:v>
                </c:pt>
                <c:pt idx="1709">
                  <c:v>7.4728627821551452</c:v>
                </c:pt>
                <c:pt idx="1710">
                  <c:v>7.4728627821551452</c:v>
                </c:pt>
                <c:pt idx="1711">
                  <c:v>7.4726320587231827</c:v>
                </c:pt>
                <c:pt idx="1712">
                  <c:v>7.595294974332889</c:v>
                </c:pt>
                <c:pt idx="1713">
                  <c:v>7.3585512067300956</c:v>
                </c:pt>
                <c:pt idx="1714">
                  <c:v>7.4135632148265849</c:v>
                </c:pt>
                <c:pt idx="1715">
                  <c:v>7.3769600940960132</c:v>
                </c:pt>
                <c:pt idx="1716">
                  <c:v>7.3030461287479698</c:v>
                </c:pt>
                <c:pt idx="1717">
                  <c:v>7.2118197999940481</c:v>
                </c:pt>
                <c:pt idx="1718">
                  <c:v>6.8275978172431175</c:v>
                </c:pt>
                <c:pt idx="1719">
                  <c:v>6.9150011843318122</c:v>
                </c:pt>
                <c:pt idx="1720">
                  <c:v>6.7705413288050664</c:v>
                </c:pt>
                <c:pt idx="1721">
                  <c:v>6.9355820844810649</c:v>
                </c:pt>
                <c:pt idx="1722">
                  <c:v>6.1596574020269026</c:v>
                </c:pt>
                <c:pt idx="1723">
                  <c:v>6.2056703769686496</c:v>
                </c:pt>
                <c:pt idx="1724">
                  <c:v>6.2752936461035498</c:v>
                </c:pt>
                <c:pt idx="1725">
                  <c:v>6.0454219403430898</c:v>
                </c:pt>
                <c:pt idx="1726">
                  <c:v>5.0510042247221394</c:v>
                </c:pt>
                <c:pt idx="1727">
                  <c:v>4.9555495421161746</c:v>
                </c:pt>
                <c:pt idx="1728">
                  <c:v>4.283757079088832</c:v>
                </c:pt>
                <c:pt idx="1729">
                  <c:v>3.7563738934757565</c:v>
                </c:pt>
                <c:pt idx="1730">
                  <c:v>3.6685992816952862</c:v>
                </c:pt>
                <c:pt idx="1731">
                  <c:v>3.7777327020073952</c:v>
                </c:pt>
                <c:pt idx="1732">
                  <c:v>3.7368928023281534</c:v>
                </c:pt>
                <c:pt idx="1733">
                  <c:v>3.6952905723086382</c:v>
                </c:pt>
                <c:pt idx="1734">
                  <c:v>3.6547874444853585</c:v>
                </c:pt>
                <c:pt idx="1735">
                  <c:v>3.6458132183353142</c:v>
                </c:pt>
                <c:pt idx="1736">
                  <c:v>3.7183916928706151</c:v>
                </c:pt>
                <c:pt idx="1737">
                  <c:v>3.7183916928706151</c:v>
                </c:pt>
                <c:pt idx="1738">
                  <c:v>3.7845724336769044</c:v>
                </c:pt>
                <c:pt idx="1739">
                  <c:v>3.8092446531545079</c:v>
                </c:pt>
                <c:pt idx="1740">
                  <c:v>3.6811105270887583</c:v>
                </c:pt>
                <c:pt idx="1741">
                  <c:v>3.5501335574682353</c:v>
                </c:pt>
                <c:pt idx="1742">
                  <c:v>3.5397577681913868</c:v>
                </c:pt>
                <c:pt idx="1743">
                  <c:v>3.6079414323559003</c:v>
                </c:pt>
                <c:pt idx="1744">
                  <c:v>3.7447280950353563</c:v>
                </c:pt>
                <c:pt idx="1745">
                  <c:v>5.0995830345663347</c:v>
                </c:pt>
                <c:pt idx="1746">
                  <c:v>6.0362887281172526</c:v>
                </c:pt>
                <c:pt idx="1747">
                  <c:v>6.2793220221192083</c:v>
                </c:pt>
                <c:pt idx="1748">
                  <c:v>6.8427325320917767</c:v>
                </c:pt>
                <c:pt idx="1749">
                  <c:v>6.8000169032920406</c:v>
                </c:pt>
                <c:pt idx="1750">
                  <c:v>6.7073471467582797</c:v>
                </c:pt>
                <c:pt idx="1751">
                  <c:v>6.6305631597996229</c:v>
                </c:pt>
                <c:pt idx="1752">
                  <c:v>6.6575512394383516</c:v>
                </c:pt>
                <c:pt idx="1753">
                  <c:v>7.1280569163201015</c:v>
                </c:pt>
                <c:pt idx="1754">
                  <c:v>7.0502302888938866</c:v>
                </c:pt>
                <c:pt idx="1755">
                  <c:v>7.3237921211953276</c:v>
                </c:pt>
                <c:pt idx="1756">
                  <c:v>7.2098272652957709</c:v>
                </c:pt>
                <c:pt idx="1757">
                  <c:v>7.3266165687053393</c:v>
                </c:pt>
                <c:pt idx="1758">
                  <c:v>7.2229678365486363</c:v>
                </c:pt>
                <c:pt idx="1759">
                  <c:v>7.0287586582455699</c:v>
                </c:pt>
                <c:pt idx="1760">
                  <c:v>7.0058268031262578</c:v>
                </c:pt>
                <c:pt idx="1761">
                  <c:v>7.0188580136723058</c:v>
                </c:pt>
                <c:pt idx="1762">
                  <c:v>6.9999178977122751</c:v>
                </c:pt>
                <c:pt idx="1763">
                  <c:v>7.1365177122649435</c:v>
                </c:pt>
                <c:pt idx="1764">
                  <c:v>7.3629235822573165</c:v>
                </c:pt>
                <c:pt idx="1765">
                  <c:v>7.2926510008836747</c:v>
                </c:pt>
                <c:pt idx="1766">
                  <c:v>7.1132869037254931</c:v>
                </c:pt>
                <c:pt idx="1767">
                  <c:v>6.8397922936803912</c:v>
                </c:pt>
                <c:pt idx="1768">
                  <c:v>6.4094936769921462</c:v>
                </c:pt>
                <c:pt idx="1769">
                  <c:v>6.3612512323739665</c:v>
                </c:pt>
                <c:pt idx="1770">
                  <c:v>6.258786926641891</c:v>
                </c:pt>
                <c:pt idx="1771">
                  <c:v>6.0818176351421815</c:v>
                </c:pt>
                <c:pt idx="1772">
                  <c:v>5.8219758071337413</c:v>
                </c:pt>
                <c:pt idx="1773">
                  <c:v>5.3213946836623904</c:v>
                </c:pt>
                <c:pt idx="1774">
                  <c:v>5.2232900188185658</c:v>
                </c:pt>
                <c:pt idx="1775">
                  <c:v>5.0130863230906586</c:v>
                </c:pt>
                <c:pt idx="1776">
                  <c:v>4.9181811421628661</c:v>
                </c:pt>
                <c:pt idx="1777">
                  <c:v>4.9304356199324673</c:v>
                </c:pt>
                <c:pt idx="1778">
                  <c:v>5.0264815966418617</c:v>
                </c:pt>
                <c:pt idx="1779">
                  <c:v>5.0264815966418608</c:v>
                </c:pt>
                <c:pt idx="1780">
                  <c:v>5.1795353273142712</c:v>
                </c:pt>
                <c:pt idx="1781">
                  <c:v>5.1507169459669653</c:v>
                </c:pt>
                <c:pt idx="1782">
                  <c:v>5.1255501526973752</c:v>
                </c:pt>
                <c:pt idx="1783">
                  <c:v>5.1738733572867224</c:v>
                </c:pt>
                <c:pt idx="1784">
                  <c:v>5.1157858015964752</c:v>
                </c:pt>
                <c:pt idx="1785">
                  <c:v>5.2637340882423134</c:v>
                </c:pt>
                <c:pt idx="1786">
                  <c:v>5.2232900188185658</c:v>
                </c:pt>
                <c:pt idx="1787">
                  <c:v>5.4032769963097929</c:v>
                </c:pt>
                <c:pt idx="1788">
                  <c:v>5.61084745786252</c:v>
                </c:pt>
                <c:pt idx="1789">
                  <c:v>5.7977403446039455</c:v>
                </c:pt>
                <c:pt idx="1790">
                  <c:v>6.049223375630616</c:v>
                </c:pt>
                <c:pt idx="1791">
                  <c:v>6.2900212890014897</c:v>
                </c:pt>
                <c:pt idx="1792">
                  <c:v>6.3339987551218435</c:v>
                </c:pt>
                <c:pt idx="1793">
                  <c:v>6.4419601500407202</c:v>
                </c:pt>
                <c:pt idx="1794">
                  <c:v>6.484730074407957</c:v>
                </c:pt>
                <c:pt idx="1795">
                  <c:v>6.5320606313746064</c:v>
                </c:pt>
                <c:pt idx="1796">
                  <c:v>6.3173725077993339</c:v>
                </c:pt>
                <c:pt idx="1797">
                  <c:v>6.3543812381332803</c:v>
                </c:pt>
                <c:pt idx="1798">
                  <c:v>6.3169176245904985</c:v>
                </c:pt>
                <c:pt idx="1799">
                  <c:v>6.2702545366215405</c:v>
                </c:pt>
                <c:pt idx="1800">
                  <c:v>6.3922546523296377</c:v>
                </c:pt>
                <c:pt idx="1801">
                  <c:v>6.5373375015517894</c:v>
                </c:pt>
                <c:pt idx="1802">
                  <c:v>6.6751382955237579</c:v>
                </c:pt>
                <c:pt idx="1803">
                  <c:v>6.6003308868640786</c:v>
                </c:pt>
                <c:pt idx="1804">
                  <c:v>6.6523697272855893</c:v>
                </c:pt>
                <c:pt idx="1805">
                  <c:v>6.7350515618092999</c:v>
                </c:pt>
                <c:pt idx="1806">
                  <c:v>6.6627287220018578</c:v>
                </c:pt>
                <c:pt idx="1807">
                  <c:v>6.6743633731451579</c:v>
                </c:pt>
                <c:pt idx="1808">
                  <c:v>6.5058770954890619</c:v>
                </c:pt>
                <c:pt idx="1809">
                  <c:v>6.5058770954890628</c:v>
                </c:pt>
                <c:pt idx="1810">
                  <c:v>6.3417065037188802</c:v>
                </c:pt>
                <c:pt idx="1811">
                  <c:v>6.4612016248358639</c:v>
                </c:pt>
                <c:pt idx="1812">
                  <c:v>6.4612016248358639</c:v>
                </c:pt>
                <c:pt idx="1813">
                  <c:v>6.5098510673855063</c:v>
                </c:pt>
                <c:pt idx="1814">
                  <c:v>6.5731078742431119</c:v>
                </c:pt>
                <c:pt idx="1815">
                  <c:v>6.4545270578276996</c:v>
                </c:pt>
                <c:pt idx="1816">
                  <c:v>6.4644029691168248</c:v>
                </c:pt>
                <c:pt idx="1817">
                  <c:v>6.4992484092437541</c:v>
                </c:pt>
                <c:pt idx="1818">
                  <c:v>6.6051181826593046</c:v>
                </c:pt>
                <c:pt idx="1819">
                  <c:v>6.4473107643384173</c:v>
                </c:pt>
                <c:pt idx="1820">
                  <c:v>6.2449059700457177</c:v>
                </c:pt>
                <c:pt idx="1821">
                  <c:v>6.2449059700457168</c:v>
                </c:pt>
                <c:pt idx="1822">
                  <c:v>6.3652252084292336</c:v>
                </c:pt>
                <c:pt idx="1823">
                  <c:v>6.2030767301025884</c:v>
                </c:pt>
                <c:pt idx="1824">
                  <c:v>6.0142550966695856</c:v>
                </c:pt>
                <c:pt idx="1825">
                  <c:v>6.1303840985212581</c:v>
                </c:pt>
                <c:pt idx="1826">
                  <c:v>6.0932410264896433</c:v>
                </c:pt>
                <c:pt idx="1827">
                  <c:v>6.2186223850476807</c:v>
                </c:pt>
                <c:pt idx="1828">
                  <c:v>6.2462862529684777</c:v>
                </c:pt>
                <c:pt idx="1829">
                  <c:v>6.2460102207858199</c:v>
                </c:pt>
                <c:pt idx="1830">
                  <c:v>6.0076579482347778</c:v>
                </c:pt>
                <c:pt idx="1831">
                  <c:v>5.8941818185686152</c:v>
                </c:pt>
                <c:pt idx="1832">
                  <c:v>6.0625096279103525</c:v>
                </c:pt>
                <c:pt idx="1833">
                  <c:v>5.9615627049505626</c:v>
                </c:pt>
                <c:pt idx="1834">
                  <c:v>5.9093730340174346</c:v>
                </c:pt>
                <c:pt idx="1835">
                  <c:v>5.8167415929041137</c:v>
                </c:pt>
                <c:pt idx="1836">
                  <c:v>5.7989297466771017</c:v>
                </c:pt>
                <c:pt idx="1837">
                  <c:v>5.8167415929041137</c:v>
                </c:pt>
                <c:pt idx="1838">
                  <c:v>5.8338095043747638</c:v>
                </c:pt>
                <c:pt idx="1839">
                  <c:v>5.6512637178949099</c:v>
                </c:pt>
                <c:pt idx="1840">
                  <c:v>5.7279311624965308</c:v>
                </c:pt>
                <c:pt idx="1841">
                  <c:v>5.6503483770126222</c:v>
                </c:pt>
                <c:pt idx="1842">
                  <c:v>5.6405754984773484</c:v>
                </c:pt>
                <c:pt idx="1843">
                  <c:v>5.5019327847417472</c:v>
                </c:pt>
                <c:pt idx="1844">
                  <c:v>5.491895805660362</c:v>
                </c:pt>
                <c:pt idx="1845">
                  <c:v>5.642714761979156</c:v>
                </c:pt>
                <c:pt idx="1846">
                  <c:v>5.6026471575866523</c:v>
                </c:pt>
                <c:pt idx="1847">
                  <c:v>5.4058291228771846</c:v>
                </c:pt>
                <c:pt idx="1848">
                  <c:v>5.3464995530968071</c:v>
                </c:pt>
                <c:pt idx="1849">
                  <c:v>5.412310361414602</c:v>
                </c:pt>
                <c:pt idx="1850">
                  <c:v>5.3802533803513013</c:v>
                </c:pt>
                <c:pt idx="1851">
                  <c:v>5.2619868630704918</c:v>
                </c:pt>
                <c:pt idx="1852">
                  <c:v>5.2619868630704918</c:v>
                </c:pt>
                <c:pt idx="1853">
                  <c:v>5.5095528324713525</c:v>
                </c:pt>
                <c:pt idx="1854">
                  <c:v>5.8187173212287773</c:v>
                </c:pt>
                <c:pt idx="1855">
                  <c:v>5.6226144366698554</c:v>
                </c:pt>
                <c:pt idx="1856">
                  <c:v>5.6226144366698554</c:v>
                </c:pt>
                <c:pt idx="1857">
                  <c:v>5.3472519529451628</c:v>
                </c:pt>
                <c:pt idx="1858">
                  <c:v>5.5028728129407369</c:v>
                </c:pt>
                <c:pt idx="1859">
                  <c:v>5.7879184513951127</c:v>
                </c:pt>
                <c:pt idx="1860">
                  <c:v>6.0328602087940482</c:v>
                </c:pt>
                <c:pt idx="1861">
                  <c:v>6.2793220221192083</c:v>
                </c:pt>
                <c:pt idx="1862">
                  <c:v>6.3012496480013223</c:v>
                </c:pt>
                <c:pt idx="1863">
                  <c:v>6.3766816578465981</c:v>
                </c:pt>
                <c:pt idx="1864">
                  <c:v>6.3766816578465981</c:v>
                </c:pt>
                <c:pt idx="1865">
                  <c:v>6.3604380677586274</c:v>
                </c:pt>
                <c:pt idx="1866">
                  <c:v>6.4620021095917179</c:v>
                </c:pt>
                <c:pt idx="1867">
                  <c:v>6.6519377524198884</c:v>
                </c:pt>
                <c:pt idx="1868">
                  <c:v>6.6419945764825039</c:v>
                </c:pt>
                <c:pt idx="1869">
                  <c:v>6.7819910276297604</c:v>
                </c:pt>
                <c:pt idx="1870">
                  <c:v>6.7701168940145111</c:v>
                </c:pt>
                <c:pt idx="1871">
                  <c:v>6.5998955059648612</c:v>
                </c:pt>
                <c:pt idx="1872">
                  <c:v>6.6124230000079764</c:v>
                </c:pt>
                <c:pt idx="1873">
                  <c:v>6.8000169032920397</c:v>
                </c:pt>
                <c:pt idx="1874">
                  <c:v>7.0534902096714536</c:v>
                </c:pt>
                <c:pt idx="1875">
                  <c:v>7.0534902096714536</c:v>
                </c:pt>
                <c:pt idx="1876">
                  <c:v>7.1413479522225094</c:v>
                </c:pt>
                <c:pt idx="1877">
                  <c:v>7.3001338359641403</c:v>
                </c:pt>
                <c:pt idx="1878">
                  <c:v>7.227740302823384</c:v>
                </c:pt>
                <c:pt idx="1879">
                  <c:v>7.4124002968619775</c:v>
                </c:pt>
                <c:pt idx="1880">
                  <c:v>7.4532257924098655</c:v>
                </c:pt>
                <c:pt idx="1881">
                  <c:v>7.5871185450137757</c:v>
                </c:pt>
                <c:pt idx="1882">
                  <c:v>7.6221094012181387</c:v>
                </c:pt>
                <c:pt idx="1883">
                  <c:v>7.4772451746815713</c:v>
                </c:pt>
                <c:pt idx="1884">
                  <c:v>7.4061949837910044</c:v>
                </c:pt>
                <c:pt idx="1885">
                  <c:v>7.4417276451659786</c:v>
                </c:pt>
                <c:pt idx="1886">
                  <c:v>7.5106055283378348</c:v>
                </c:pt>
                <c:pt idx="1887">
                  <c:v>7.5710428380225396</c:v>
                </c:pt>
                <c:pt idx="1888">
                  <c:v>7.6064098801187292</c:v>
                </c:pt>
                <c:pt idx="1889">
                  <c:v>7.3503459923255692</c:v>
                </c:pt>
                <c:pt idx="1890">
                  <c:v>7.2916264366706294</c:v>
                </c:pt>
                <c:pt idx="1891">
                  <c:v>7.3672153537795753</c:v>
                </c:pt>
                <c:pt idx="1892">
                  <c:v>7.0482736127040528</c:v>
                </c:pt>
                <c:pt idx="1893">
                  <c:v>6.8952757440298855</c:v>
                </c:pt>
                <c:pt idx="1894">
                  <c:v>6.8115014295042124</c:v>
                </c:pt>
                <c:pt idx="1895">
                  <c:v>6.7924907828044025</c:v>
                </c:pt>
                <c:pt idx="1896">
                  <c:v>6.3395311476807015</c:v>
                </c:pt>
                <c:pt idx="1897">
                  <c:v>6.3771322780662159</c:v>
                </c:pt>
                <c:pt idx="1898">
                  <c:v>6.2150170379178524</c:v>
                </c:pt>
                <c:pt idx="1899">
                  <c:v>6.3680235660627886</c:v>
                </c:pt>
                <c:pt idx="1900">
                  <c:v>6.4598672631464549</c:v>
                </c:pt>
                <c:pt idx="1901">
                  <c:v>6.290295389880673</c:v>
                </c:pt>
                <c:pt idx="1902">
                  <c:v>6.4363372178288794</c:v>
                </c:pt>
                <c:pt idx="1903">
                  <c:v>5.8053681063800537</c:v>
                </c:pt>
                <c:pt idx="1904">
                  <c:v>4.9822674060860193</c:v>
                </c:pt>
                <c:pt idx="1905">
                  <c:v>4.9929835827360032</c:v>
                </c:pt>
                <c:pt idx="1906">
                  <c:v>4.2647984415592761</c:v>
                </c:pt>
                <c:pt idx="1907">
                  <c:v>4.2798646449753939</c:v>
                </c:pt>
                <c:pt idx="1908">
                  <c:v>4.2078197592621258</c:v>
                </c:pt>
                <c:pt idx="1909">
                  <c:v>4.3071712454847946</c:v>
                </c:pt>
                <c:pt idx="1910">
                  <c:v>4.3286004215214193</c:v>
                </c:pt>
                <c:pt idx="1911">
                  <c:v>4.3449005649773174</c:v>
                </c:pt>
                <c:pt idx="1912">
                  <c:v>4.3623256478020149</c:v>
                </c:pt>
                <c:pt idx="1913">
                  <c:v>3.8803957613068043</c:v>
                </c:pt>
                <c:pt idx="1914">
                  <c:v>3.8906017027184108</c:v>
                </c:pt>
                <c:pt idx="1915">
                  <c:v>3.2048813344359712</c:v>
                </c:pt>
                <c:pt idx="1916">
                  <c:v>3.2048813344359712</c:v>
                </c:pt>
                <c:pt idx="1917">
                  <c:v>3.2048813344359712</c:v>
                </c:pt>
                <c:pt idx="1918">
                  <c:v>3.2241901772151365</c:v>
                </c:pt>
                <c:pt idx="1919">
                  <c:v>3.2206231994915901</c:v>
                </c:pt>
                <c:pt idx="1920">
                  <c:v>3.2206231994915897</c:v>
                </c:pt>
                <c:pt idx="1921">
                  <c:v>3.2206231994915901</c:v>
                </c:pt>
                <c:pt idx="1922">
                  <c:v>3.3577838887692226</c:v>
                </c:pt>
                <c:pt idx="1923">
                  <c:v>3.4376214712080122</c:v>
                </c:pt>
                <c:pt idx="1924">
                  <c:v>3.4713937709000513</c:v>
                </c:pt>
                <c:pt idx="1925">
                  <c:v>3.4481379282757518</c:v>
                </c:pt>
                <c:pt idx="1926">
                  <c:v>3.4132938216103925</c:v>
                </c:pt>
                <c:pt idx="1927">
                  <c:v>3.4188456746578133</c:v>
                </c:pt>
                <c:pt idx="1928">
                  <c:v>3.4107672646097296</c:v>
                </c:pt>
                <c:pt idx="1929">
                  <c:v>3.3577838887692226</c:v>
                </c:pt>
                <c:pt idx="1930">
                  <c:v>3.337181686572579</c:v>
                </c:pt>
                <c:pt idx="1931">
                  <c:v>3.4549647768386005</c:v>
                </c:pt>
                <c:pt idx="1932">
                  <c:v>3.3997971541924636</c:v>
                </c:pt>
                <c:pt idx="1933">
                  <c:v>3.3997971541924636</c:v>
                </c:pt>
                <c:pt idx="1934">
                  <c:v>3.8549863216657316</c:v>
                </c:pt>
                <c:pt idx="1935">
                  <c:v>4.0914826023163622</c:v>
                </c:pt>
                <c:pt idx="1936">
                  <c:v>4.3766622457979443</c:v>
                </c:pt>
                <c:pt idx="1937">
                  <c:v>4.3607444265885364</c:v>
                </c:pt>
                <c:pt idx="1938">
                  <c:v>4.2595396653769457</c:v>
                </c:pt>
                <c:pt idx="1939">
                  <c:v>4.6585726194377086</c:v>
                </c:pt>
                <c:pt idx="1940">
                  <c:v>4.6490636802960958</c:v>
                </c:pt>
                <c:pt idx="1941">
                  <c:v>4.676795248148399</c:v>
                </c:pt>
                <c:pt idx="1942">
                  <c:v>5.0410954839360986</c:v>
                </c:pt>
                <c:pt idx="1943">
                  <c:v>5.6491276917910884</c:v>
                </c:pt>
                <c:pt idx="1944">
                  <c:v>5.5914548926099679</c:v>
                </c:pt>
                <c:pt idx="1945">
                  <c:v>5.9043136383689756</c:v>
                </c:pt>
                <c:pt idx="1946">
                  <c:v>5.9151082616572994</c:v>
                </c:pt>
                <c:pt idx="1947">
                  <c:v>5.8823718728566208</c:v>
                </c:pt>
                <c:pt idx="1948">
                  <c:v>6.1663715368954612</c:v>
                </c:pt>
                <c:pt idx="1949">
                  <c:v>6.1402197721722249</c:v>
                </c:pt>
                <c:pt idx="1950">
                  <c:v>6.4612016248358639</c:v>
                </c:pt>
                <c:pt idx="1951">
                  <c:v>6.4097626688719425</c:v>
                </c:pt>
                <c:pt idx="1952">
                  <c:v>6.4952679503717503</c:v>
                </c:pt>
                <c:pt idx="1953">
                  <c:v>6.4762164347977773</c:v>
                </c:pt>
                <c:pt idx="1954">
                  <c:v>6.5516515422475337</c:v>
                </c:pt>
                <c:pt idx="1955">
                  <c:v>6.4094936769921453</c:v>
                </c:pt>
                <c:pt idx="1956">
                  <c:v>6.2098364685003773</c:v>
                </c:pt>
                <c:pt idx="1957">
                  <c:v>5.9996168460036312</c:v>
                </c:pt>
                <c:pt idx="1958">
                  <c:v>5.5812699910185035</c:v>
                </c:pt>
                <c:pt idx="1959">
                  <c:v>5.6564478516866536</c:v>
                </c:pt>
                <c:pt idx="1960">
                  <c:v>5.4144336688173578</c:v>
                </c:pt>
                <c:pt idx="1961">
                  <c:v>5.6414924250245333</c:v>
                </c:pt>
                <c:pt idx="1962">
                  <c:v>5.8036849174201084</c:v>
                </c:pt>
                <c:pt idx="1963">
                  <c:v>5.8506311674443525</c:v>
                </c:pt>
                <c:pt idx="1964">
                  <c:v>5.9271438722844092</c:v>
                </c:pt>
                <c:pt idx="1965">
                  <c:v>6.1852624248586103</c:v>
                </c:pt>
                <c:pt idx="1966">
                  <c:v>6.1852624248586112</c:v>
                </c:pt>
                <c:pt idx="1967">
                  <c:v>6.1458330898110223</c:v>
                </c:pt>
                <c:pt idx="1968">
                  <c:v>6.1143321361588105</c:v>
                </c:pt>
                <c:pt idx="1969">
                  <c:v>6.1228796470626303</c:v>
                </c:pt>
                <c:pt idx="1970">
                  <c:v>6.153683132235038</c:v>
                </c:pt>
                <c:pt idx="1971">
                  <c:v>5.9938665969146481</c:v>
                </c:pt>
                <c:pt idx="1972">
                  <c:v>6.1214715382090485</c:v>
                </c:pt>
                <c:pt idx="1973">
                  <c:v>6.0458021914325837</c:v>
                </c:pt>
                <c:pt idx="1974">
                  <c:v>5.9476644696618663</c:v>
                </c:pt>
                <c:pt idx="1975">
                  <c:v>5.9835982715972884</c:v>
                </c:pt>
                <c:pt idx="1976">
                  <c:v>5.8463074110781745</c:v>
                </c:pt>
                <c:pt idx="1977">
                  <c:v>5.7364533077263111</c:v>
                </c:pt>
                <c:pt idx="1978">
                  <c:v>5.8609363341230454</c:v>
                </c:pt>
                <c:pt idx="1979">
                  <c:v>6.0229446343931734</c:v>
                </c:pt>
                <c:pt idx="1980">
                  <c:v>5.9797551174247774</c:v>
                </c:pt>
                <c:pt idx="1981">
                  <c:v>5.9797551174247774</c:v>
                </c:pt>
                <c:pt idx="1982">
                  <c:v>6.1090661852014998</c:v>
                </c:pt>
                <c:pt idx="1983">
                  <c:v>6.1270082328210949</c:v>
                </c:pt>
                <c:pt idx="1984">
                  <c:v>5.833021338126108</c:v>
                </c:pt>
                <c:pt idx="1985">
                  <c:v>5.761644880078773</c:v>
                </c:pt>
                <c:pt idx="1986">
                  <c:v>6.1067138481337491</c:v>
                </c:pt>
                <c:pt idx="1987">
                  <c:v>6.0172166781431544</c:v>
                </c:pt>
                <c:pt idx="1988">
                  <c:v>6.0840851369801676</c:v>
                </c:pt>
                <c:pt idx="1989">
                  <c:v>6.0076579482347778</c:v>
                </c:pt>
                <c:pt idx="1990">
                  <c:v>6.0172166781431544</c:v>
                </c:pt>
                <c:pt idx="1991">
                  <c:v>5.8703423699329411</c:v>
                </c:pt>
                <c:pt idx="1992">
                  <c:v>5.7495627020120237</c:v>
                </c:pt>
                <c:pt idx="1993">
                  <c:v>5.9996168460036312</c:v>
                </c:pt>
                <c:pt idx="1994">
                  <c:v>6.1453655091767576</c:v>
                </c:pt>
                <c:pt idx="1995">
                  <c:v>5.8750397406335031</c:v>
                </c:pt>
                <c:pt idx="1996">
                  <c:v>5.8835441660637651</c:v>
                </c:pt>
                <c:pt idx="1997">
                  <c:v>6.0878624299106212</c:v>
                </c:pt>
                <c:pt idx="1998">
                  <c:v>6.2030767301025875</c:v>
                </c:pt>
                <c:pt idx="1999">
                  <c:v>6.2870968027299021</c:v>
                </c:pt>
                <c:pt idx="2000">
                  <c:v>6.2499655171462551</c:v>
                </c:pt>
                <c:pt idx="2001">
                  <c:v>6.0556803389723353</c:v>
                </c:pt>
                <c:pt idx="2002">
                  <c:v>6.0742531824198709</c:v>
                </c:pt>
                <c:pt idx="2003">
                  <c:v>6.1134861285258637</c:v>
                </c:pt>
                <c:pt idx="2004">
                  <c:v>6.1177149967622064</c:v>
                </c:pt>
                <c:pt idx="2005">
                  <c:v>6.1621760598917863</c:v>
                </c:pt>
                <c:pt idx="2006">
                  <c:v>6.1101009266077861</c:v>
                </c:pt>
                <c:pt idx="2007">
                  <c:v>6.2702545366215396</c:v>
                </c:pt>
                <c:pt idx="2008">
                  <c:v>6.2278573278898843</c:v>
                </c:pt>
                <c:pt idx="2009">
                  <c:v>6.1794059157223504</c:v>
                </c:pt>
                <c:pt idx="2010">
                  <c:v>6.0977666912312785</c:v>
                </c:pt>
                <c:pt idx="2011">
                  <c:v>6.1778246366645355</c:v>
                </c:pt>
                <c:pt idx="2012">
                  <c:v>6.2980566241801368</c:v>
                </c:pt>
                <c:pt idx="2013">
                  <c:v>6.2738281407948921</c:v>
                </c:pt>
                <c:pt idx="2014">
                  <c:v>6.3173725077993339</c:v>
                </c:pt>
                <c:pt idx="2015">
                  <c:v>6.3413439962015099</c:v>
                </c:pt>
                <c:pt idx="2016">
                  <c:v>5.9387680134217558</c:v>
                </c:pt>
                <c:pt idx="2017">
                  <c:v>6.3339987551218426</c:v>
                </c:pt>
                <c:pt idx="2018">
                  <c:v>6.3086330194989655</c:v>
                </c:pt>
                <c:pt idx="2019">
                  <c:v>6.317645422003431</c:v>
                </c:pt>
                <c:pt idx="2020">
                  <c:v>6.2922137617048977</c:v>
                </c:pt>
                <c:pt idx="2021">
                  <c:v>6.3380804955298649</c:v>
                </c:pt>
                <c:pt idx="2022">
                  <c:v>6.3879376269995607</c:v>
                </c:pt>
                <c:pt idx="2023">
                  <c:v>6.1794059157223495</c:v>
                </c:pt>
                <c:pt idx="2024">
                  <c:v>5.9057735242337426</c:v>
                </c:pt>
                <c:pt idx="2025">
                  <c:v>6.0610874939399615</c:v>
                </c:pt>
                <c:pt idx="2026">
                  <c:v>6.2197313021757097</c:v>
                </c:pt>
                <c:pt idx="2027">
                  <c:v>5.7879184513951127</c:v>
                </c:pt>
                <c:pt idx="2028">
                  <c:v>6.1214715382090485</c:v>
                </c:pt>
                <c:pt idx="2029">
                  <c:v>6.1214715382090485</c:v>
                </c:pt>
                <c:pt idx="2030">
                  <c:v>6.1671171006665126</c:v>
                </c:pt>
                <c:pt idx="2031">
                  <c:v>6.2976916040903346</c:v>
                </c:pt>
                <c:pt idx="2032">
                  <c:v>6.2495976882010424</c:v>
                </c:pt>
                <c:pt idx="2033">
                  <c:v>6.1503200552173869</c:v>
                </c:pt>
                <c:pt idx="2034">
                  <c:v>6.1615231733794493</c:v>
                </c:pt>
                <c:pt idx="2035">
                  <c:v>6.0637418742259621</c:v>
                </c:pt>
                <c:pt idx="2036">
                  <c:v>6.1390964927362424</c:v>
                </c:pt>
                <c:pt idx="2037">
                  <c:v>6.2607149531134176</c:v>
                </c:pt>
                <c:pt idx="2038">
                  <c:v>6.327190002942328</c:v>
                </c:pt>
                <c:pt idx="2039">
                  <c:v>6.2297026736674086</c:v>
                </c:pt>
                <c:pt idx="2040">
                  <c:v>6.3296419974665188</c:v>
                </c:pt>
                <c:pt idx="2041">
                  <c:v>6.3209194733445022</c:v>
                </c:pt>
                <c:pt idx="2042">
                  <c:v>6.0852185710515991</c:v>
                </c:pt>
                <c:pt idx="2043">
                  <c:v>6.1900921947342873</c:v>
                </c:pt>
                <c:pt idx="2044">
                  <c:v>6.2738281407948921</c:v>
                </c:pt>
                <c:pt idx="2045">
                  <c:v>6.2738281407948921</c:v>
                </c:pt>
                <c:pt idx="2046">
                  <c:v>6.5109103835783602</c:v>
                </c:pt>
                <c:pt idx="2047">
                  <c:v>6.3933334531899844</c:v>
                </c:pt>
                <c:pt idx="2048">
                  <c:v>6.4205131029962956</c:v>
                </c:pt>
                <c:pt idx="2049">
                  <c:v>6.4673361426176994</c:v>
                </c:pt>
                <c:pt idx="2050">
                  <c:v>6.441692502661903</c:v>
                </c:pt>
                <c:pt idx="2051">
                  <c:v>6.46866896362146</c:v>
                </c:pt>
                <c:pt idx="2052">
                  <c:v>6.46866896362146</c:v>
                </c:pt>
                <c:pt idx="2053">
                  <c:v>6.3035293890502873</c:v>
                </c:pt>
                <c:pt idx="2054">
                  <c:v>6.32319212270904</c:v>
                </c:pt>
                <c:pt idx="2055">
                  <c:v>6.3842478562204317</c:v>
                </c:pt>
                <c:pt idx="2056">
                  <c:v>6.2400265251425626</c:v>
                </c:pt>
                <c:pt idx="2057">
                  <c:v>6.2400265251425617</c:v>
                </c:pt>
                <c:pt idx="2058">
                  <c:v>5.8127881216440711</c:v>
                </c:pt>
                <c:pt idx="2059">
                  <c:v>5.7989297466771008</c:v>
                </c:pt>
                <c:pt idx="2060">
                  <c:v>5.8495505279730979</c:v>
                </c:pt>
                <c:pt idx="2061">
                  <c:v>5.7743985107472051</c:v>
                </c:pt>
                <c:pt idx="2062">
                  <c:v>5.7855348752819271</c:v>
                </c:pt>
                <c:pt idx="2063">
                  <c:v>5.757653576991558</c:v>
                </c:pt>
                <c:pt idx="2064">
                  <c:v>5.802199345194829</c:v>
                </c:pt>
                <c:pt idx="2065">
                  <c:v>5.8550498883786046</c:v>
                </c:pt>
                <c:pt idx="2066">
                  <c:v>5.7934763153129367</c:v>
                </c:pt>
                <c:pt idx="2067">
                  <c:v>5.5874448748855743</c:v>
                </c:pt>
                <c:pt idx="2068">
                  <c:v>5.7519611847842276</c:v>
                </c:pt>
                <c:pt idx="2069">
                  <c:v>5.7198987210710595</c:v>
                </c:pt>
                <c:pt idx="2070">
                  <c:v>5.5428321736948822</c:v>
                </c:pt>
                <c:pt idx="2071">
                  <c:v>5.4752315859276894</c:v>
                </c:pt>
                <c:pt idx="2072">
                  <c:v>5.530375888785894</c:v>
                </c:pt>
                <c:pt idx="2073">
                  <c:v>5.4718716460042103</c:v>
                </c:pt>
                <c:pt idx="2074">
                  <c:v>5.4752315859276885</c:v>
                </c:pt>
                <c:pt idx="2075">
                  <c:v>5.5815788974541736</c:v>
                </c:pt>
                <c:pt idx="2076">
                  <c:v>5.3271156285123213</c:v>
                </c:pt>
                <c:pt idx="2077">
                  <c:v>5.0860412986874213</c:v>
                </c:pt>
                <c:pt idx="2078">
                  <c:v>4.9340477892098793</c:v>
                </c:pt>
                <c:pt idx="2079">
                  <c:v>5.2238401341471432</c:v>
                </c:pt>
                <c:pt idx="2080">
                  <c:v>5.2888953282423214</c:v>
                </c:pt>
                <c:pt idx="2081">
                  <c:v>5.4865561922370496</c:v>
                </c:pt>
                <c:pt idx="2082">
                  <c:v>5.4865561922370496</c:v>
                </c:pt>
                <c:pt idx="2083">
                  <c:v>5.6977511191778065</c:v>
                </c:pt>
                <c:pt idx="2084">
                  <c:v>5.6046983574641125</c:v>
                </c:pt>
                <c:pt idx="2085">
                  <c:v>5.3459620598006108</c:v>
                </c:pt>
                <c:pt idx="2086">
                  <c:v>5.191062168456626</c:v>
                </c:pt>
                <c:pt idx="2087">
                  <c:v>5.1800900893066846</c:v>
                </c:pt>
                <c:pt idx="2088">
                  <c:v>5.0797094676626999</c:v>
                </c:pt>
                <c:pt idx="2089">
                  <c:v>5.4830983773859048</c:v>
                </c:pt>
                <c:pt idx="2090">
                  <c:v>5.4928375515589467</c:v>
                </c:pt>
                <c:pt idx="2091">
                  <c:v>5.7264259379641418</c:v>
                </c:pt>
                <c:pt idx="2092">
                  <c:v>5.70954031203149</c:v>
                </c:pt>
                <c:pt idx="2093">
                  <c:v>5.6917968800843486</c:v>
                </c:pt>
                <c:pt idx="2094">
                  <c:v>5.7576535769915589</c:v>
                </c:pt>
                <c:pt idx="2095">
                  <c:v>5.8730829594239387</c:v>
                </c:pt>
                <c:pt idx="2096">
                  <c:v>5.8659351686068648</c:v>
                </c:pt>
                <c:pt idx="2097">
                  <c:v>5.8659351686068648</c:v>
                </c:pt>
                <c:pt idx="2098">
                  <c:v>5.7075267909108867</c:v>
                </c:pt>
                <c:pt idx="2099">
                  <c:v>5.7276301492359636</c:v>
                </c:pt>
                <c:pt idx="2100">
                  <c:v>5.9919486209297608</c:v>
                </c:pt>
                <c:pt idx="2101">
                  <c:v>6.0819121312638025</c:v>
                </c:pt>
                <c:pt idx="2102">
                  <c:v>6.0613719474272045</c:v>
                </c:pt>
                <c:pt idx="2103">
                  <c:v>6.2141847376806387</c:v>
                </c:pt>
                <c:pt idx="2104">
                  <c:v>6.3576363713163921</c:v>
                </c:pt>
                <c:pt idx="2105">
                  <c:v>6.1927840841291788</c:v>
                </c:pt>
                <c:pt idx="2106">
                  <c:v>6.2238879817358059</c:v>
                </c:pt>
                <c:pt idx="2107">
                  <c:v>6.201686830228522</c:v>
                </c:pt>
                <c:pt idx="2108">
                  <c:v>6.4165733684812993</c:v>
                </c:pt>
                <c:pt idx="2109">
                  <c:v>6.1626423650525295</c:v>
                </c:pt>
                <c:pt idx="2110">
                  <c:v>6.2738281407948913</c:v>
                </c:pt>
                <c:pt idx="2111">
                  <c:v>5.9907975405962262</c:v>
                </c:pt>
                <c:pt idx="2112">
                  <c:v>5.9256892513401569</c:v>
                </c:pt>
                <c:pt idx="2113">
                  <c:v>5.8009115415289401</c:v>
                </c:pt>
                <c:pt idx="2114">
                  <c:v>5.810118007783303</c:v>
                </c:pt>
                <c:pt idx="2115">
                  <c:v>5.8285859171074632</c:v>
                </c:pt>
                <c:pt idx="2116">
                  <c:v>5.7982359584519374</c:v>
                </c:pt>
                <c:pt idx="2117">
                  <c:v>5.6292544574860388</c:v>
                </c:pt>
                <c:pt idx="2118">
                  <c:v>5.393056412764877</c:v>
                </c:pt>
                <c:pt idx="2119">
                  <c:v>5.6675117693016226</c:v>
                </c:pt>
                <c:pt idx="2120">
                  <c:v>5.8456192458811485</c:v>
                </c:pt>
                <c:pt idx="2121">
                  <c:v>5.8952542768319791</c:v>
                </c:pt>
                <c:pt idx="2122">
                  <c:v>5.9387680134217558</c:v>
                </c:pt>
                <c:pt idx="2123">
                  <c:v>5.9951129522591016</c:v>
                </c:pt>
                <c:pt idx="2124">
                  <c:v>5.7914919761961885</c:v>
                </c:pt>
                <c:pt idx="2125">
                  <c:v>5.7914919761961885</c:v>
                </c:pt>
                <c:pt idx="2126">
                  <c:v>5.7684237572909085</c:v>
                </c:pt>
                <c:pt idx="2127">
                  <c:v>5.7579530206928347</c:v>
                </c:pt>
                <c:pt idx="2128">
                  <c:v>5.8515151785719119</c:v>
                </c:pt>
                <c:pt idx="2129">
                  <c:v>5.9682108064213901</c:v>
                </c:pt>
                <c:pt idx="2130">
                  <c:v>5.8844232327059212</c:v>
                </c:pt>
                <c:pt idx="2131">
                  <c:v>5.7691211307000358</c:v>
                </c:pt>
                <c:pt idx="2132">
                  <c:v>5.8200011849744016</c:v>
                </c:pt>
                <c:pt idx="2133">
                  <c:v>5.5357770535135273</c:v>
                </c:pt>
                <c:pt idx="2134">
                  <c:v>5.2789976408361863</c:v>
                </c:pt>
                <c:pt idx="2135">
                  <c:v>5.6304794512168082</c:v>
                </c:pt>
                <c:pt idx="2136">
                  <c:v>5.7204010790981359</c:v>
                </c:pt>
                <c:pt idx="2137">
                  <c:v>5.8081393542700646</c:v>
                </c:pt>
                <c:pt idx="2138">
                  <c:v>5.7555570348671896</c:v>
                </c:pt>
                <c:pt idx="2139">
                  <c:v>5.7384566790619989</c:v>
                </c:pt>
                <c:pt idx="2140">
                  <c:v>5.677238279547427</c:v>
                </c:pt>
                <c:pt idx="2141">
                  <c:v>5.6856342462041285</c:v>
                </c:pt>
                <c:pt idx="2142">
                  <c:v>5.8305576318951307</c:v>
                </c:pt>
                <c:pt idx="2143">
                  <c:v>5.5194535794851971</c:v>
                </c:pt>
                <c:pt idx="2144">
                  <c:v>5.4755464745906686</c:v>
                </c:pt>
                <c:pt idx="2145">
                  <c:v>5.0782384492190227</c:v>
                </c:pt>
                <c:pt idx="2146">
                  <c:v>5.1933865991100729</c:v>
                </c:pt>
                <c:pt idx="2147">
                  <c:v>5.0878489459251561</c:v>
                </c:pt>
                <c:pt idx="2148">
                  <c:v>5.1354078507070344</c:v>
                </c:pt>
                <c:pt idx="2149">
                  <c:v>5.1354078507070344</c:v>
                </c:pt>
                <c:pt idx="2150">
                  <c:v>5.030481798638851</c:v>
                </c:pt>
                <c:pt idx="2151">
                  <c:v>5.2242801847025646</c:v>
                </c:pt>
                <c:pt idx="2152">
                  <c:v>5.3957198874152343</c:v>
                </c:pt>
                <c:pt idx="2153">
                  <c:v>5.3994465446474926</c:v>
                </c:pt>
                <c:pt idx="2154">
                  <c:v>5.7937739075626711</c:v>
                </c:pt>
                <c:pt idx="2155">
                  <c:v>5.7699180256731992</c:v>
                </c:pt>
                <c:pt idx="2156">
                  <c:v>5.818717321228779</c:v>
                </c:pt>
                <c:pt idx="2157">
                  <c:v>5.875039740633504</c:v>
                </c:pt>
                <c:pt idx="2158">
                  <c:v>5.9256892513401569</c:v>
                </c:pt>
                <c:pt idx="2159">
                  <c:v>6.0295250570665262</c:v>
                </c:pt>
                <c:pt idx="2160">
                  <c:v>6.2127973228419942</c:v>
                </c:pt>
                <c:pt idx="2161">
                  <c:v>6.2859083415335375</c:v>
                </c:pt>
                <c:pt idx="2162">
                  <c:v>6.2127973228419942</c:v>
                </c:pt>
                <c:pt idx="2163">
                  <c:v>6.3046233719445111</c:v>
                </c:pt>
                <c:pt idx="2164">
                  <c:v>6.4739975037190831</c:v>
                </c:pt>
                <c:pt idx="2165">
                  <c:v>6.1402197721722231</c:v>
                </c:pt>
                <c:pt idx="2166">
                  <c:v>5.9383809086393189</c:v>
                </c:pt>
                <c:pt idx="2167">
                  <c:v>6.0821956108198183</c:v>
                </c:pt>
                <c:pt idx="2168">
                  <c:v>6.0291437793971774</c:v>
                </c:pt>
                <c:pt idx="2169">
                  <c:v>6.1596574020269044</c:v>
                </c:pt>
                <c:pt idx="2170">
                  <c:v>6.3969281420985507</c:v>
                </c:pt>
                <c:pt idx="2171">
                  <c:v>6.6492588818725444</c:v>
                </c:pt>
                <c:pt idx="2172">
                  <c:v>6.5249300872636296</c:v>
                </c:pt>
                <c:pt idx="2173">
                  <c:v>6.6557381690322401</c:v>
                </c:pt>
                <c:pt idx="2174">
                  <c:v>6.6557381690322401</c:v>
                </c:pt>
                <c:pt idx="2175">
                  <c:v>6.7776678591677388</c:v>
                </c:pt>
                <c:pt idx="2176">
                  <c:v>6.7995943083849273</c:v>
                </c:pt>
                <c:pt idx="2177">
                  <c:v>6.9653493777428697</c:v>
                </c:pt>
                <c:pt idx="2178">
                  <c:v>6.9653493777428697</c:v>
                </c:pt>
                <c:pt idx="2179">
                  <c:v>6.7196743216100696</c:v>
                </c:pt>
                <c:pt idx="2180">
                  <c:v>6.7343688745071741</c:v>
                </c:pt>
                <c:pt idx="2181">
                  <c:v>6.7705413288050655</c:v>
                </c:pt>
                <c:pt idx="2182">
                  <c:v>6.6643674196016738</c:v>
                </c:pt>
                <c:pt idx="2183">
                  <c:v>6.7858033007729901</c:v>
                </c:pt>
                <c:pt idx="2184">
                  <c:v>6.5898738061975966</c:v>
                </c:pt>
                <c:pt idx="2185">
                  <c:v>6.6318631767703335</c:v>
                </c:pt>
                <c:pt idx="2186">
                  <c:v>6.5354910816373168</c:v>
                </c:pt>
                <c:pt idx="2187">
                  <c:v>6.6660919292487568</c:v>
                </c:pt>
                <c:pt idx="2188">
                  <c:v>6.5210534372166027</c:v>
                </c:pt>
                <c:pt idx="2189">
                  <c:v>6.6661781430203897</c:v>
                </c:pt>
                <c:pt idx="2190">
                  <c:v>6.459066513814907</c:v>
                </c:pt>
                <c:pt idx="2191">
                  <c:v>6.579400105414356</c:v>
                </c:pt>
                <c:pt idx="2192">
                  <c:v>6.6454547598728899</c:v>
                </c:pt>
                <c:pt idx="2193">
                  <c:v>6.5569126460763432</c:v>
                </c:pt>
                <c:pt idx="2194">
                  <c:v>6.4012391041864305</c:v>
                </c:pt>
                <c:pt idx="2195">
                  <c:v>6.4022266241618171</c:v>
                </c:pt>
                <c:pt idx="2196">
                  <c:v>6.5038450166036412</c:v>
                </c:pt>
                <c:pt idx="2197">
                  <c:v>6.3517578343484491</c:v>
                </c:pt>
                <c:pt idx="2198">
                  <c:v>6.5531426171661744</c:v>
                </c:pt>
                <c:pt idx="2199">
                  <c:v>6.4684024213910414</c:v>
                </c:pt>
                <c:pt idx="2200">
                  <c:v>6.3738871014169369</c:v>
                </c:pt>
                <c:pt idx="2201">
                  <c:v>6.1551772433092236</c:v>
                </c:pt>
                <c:pt idx="2202">
                  <c:v>6.3471416319908691</c:v>
                </c:pt>
                <c:pt idx="2203">
                  <c:v>6.2274881931162502</c:v>
                </c:pt>
                <c:pt idx="2204">
                  <c:v>6.2333917263230854</c:v>
                </c:pt>
                <c:pt idx="2205">
                  <c:v>6.0932410264896433</c:v>
                </c:pt>
                <c:pt idx="2206">
                  <c:v>6.1704710228375736</c:v>
                </c:pt>
                <c:pt idx="2207">
                  <c:v>6.1273834208581155</c:v>
                </c:pt>
                <c:pt idx="2208">
                  <c:v>6.1677693950361689</c:v>
                </c:pt>
                <c:pt idx="2209">
                  <c:v>6.1671171006665126</c:v>
                </c:pt>
                <c:pt idx="2210">
                  <c:v>6.1626423650525304</c:v>
                </c:pt>
                <c:pt idx="2211">
                  <c:v>5.988110825992436</c:v>
                </c:pt>
                <c:pt idx="2212">
                  <c:v>5.75645564641954</c:v>
                </c:pt>
                <c:pt idx="2213">
                  <c:v>5.9054815759324972</c:v>
                </c:pt>
                <c:pt idx="2214">
                  <c:v>5.8506311674443525</c:v>
                </c:pt>
                <c:pt idx="2215">
                  <c:v>5.8432592070624034</c:v>
                </c:pt>
                <c:pt idx="2216">
                  <c:v>6.1177149967622055</c:v>
                </c:pt>
                <c:pt idx="2217">
                  <c:v>6.0191266025455272</c:v>
                </c:pt>
                <c:pt idx="2218">
                  <c:v>6.253275004016861</c:v>
                </c:pt>
                <c:pt idx="2219">
                  <c:v>6.1271020319841938</c:v>
                </c:pt>
                <c:pt idx="2220">
                  <c:v>6.2172359604976979</c:v>
                </c:pt>
                <c:pt idx="2221">
                  <c:v>5.9981798005345128</c:v>
                </c:pt>
                <c:pt idx="2222">
                  <c:v>6.0271416759197889</c:v>
                </c:pt>
                <c:pt idx="2223">
                  <c:v>5.990413797999631</c:v>
                </c:pt>
                <c:pt idx="2224">
                  <c:v>6.6784952534665099</c:v>
                </c:pt>
                <c:pt idx="2225">
                  <c:v>7.7741836249527045</c:v>
                </c:pt>
                <c:pt idx="2226">
                  <c:v>8.4066202702284638</c:v>
                </c:pt>
                <c:pt idx="2227">
                  <c:v>8.4750478925849855</c:v>
                </c:pt>
                <c:pt idx="2228">
                  <c:v>8.8227110280830061</c:v>
                </c:pt>
                <c:pt idx="2229">
                  <c:v>9.3732316339866379</c:v>
                </c:pt>
                <c:pt idx="2230">
                  <c:v>9.4835004934462575</c:v>
                </c:pt>
                <c:pt idx="2231">
                  <c:v>9.4820459502313543</c:v>
                </c:pt>
                <c:pt idx="2232">
                  <c:v>9.7015818120125346</c:v>
                </c:pt>
                <c:pt idx="2233">
                  <c:v>9.9602081869023724</c:v>
                </c:pt>
                <c:pt idx="2234">
                  <c:v>10.024624853243909</c:v>
                </c:pt>
                <c:pt idx="2235">
                  <c:v>9.8188184320873777</c:v>
                </c:pt>
                <c:pt idx="2236">
                  <c:v>9.5357162844471848</c:v>
                </c:pt>
                <c:pt idx="2237">
                  <c:v>9.7591689866681186</c:v>
                </c:pt>
                <c:pt idx="2238">
                  <c:v>9.812026399728321</c:v>
                </c:pt>
                <c:pt idx="2239">
                  <c:v>9.8704831078123618</c:v>
                </c:pt>
                <c:pt idx="2240">
                  <c:v>9.7749974277563716</c:v>
                </c:pt>
                <c:pt idx="2241">
                  <c:v>9.4638452975570093</c:v>
                </c:pt>
                <c:pt idx="2242">
                  <c:v>9.4465221965120794</c:v>
                </c:pt>
                <c:pt idx="2243">
                  <c:v>8.7473477096788024</c:v>
                </c:pt>
                <c:pt idx="2244">
                  <c:v>8.4241033494004167</c:v>
                </c:pt>
                <c:pt idx="2245">
                  <c:v>7.6218077923146623</c:v>
                </c:pt>
                <c:pt idx="2246">
                  <c:v>6.6492588818725453</c:v>
                </c:pt>
                <c:pt idx="2247">
                  <c:v>6.4299049884830755</c:v>
                </c:pt>
                <c:pt idx="2248">
                  <c:v>6.6058142275722078</c:v>
                </c:pt>
                <c:pt idx="2249">
                  <c:v>6.4441901125662451</c:v>
                </c:pt>
                <c:pt idx="2250">
                  <c:v>6.2338527044059902</c:v>
                </c:pt>
                <c:pt idx="2251">
                  <c:v>5.8423739467217715</c:v>
                </c:pt>
                <c:pt idx="2252">
                  <c:v>5.6123836802835072</c:v>
                </c:pt>
                <c:pt idx="2253">
                  <c:v>4.9597228324486684</c:v>
                </c:pt>
                <c:pt idx="2254">
                  <c:v>4.9785747856742812</c:v>
                </c:pt>
                <c:pt idx="2255">
                  <c:v>4.8953414401951525</c:v>
                </c:pt>
                <c:pt idx="2256">
                  <c:v>4.9452171250404264</c:v>
                </c:pt>
                <c:pt idx="2257">
                  <c:v>4.8457826194952558</c:v>
                </c:pt>
                <c:pt idx="2258">
                  <c:v>4.9304356199324664</c:v>
                </c:pt>
                <c:pt idx="2259">
                  <c:v>4.8258165886331028</c:v>
                </c:pt>
                <c:pt idx="2260">
                  <c:v>4.7773411544233602</c:v>
                </c:pt>
                <c:pt idx="2261">
                  <c:v>4.9251874344402182</c:v>
                </c:pt>
                <c:pt idx="2262">
                  <c:v>4.9874555279900159</c:v>
                </c:pt>
                <c:pt idx="2263">
                  <c:v>5.1523903614518192</c:v>
                </c:pt>
                <c:pt idx="2264">
                  <c:v>5.1417828653573814</c:v>
                </c:pt>
                <c:pt idx="2265">
                  <c:v>5.3170729135320389</c:v>
                </c:pt>
                <c:pt idx="2266">
                  <c:v>5.4810016703468385</c:v>
                </c:pt>
                <c:pt idx="2267">
                  <c:v>5.7300378125570282</c:v>
                </c:pt>
                <c:pt idx="2268">
                  <c:v>6.0114832640940428</c:v>
                </c:pt>
                <c:pt idx="2269">
                  <c:v>6.7654463539234495</c:v>
                </c:pt>
                <c:pt idx="2270">
                  <c:v>6.9725240733914271</c:v>
                </c:pt>
                <c:pt idx="2271">
                  <c:v>7.079596715574441</c:v>
                </c:pt>
                <c:pt idx="2272">
                  <c:v>7.4358559711030248</c:v>
                </c:pt>
                <c:pt idx="2273">
                  <c:v>7.4633972727287343</c:v>
                </c:pt>
                <c:pt idx="2274">
                  <c:v>7.5197823397211181</c:v>
                </c:pt>
                <c:pt idx="2275">
                  <c:v>7.5539439344965524</c:v>
                </c:pt>
                <c:pt idx="2276">
                  <c:v>21.554235256006294</c:v>
                </c:pt>
                <c:pt idx="2277">
                  <c:v>29.085466608189257</c:v>
                </c:pt>
                <c:pt idx="2278">
                  <c:v>34.607237964625703</c:v>
                </c:pt>
                <c:pt idx="2279">
                  <c:v>39.109689542259908</c:v>
                </c:pt>
                <c:pt idx="2280">
                  <c:v>42.84937532236895</c:v>
                </c:pt>
                <c:pt idx="2281">
                  <c:v>46.03866441035899</c:v>
                </c:pt>
                <c:pt idx="2282">
                  <c:v>48.776336829273667</c:v>
                </c:pt>
                <c:pt idx="2283">
                  <c:v>51.170674521980686</c:v>
                </c:pt>
                <c:pt idx="2284">
                  <c:v>53.087392706440347</c:v>
                </c:pt>
                <c:pt idx="2285">
                  <c:v>54.850853156118028</c:v>
                </c:pt>
                <c:pt idx="2286">
                  <c:v>56.083732556520026</c:v>
                </c:pt>
                <c:pt idx="2287">
                  <c:v>57.183672615468694</c:v>
                </c:pt>
                <c:pt idx="2288">
                  <c:v>58.19582479000109</c:v>
                </c:pt>
                <c:pt idx="2289">
                  <c:v>58.825369849504852</c:v>
                </c:pt>
                <c:pt idx="2290">
                  <c:v>59.309058058749272</c:v>
                </c:pt>
                <c:pt idx="2291">
                  <c:v>59.29920237489582</c:v>
                </c:pt>
                <c:pt idx="2292">
                  <c:v>58.951138933944229</c:v>
                </c:pt>
                <c:pt idx="2293">
                  <c:v>58.282861580596645</c:v>
                </c:pt>
                <c:pt idx="2294">
                  <c:v>58.041602202272955</c:v>
                </c:pt>
                <c:pt idx="2295">
                  <c:v>57.533038983810371</c:v>
                </c:pt>
                <c:pt idx="2296">
                  <c:v>56.787251685770002</c:v>
                </c:pt>
                <c:pt idx="2297">
                  <c:v>55.963463039757457</c:v>
                </c:pt>
                <c:pt idx="2298">
                  <c:v>55.177133777988345</c:v>
                </c:pt>
                <c:pt idx="2299">
                  <c:v>53.750049451995423</c:v>
                </c:pt>
                <c:pt idx="2300">
                  <c:v>52.755878901035189</c:v>
                </c:pt>
                <c:pt idx="2301">
                  <c:v>51.678003947076199</c:v>
                </c:pt>
                <c:pt idx="2302">
                  <c:v>50.215180651035119</c:v>
                </c:pt>
                <c:pt idx="2303">
                  <c:v>48.962112962443996</c:v>
                </c:pt>
                <c:pt idx="2304">
                  <c:v>47.295063045795246</c:v>
                </c:pt>
                <c:pt idx="2305">
                  <c:v>45.931683402961461</c:v>
                </c:pt>
                <c:pt idx="2306">
                  <c:v>46.097148788583247</c:v>
                </c:pt>
                <c:pt idx="2307">
                  <c:v>46.335904997679961</c:v>
                </c:pt>
                <c:pt idx="2308">
                  <c:v>46.091874767037083</c:v>
                </c:pt>
                <c:pt idx="2309">
                  <c:v>45.519024695125026</c:v>
                </c:pt>
                <c:pt idx="2310">
                  <c:v>44.735814549958469</c:v>
                </c:pt>
                <c:pt idx="2311">
                  <c:v>43.826932358995876</c:v>
                </c:pt>
                <c:pt idx="2312">
                  <c:v>42.740919584123972</c:v>
                </c:pt>
                <c:pt idx="2313">
                  <c:v>41.240589313157869</c:v>
                </c:pt>
                <c:pt idx="2314">
                  <c:v>39.399063528167154</c:v>
                </c:pt>
                <c:pt idx="2315">
                  <c:v>37.434525216181385</c:v>
                </c:pt>
                <c:pt idx="2316">
                  <c:v>35.026492436637049</c:v>
                </c:pt>
                <c:pt idx="2317">
                  <c:v>32.124470566772032</c:v>
                </c:pt>
                <c:pt idx="2318">
                  <c:v>28.587916424903039</c:v>
                </c:pt>
                <c:pt idx="2319">
                  <c:v>23.940635392330464</c:v>
                </c:pt>
                <c:pt idx="2320">
                  <c:v>17.721861296604597</c:v>
                </c:pt>
                <c:pt idx="2321">
                  <c:v>6.0894670699004774</c:v>
                </c:pt>
                <c:pt idx="2322">
                  <c:v>6.0257111947303663</c:v>
                </c:pt>
                <c:pt idx="2323">
                  <c:v>6.014923968333064</c:v>
                </c:pt>
                <c:pt idx="2324">
                  <c:v>5.8397173605042498</c:v>
                </c:pt>
                <c:pt idx="2325">
                  <c:v>6.0142550966695856</c:v>
                </c:pt>
                <c:pt idx="2326">
                  <c:v>6.2584196161614178</c:v>
                </c:pt>
                <c:pt idx="2327">
                  <c:v>6.2848111009570244</c:v>
                </c:pt>
                <c:pt idx="2328">
                  <c:v>6.2072445624021677</c:v>
                </c:pt>
                <c:pt idx="2329">
                  <c:v>6.1199691983298203</c:v>
                </c:pt>
                <c:pt idx="2330">
                  <c:v>6.3321838037234786</c:v>
                </c:pt>
                <c:pt idx="2331">
                  <c:v>6.3915353505969943</c:v>
                </c:pt>
                <c:pt idx="2332">
                  <c:v>6.1741954662265446</c:v>
                </c:pt>
                <c:pt idx="2333">
                  <c:v>6.3622449590958254</c:v>
                </c:pt>
                <c:pt idx="2334">
                  <c:v>6.0557752429481271</c:v>
                </c:pt>
                <c:pt idx="2335">
                  <c:v>6.1941759816745616</c:v>
                </c:pt>
                <c:pt idx="2336">
                  <c:v>6.4219451344857212</c:v>
                </c:pt>
                <c:pt idx="2337">
                  <c:v>6.4931440412353307</c:v>
                </c:pt>
                <c:pt idx="2338">
                  <c:v>6.6898447656508244</c:v>
                </c:pt>
                <c:pt idx="2339">
                  <c:v>6.8073658550909011</c:v>
                </c:pt>
                <c:pt idx="2340">
                  <c:v>6.8060993605549962</c:v>
                </c:pt>
                <c:pt idx="2341">
                  <c:v>6.8568281263294768</c:v>
                </c:pt>
                <c:pt idx="2342">
                  <c:v>6.9106780611143952</c:v>
                </c:pt>
                <c:pt idx="2343">
                  <c:v>7.0228690472749387</c:v>
                </c:pt>
                <c:pt idx="2344">
                  <c:v>7.0168925892588234</c:v>
                </c:pt>
                <c:pt idx="2345">
                  <c:v>6.9286179809855852</c:v>
                </c:pt>
                <c:pt idx="2346">
                  <c:v>6.727965312141504</c:v>
                </c:pt>
                <c:pt idx="2347">
                  <c:v>6.5051703574395612</c:v>
                </c:pt>
                <c:pt idx="2348">
                  <c:v>6.0795492875894892</c:v>
                </c:pt>
                <c:pt idx="2349">
                  <c:v>6.2130748305951311</c:v>
                </c:pt>
                <c:pt idx="2350">
                  <c:v>6.0123436247497501</c:v>
                </c:pt>
                <c:pt idx="2351">
                  <c:v>6.1424657147981918</c:v>
                </c:pt>
                <c:pt idx="2352">
                  <c:v>6.0610874939399615</c:v>
                </c:pt>
                <c:pt idx="2353">
                  <c:v>6.0973896808011405</c:v>
                </c:pt>
                <c:pt idx="2354">
                  <c:v>6.0973896808011396</c:v>
                </c:pt>
                <c:pt idx="2355">
                  <c:v>5.9174396451525366</c:v>
                </c:pt>
                <c:pt idx="2356">
                  <c:v>5.6811849176879923</c:v>
                </c:pt>
                <c:pt idx="2357">
                  <c:v>5.6811849176879923</c:v>
                </c:pt>
                <c:pt idx="2358">
                  <c:v>5.6811849176879923</c:v>
                </c:pt>
                <c:pt idx="2359">
                  <c:v>5.6442423109189601</c:v>
                </c:pt>
                <c:pt idx="2360">
                  <c:v>5.3456395378818353</c:v>
                </c:pt>
                <c:pt idx="2361">
                  <c:v>5.4830983773859057</c:v>
                </c:pt>
                <c:pt idx="2362">
                  <c:v>5.5733355331899084</c:v>
                </c:pt>
                <c:pt idx="2363">
                  <c:v>5.644242310918961</c:v>
                </c:pt>
                <c:pt idx="2364">
                  <c:v>5.817630753683745</c:v>
                </c:pt>
                <c:pt idx="2365">
                  <c:v>5.8411933908992486</c:v>
                </c:pt>
                <c:pt idx="2366">
                  <c:v>5.7571544695454273</c:v>
                </c:pt>
                <c:pt idx="2367">
                  <c:v>5.9346053137411801</c:v>
                </c:pt>
                <c:pt idx="2368">
                  <c:v>5.832922809856746</c:v>
                </c:pt>
                <c:pt idx="2369">
                  <c:v>5.9503694466582608</c:v>
                </c:pt>
                <c:pt idx="2370">
                  <c:v>5.9855189233356532</c:v>
                </c:pt>
                <c:pt idx="2371">
                  <c:v>5.9253012921115547</c:v>
                </c:pt>
                <c:pt idx="2372">
                  <c:v>5.8068528679384546</c:v>
                </c:pt>
                <c:pt idx="2373">
                  <c:v>5.8068528679384546</c:v>
                </c:pt>
                <c:pt idx="2374">
                  <c:v>6.0656371489719447</c:v>
                </c:pt>
                <c:pt idx="2375">
                  <c:v>5.869167439831787</c:v>
                </c:pt>
                <c:pt idx="2376">
                  <c:v>6.0883344267503912</c:v>
                </c:pt>
                <c:pt idx="2377">
                  <c:v>6.2363413972447423</c:v>
                </c:pt>
                <c:pt idx="2378">
                  <c:v>6.4620021095917179</c:v>
                </c:pt>
                <c:pt idx="2379">
                  <c:v>6.5586654095191497</c:v>
                </c:pt>
                <c:pt idx="2380">
                  <c:v>6.6089455225126672</c:v>
                </c:pt>
                <c:pt idx="2381">
                  <c:v>6.5144401934842229</c:v>
                </c:pt>
                <c:pt idx="2382">
                  <c:v>6.4899568742700495</c:v>
                </c:pt>
                <c:pt idx="2383">
                  <c:v>6.4758614569179445</c:v>
                </c:pt>
                <c:pt idx="2384">
                  <c:v>6.555597765952812</c:v>
                </c:pt>
                <c:pt idx="2385">
                  <c:v>6.5689097050152618</c:v>
                </c:pt>
                <c:pt idx="2386">
                  <c:v>6.6092933525975113</c:v>
                </c:pt>
                <c:pt idx="2387">
                  <c:v>6.7125718386960447</c:v>
                </c:pt>
                <c:pt idx="2388">
                  <c:v>6.9029395704035892</c:v>
                </c:pt>
                <c:pt idx="2389">
                  <c:v>7.0254872617041864</c:v>
                </c:pt>
                <c:pt idx="2390">
                  <c:v>7.1483460027276697</c:v>
                </c:pt>
                <c:pt idx="2391">
                  <c:v>6.9896475171351167</c:v>
                </c:pt>
                <c:pt idx="2392">
                  <c:v>6.8800060144320154</c:v>
                </c:pt>
                <c:pt idx="2393">
                  <c:v>6.7196743216100705</c:v>
                </c:pt>
                <c:pt idx="2394">
                  <c:v>6.6003308868640795</c:v>
                </c:pt>
                <c:pt idx="2395">
                  <c:v>6.6037258727402399</c:v>
                </c:pt>
                <c:pt idx="2396">
                  <c:v>6.7606875798045971</c:v>
                </c:pt>
                <c:pt idx="2397">
                  <c:v>6.5555977659528137</c:v>
                </c:pt>
                <c:pt idx="2398">
                  <c:v>6.6627287220018578</c:v>
                </c:pt>
                <c:pt idx="2399">
                  <c:v>6.5985020940405468</c:v>
                </c:pt>
                <c:pt idx="2400">
                  <c:v>6.5636582174426401</c:v>
                </c:pt>
                <c:pt idx="2401">
                  <c:v>6.7908830025279467</c:v>
                </c:pt>
                <c:pt idx="2402">
                  <c:v>7.0205773086781438</c:v>
                </c:pt>
                <c:pt idx="2403">
                  <c:v>6.923639332691689</c:v>
                </c:pt>
                <c:pt idx="2404">
                  <c:v>6.7042618114734767</c:v>
                </c:pt>
                <c:pt idx="2405">
                  <c:v>6.6888997084980151</c:v>
                </c:pt>
                <c:pt idx="2406">
                  <c:v>6.6142479438004873</c:v>
                </c:pt>
                <c:pt idx="2407">
                  <c:v>6.4054574432643969</c:v>
                </c:pt>
                <c:pt idx="2408">
                  <c:v>6.2913916739782056</c:v>
                </c:pt>
                <c:pt idx="2409">
                  <c:v>6.338080495529864</c:v>
                </c:pt>
                <c:pt idx="2410">
                  <c:v>6.2881022482985651</c:v>
                </c:pt>
                <c:pt idx="2411">
                  <c:v>6.2061334141333919</c:v>
                </c:pt>
                <c:pt idx="2412">
                  <c:v>6.4076104176492983</c:v>
                </c:pt>
                <c:pt idx="2413">
                  <c:v>6.4256132584467327</c:v>
                </c:pt>
                <c:pt idx="2414">
                  <c:v>6.3543812381332803</c:v>
                </c:pt>
                <c:pt idx="2415">
                  <c:v>6.4097626688719433</c:v>
                </c:pt>
                <c:pt idx="2416">
                  <c:v>6.4899568742700495</c:v>
                </c:pt>
                <c:pt idx="2417">
                  <c:v>6.4094936769921453</c:v>
                </c:pt>
                <c:pt idx="2418">
                  <c:v>6.223887981735805</c:v>
                </c:pt>
                <c:pt idx="2419">
                  <c:v>6.1158358607685077</c:v>
                </c:pt>
                <c:pt idx="2420">
                  <c:v>6.0894670699004774</c:v>
                </c:pt>
                <c:pt idx="2421">
                  <c:v>6.0894670699004774</c:v>
                </c:pt>
                <c:pt idx="2422">
                  <c:v>6.0599495464687756</c:v>
                </c:pt>
                <c:pt idx="2423">
                  <c:v>6.0409521971520244</c:v>
                </c:pt>
                <c:pt idx="2424">
                  <c:v>5.9670689060919395</c:v>
                </c:pt>
                <c:pt idx="2425">
                  <c:v>5.9960304329098397</c:v>
                </c:pt>
                <c:pt idx="2426">
                  <c:v>5.7892719331250548</c:v>
                </c:pt>
                <c:pt idx="2427">
                  <c:v>5.8918457340502526</c:v>
                </c:pt>
                <c:pt idx="2428">
                  <c:v>5.8380932960456651</c:v>
                </c:pt>
                <c:pt idx="2429">
                  <c:v>5.7854139430773337</c:v>
                </c:pt>
                <c:pt idx="2430">
                  <c:v>5.9120697873046506</c:v>
                </c:pt>
                <c:pt idx="2431">
                  <c:v>5.5267942376620605</c:v>
                </c:pt>
                <c:pt idx="2432">
                  <c:v>5.3224591523628844</c:v>
                </c:pt>
                <c:pt idx="2433">
                  <c:v>5.4192638847570045</c:v>
                </c:pt>
                <c:pt idx="2434">
                  <c:v>5.5625102667623239</c:v>
                </c:pt>
                <c:pt idx="2435">
                  <c:v>5.7189056954054749</c:v>
                </c:pt>
                <c:pt idx="2436">
                  <c:v>5.3039940555374363</c:v>
                </c:pt>
                <c:pt idx="2437">
                  <c:v>5.4757039121316025</c:v>
                </c:pt>
                <c:pt idx="2438">
                  <c:v>5.5908087838114149</c:v>
                </c:pt>
                <c:pt idx="2439">
                  <c:v>5.2503270437120459</c:v>
                </c:pt>
                <c:pt idx="2440">
                  <c:v>5.3792097408353063</c:v>
                </c:pt>
                <c:pt idx="2441">
                  <c:v>5.4411451557609274</c:v>
                </c:pt>
                <c:pt idx="2442">
                  <c:v>5.0290067698213612</c:v>
                </c:pt>
                <c:pt idx="2443">
                  <c:v>5.2025634707004453</c:v>
                </c:pt>
                <c:pt idx="2444">
                  <c:v>5.0110987927909694</c:v>
                </c:pt>
                <c:pt idx="2445">
                  <c:v>4.8088460154178359</c:v>
                </c:pt>
                <c:pt idx="2446">
                  <c:v>4.3861253103502689</c:v>
                </c:pt>
                <c:pt idx="2447">
                  <c:v>4.6761807778000488</c:v>
                </c:pt>
                <c:pt idx="2448">
                  <c:v>5.1478150704935004</c:v>
                </c:pt>
                <c:pt idx="2449">
                  <c:v>5.3541261347363367</c:v>
                </c:pt>
                <c:pt idx="2450">
                  <c:v>0.57735026918962573</c:v>
                </c:pt>
                <c:pt idx="2451">
                  <c:v>0.70710678118654757</c:v>
                </c:pt>
              </c:numCache>
            </c:numRef>
          </c:val>
          <c:smooth val="0"/>
          <c:extLst>
            <c:ext xmlns:c16="http://schemas.microsoft.com/office/drawing/2014/chart" uri="{C3380CC4-5D6E-409C-BE32-E72D297353CC}">
              <c16:uniqueId val="{00000004-6950-4ED7-9FB8-753F466A9E67}"/>
            </c:ext>
          </c:extLst>
        </c:ser>
        <c:ser>
          <c:idx val="3"/>
          <c:order val="3"/>
          <c:tx>
            <c:strRef>
              <c:f>'DRT Rolling Stdev'!$F$1</c:f>
              <c:strCache>
                <c:ptCount val="1"/>
                <c:pt idx="0">
                  <c:v>Pump Torque </c:v>
                </c:pt>
              </c:strCache>
            </c:strRef>
          </c:tx>
          <c:spPr>
            <a:ln w="28575" cap="rnd">
              <a:solidFill>
                <a:schemeClr val="accent4"/>
              </a:solidFill>
              <a:round/>
            </a:ln>
            <a:effectLst/>
          </c:spPr>
          <c:marker>
            <c:symbol val="none"/>
          </c:marker>
          <c:cat>
            <c:numRef>
              <c:f>'DRT Rolling Stdev'!$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F$2:$F$2453</c:f>
              <c:numCache>
                <c:formatCode>#,##0.00</c:formatCode>
                <c:ptCount val="2452"/>
                <c:pt idx="0">
                  <c:v>11.703030357143824</c:v>
                </c:pt>
                <c:pt idx="1">
                  <c:v>11.725598286331227</c:v>
                </c:pt>
                <c:pt idx="2">
                  <c:v>11.940657869013233</c:v>
                </c:pt>
                <c:pt idx="3">
                  <c:v>12.102816239187483</c:v>
                </c:pt>
                <c:pt idx="4">
                  <c:v>12.310214429909205</c:v>
                </c:pt>
                <c:pt idx="5">
                  <c:v>12.411016611596866</c:v>
                </c:pt>
                <c:pt idx="6">
                  <c:v>12.00962257869741</c:v>
                </c:pt>
                <c:pt idx="7">
                  <c:v>12.039398923400684</c:v>
                </c:pt>
                <c:pt idx="8">
                  <c:v>12.176668853500784</c:v>
                </c:pt>
                <c:pt idx="9">
                  <c:v>12.31506879965475</c:v>
                </c:pt>
                <c:pt idx="10">
                  <c:v>12.31506879965475</c:v>
                </c:pt>
                <c:pt idx="11">
                  <c:v>12.73645324960251</c:v>
                </c:pt>
                <c:pt idx="12">
                  <c:v>12.732617179114632</c:v>
                </c:pt>
                <c:pt idx="13">
                  <c:v>12.419672937000755</c:v>
                </c:pt>
                <c:pt idx="14">
                  <c:v>12.275992831539126</c:v>
                </c:pt>
                <c:pt idx="15">
                  <c:v>12.268078379535922</c:v>
                </c:pt>
                <c:pt idx="16">
                  <c:v>12.139088568107896</c:v>
                </c:pt>
                <c:pt idx="17">
                  <c:v>12.416572166577057</c:v>
                </c:pt>
                <c:pt idx="18">
                  <c:v>12.301247483697432</c:v>
                </c:pt>
                <c:pt idx="19">
                  <c:v>11.724078769289541</c:v>
                </c:pt>
                <c:pt idx="20">
                  <c:v>11.787437302523374</c:v>
                </c:pt>
                <c:pt idx="21">
                  <c:v>11.804976546540352</c:v>
                </c:pt>
                <c:pt idx="22">
                  <c:v>11.579262081187538</c:v>
                </c:pt>
                <c:pt idx="23">
                  <c:v>11.094215123000017</c:v>
                </c:pt>
                <c:pt idx="24">
                  <c:v>11.31822860922038</c:v>
                </c:pt>
                <c:pt idx="25">
                  <c:v>11.075706043761549</c:v>
                </c:pt>
                <c:pt idx="26">
                  <c:v>11.055762527183337</c:v>
                </c:pt>
                <c:pt idx="27">
                  <c:v>11.532114080792551</c:v>
                </c:pt>
                <c:pt idx="28">
                  <c:v>11.301764687758778</c:v>
                </c:pt>
                <c:pt idx="29">
                  <c:v>11.044580509041058</c:v>
                </c:pt>
                <c:pt idx="30">
                  <c:v>10.972326736977372</c:v>
                </c:pt>
                <c:pt idx="31">
                  <c:v>10.987767493115181</c:v>
                </c:pt>
                <c:pt idx="32">
                  <c:v>10.516325567814826</c:v>
                </c:pt>
                <c:pt idx="33">
                  <c:v>10.484800164178553</c:v>
                </c:pt>
                <c:pt idx="34">
                  <c:v>10.533798913033698</c:v>
                </c:pt>
                <c:pt idx="35">
                  <c:v>10.79000175769376</c:v>
                </c:pt>
                <c:pt idx="36">
                  <c:v>11.058881072455414</c:v>
                </c:pt>
                <c:pt idx="37">
                  <c:v>11.050771024226549</c:v>
                </c:pt>
                <c:pt idx="38">
                  <c:v>11.025831738115786</c:v>
                </c:pt>
                <c:pt idx="39">
                  <c:v>10.730823580352242</c:v>
                </c:pt>
                <c:pt idx="40">
                  <c:v>10.972326736977372</c:v>
                </c:pt>
                <c:pt idx="41">
                  <c:v>10.590605249003943</c:v>
                </c:pt>
                <c:pt idx="42">
                  <c:v>10.601236102292587</c:v>
                </c:pt>
                <c:pt idx="43">
                  <c:v>10.915769463876824</c:v>
                </c:pt>
                <c:pt idx="44">
                  <c:v>11.127732778136309</c:v>
                </c:pt>
                <c:pt idx="45">
                  <c:v>11.710099776757207</c:v>
                </c:pt>
                <c:pt idx="46">
                  <c:v>11.335479850816897</c:v>
                </c:pt>
                <c:pt idx="47">
                  <c:v>11.397771510356698</c:v>
                </c:pt>
                <c:pt idx="48">
                  <c:v>11.684747893443543</c:v>
                </c:pt>
                <c:pt idx="49">
                  <c:v>11.92837821736684</c:v>
                </c:pt>
                <c:pt idx="50">
                  <c:v>12.179500395544043</c:v>
                </c:pt>
                <c:pt idx="51">
                  <c:v>12.415044636783765</c:v>
                </c:pt>
                <c:pt idx="52">
                  <c:v>12.351183106809284</c:v>
                </c:pt>
                <c:pt idx="53">
                  <c:v>12.40226156610249</c:v>
                </c:pt>
                <c:pt idx="54">
                  <c:v>12.339824324836075</c:v>
                </c:pt>
                <c:pt idx="55">
                  <c:v>12.456083774144496</c:v>
                </c:pt>
                <c:pt idx="56">
                  <c:v>12.387424101162798</c:v>
                </c:pt>
                <c:pt idx="57">
                  <c:v>12.043980706741761</c:v>
                </c:pt>
                <c:pt idx="58">
                  <c:v>11.980299921408335</c:v>
                </c:pt>
                <c:pt idx="59">
                  <c:v>12.110791236241178</c:v>
                </c:pt>
                <c:pt idx="60">
                  <c:v>12.255704747201392</c:v>
                </c:pt>
                <c:pt idx="61">
                  <c:v>12.240360974318087</c:v>
                </c:pt>
                <c:pt idx="62">
                  <c:v>12.614532761129491</c:v>
                </c:pt>
                <c:pt idx="63">
                  <c:v>12.995313036612092</c:v>
                </c:pt>
                <c:pt idx="64">
                  <c:v>13.196525143463676</c:v>
                </c:pt>
                <c:pt idx="65">
                  <c:v>13.079597167686989</c:v>
                </c:pt>
                <c:pt idx="66">
                  <c:v>12.86266985746229</c:v>
                </c:pt>
                <c:pt idx="67">
                  <c:v>12.604004107434665</c:v>
                </c:pt>
                <c:pt idx="68">
                  <c:v>12.594470598448051</c:v>
                </c:pt>
                <c:pt idx="69">
                  <c:v>12.530239285493481</c:v>
                </c:pt>
                <c:pt idx="70">
                  <c:v>12.052614539649865</c:v>
                </c:pt>
                <c:pt idx="71">
                  <c:v>12.082284932718739</c:v>
                </c:pt>
                <c:pt idx="72">
                  <c:v>12.151155283043817</c:v>
                </c:pt>
                <c:pt idx="73">
                  <c:v>11.773533537304038</c:v>
                </c:pt>
                <c:pt idx="74">
                  <c:v>11.577276593972062</c:v>
                </c:pt>
                <c:pt idx="75">
                  <c:v>11.487174257135353</c:v>
                </c:pt>
                <c:pt idx="76">
                  <c:v>11.844781575643879</c:v>
                </c:pt>
                <c:pt idx="77">
                  <c:v>12.20989800102369</c:v>
                </c:pt>
                <c:pt idx="78">
                  <c:v>11.848856581917538</c:v>
                </c:pt>
                <c:pt idx="79">
                  <c:v>11.866159746372739</c:v>
                </c:pt>
                <c:pt idx="80">
                  <c:v>11.792701814764674</c:v>
                </c:pt>
                <c:pt idx="81">
                  <c:v>11.273812601543128</c:v>
                </c:pt>
                <c:pt idx="82">
                  <c:v>11.643211232992895</c:v>
                </c:pt>
                <c:pt idx="83">
                  <c:v>12.054283351839578</c:v>
                </c:pt>
                <c:pt idx="84">
                  <c:v>12.033525964007257</c:v>
                </c:pt>
                <c:pt idx="85">
                  <c:v>12.100584197923441</c:v>
                </c:pt>
                <c:pt idx="86">
                  <c:v>12.081143281515443</c:v>
                </c:pt>
                <c:pt idx="87">
                  <c:v>12.318754975156015</c:v>
                </c:pt>
                <c:pt idx="88">
                  <c:v>12.756832742071811</c:v>
                </c:pt>
                <c:pt idx="89">
                  <c:v>12.874995815198517</c:v>
                </c:pt>
                <c:pt idx="90">
                  <c:v>12.500160918504438</c:v>
                </c:pt>
                <c:pt idx="91">
                  <c:v>12.472544560597568</c:v>
                </c:pt>
                <c:pt idx="92">
                  <c:v>12.835654365419229</c:v>
                </c:pt>
                <c:pt idx="93">
                  <c:v>12.656423565575876</c:v>
                </c:pt>
                <c:pt idx="94">
                  <c:v>12.702791801026649</c:v>
                </c:pt>
                <c:pt idx="95">
                  <c:v>12.786307331376554</c:v>
                </c:pt>
                <c:pt idx="96">
                  <c:v>12.786307331376554</c:v>
                </c:pt>
                <c:pt idx="97">
                  <c:v>12.7757403006591</c:v>
                </c:pt>
                <c:pt idx="98">
                  <c:v>12.673848538688206</c:v>
                </c:pt>
                <c:pt idx="99">
                  <c:v>12.669494542167932</c:v>
                </c:pt>
                <c:pt idx="100">
                  <c:v>12.669494542167932</c:v>
                </c:pt>
                <c:pt idx="101">
                  <c:v>12.471576880453307</c:v>
                </c:pt>
                <c:pt idx="102">
                  <c:v>12.458159861168776</c:v>
                </c:pt>
                <c:pt idx="103">
                  <c:v>12.605417554533366</c:v>
                </c:pt>
                <c:pt idx="104">
                  <c:v>12.767775528807789</c:v>
                </c:pt>
                <c:pt idx="105">
                  <c:v>12.947995007438164</c:v>
                </c:pt>
                <c:pt idx="106">
                  <c:v>12.674029922749851</c:v>
                </c:pt>
                <c:pt idx="107">
                  <c:v>12.258705562536589</c:v>
                </c:pt>
                <c:pt idx="108">
                  <c:v>12.631105556767661</c:v>
                </c:pt>
                <c:pt idx="109">
                  <c:v>12.502367591872305</c:v>
                </c:pt>
                <c:pt idx="110">
                  <c:v>12.416896163890055</c:v>
                </c:pt>
                <c:pt idx="111">
                  <c:v>12.475493218084917</c:v>
                </c:pt>
                <c:pt idx="112">
                  <c:v>12.688532246667172</c:v>
                </c:pt>
                <c:pt idx="113">
                  <c:v>12.813606274079378</c:v>
                </c:pt>
                <c:pt idx="114">
                  <c:v>12.944665612370677</c:v>
                </c:pt>
                <c:pt idx="115">
                  <c:v>13.135194453579031</c:v>
                </c:pt>
                <c:pt idx="116">
                  <c:v>13.505384196639891</c:v>
                </c:pt>
                <c:pt idx="117">
                  <c:v>13.320151529979272</c:v>
                </c:pt>
                <c:pt idx="118">
                  <c:v>13.038625200780823</c:v>
                </c:pt>
                <c:pt idx="119">
                  <c:v>12.730450416858467</c:v>
                </c:pt>
                <c:pt idx="120">
                  <c:v>13.00645286355792</c:v>
                </c:pt>
                <c:pt idx="121">
                  <c:v>13.08047593074169</c:v>
                </c:pt>
                <c:pt idx="122">
                  <c:v>12.627692611465292</c:v>
                </c:pt>
                <c:pt idx="123">
                  <c:v>12.565277828068576</c:v>
                </c:pt>
                <c:pt idx="124">
                  <c:v>12.218367556557071</c:v>
                </c:pt>
                <c:pt idx="125">
                  <c:v>12.042119567508076</c:v>
                </c:pt>
                <c:pt idx="126">
                  <c:v>12.326263895000602</c:v>
                </c:pt>
                <c:pt idx="127">
                  <c:v>12.437660644142476</c:v>
                </c:pt>
                <c:pt idx="128">
                  <c:v>12.762012596657371</c:v>
                </c:pt>
                <c:pt idx="129">
                  <c:v>12.714187929735964</c:v>
                </c:pt>
                <c:pt idx="130">
                  <c:v>12.741686494049508</c:v>
                </c:pt>
                <c:pt idx="131">
                  <c:v>12.914439926713419</c:v>
                </c:pt>
                <c:pt idx="132">
                  <c:v>13.338389845785768</c:v>
                </c:pt>
                <c:pt idx="133">
                  <c:v>13.443325053934654</c:v>
                </c:pt>
                <c:pt idx="134">
                  <c:v>13.276069560999812</c:v>
                </c:pt>
                <c:pt idx="135">
                  <c:v>12.787790513098678</c:v>
                </c:pt>
                <c:pt idx="136">
                  <c:v>12.655878648589201</c:v>
                </c:pt>
                <c:pt idx="137">
                  <c:v>12.731940105521026</c:v>
                </c:pt>
                <c:pt idx="138">
                  <c:v>12.43784547258889</c:v>
                </c:pt>
                <c:pt idx="139">
                  <c:v>12.61999872488472</c:v>
                </c:pt>
                <c:pt idx="140">
                  <c:v>12.657513329171765</c:v>
                </c:pt>
                <c:pt idx="141">
                  <c:v>12.841026205992595</c:v>
                </c:pt>
                <c:pt idx="142">
                  <c:v>12.44486691948444</c:v>
                </c:pt>
                <c:pt idx="143">
                  <c:v>11.894169343330205</c:v>
                </c:pt>
                <c:pt idx="144">
                  <c:v>11.953021067649724</c:v>
                </c:pt>
                <c:pt idx="145">
                  <c:v>11.315181542217223</c:v>
                </c:pt>
                <c:pt idx="146">
                  <c:v>10.973583745973103</c:v>
                </c:pt>
                <c:pt idx="147">
                  <c:v>10.930764346348443</c:v>
                </c:pt>
                <c:pt idx="148">
                  <c:v>10.910292514805489</c:v>
                </c:pt>
                <c:pt idx="149">
                  <c:v>10.78531355620907</c:v>
                </c:pt>
                <c:pt idx="150">
                  <c:v>10.78531355620907</c:v>
                </c:pt>
                <c:pt idx="151">
                  <c:v>10.800383134966509</c:v>
                </c:pt>
                <c:pt idx="152">
                  <c:v>10.782275792446036</c:v>
                </c:pt>
                <c:pt idx="153">
                  <c:v>10.927977381710324</c:v>
                </c:pt>
                <c:pt idx="154">
                  <c:v>10.401370378326428</c:v>
                </c:pt>
                <c:pt idx="155">
                  <c:v>10.411973655474686</c:v>
                </c:pt>
                <c:pt idx="156">
                  <c:v>10.314368952900207</c:v>
                </c:pt>
                <c:pt idx="157">
                  <c:v>10.300094855048108</c:v>
                </c:pt>
                <c:pt idx="158">
                  <c:v>10.580832811669682</c:v>
                </c:pt>
                <c:pt idx="159">
                  <c:v>10.715763444892602</c:v>
                </c:pt>
                <c:pt idx="160">
                  <c:v>10.782115886434617</c:v>
                </c:pt>
                <c:pt idx="161">
                  <c:v>10.656011200850143</c:v>
                </c:pt>
                <c:pt idx="162">
                  <c:v>10.554129768598347</c:v>
                </c:pt>
                <c:pt idx="163">
                  <c:v>10.255864596448689</c:v>
                </c:pt>
                <c:pt idx="164">
                  <c:v>10.317711588031191</c:v>
                </c:pt>
                <c:pt idx="165">
                  <c:v>10.214931599683226</c:v>
                </c:pt>
                <c:pt idx="166">
                  <c:v>10.906920717609982</c:v>
                </c:pt>
                <c:pt idx="167">
                  <c:v>10.907605698271528</c:v>
                </c:pt>
                <c:pt idx="168">
                  <c:v>11.140740188785616</c:v>
                </c:pt>
                <c:pt idx="169">
                  <c:v>11.23566775430181</c:v>
                </c:pt>
                <c:pt idx="170">
                  <c:v>11.642174620106736</c:v>
                </c:pt>
                <c:pt idx="171">
                  <c:v>11.428739736034897</c:v>
                </c:pt>
                <c:pt idx="172">
                  <c:v>11.574297724531364</c:v>
                </c:pt>
                <c:pt idx="173">
                  <c:v>11.704405300923062</c:v>
                </c:pt>
                <c:pt idx="174">
                  <c:v>11.484922649972965</c:v>
                </c:pt>
                <c:pt idx="175">
                  <c:v>11.539288210881688</c:v>
                </c:pt>
                <c:pt idx="176">
                  <c:v>11.54805053956588</c:v>
                </c:pt>
                <c:pt idx="177">
                  <c:v>11.540483465639108</c:v>
                </c:pt>
                <c:pt idx="178">
                  <c:v>11.725843351283974</c:v>
                </c:pt>
                <c:pt idx="179">
                  <c:v>11.938010385069322</c:v>
                </c:pt>
                <c:pt idx="180">
                  <c:v>11.370661987016785</c:v>
                </c:pt>
                <c:pt idx="181">
                  <c:v>11.737747341107582</c:v>
                </c:pt>
                <c:pt idx="182">
                  <c:v>11.980299921408337</c:v>
                </c:pt>
                <c:pt idx="183">
                  <c:v>11.935843825054512</c:v>
                </c:pt>
                <c:pt idx="184">
                  <c:v>12.086137209368349</c:v>
                </c:pt>
                <c:pt idx="185">
                  <c:v>12.632015519779653</c:v>
                </c:pt>
                <c:pt idx="186">
                  <c:v>12.921335826462753</c:v>
                </c:pt>
                <c:pt idx="187">
                  <c:v>13.114175887008772</c:v>
                </c:pt>
                <c:pt idx="188">
                  <c:v>12.868968289167015</c:v>
                </c:pt>
                <c:pt idx="189">
                  <c:v>12.82638265272103</c:v>
                </c:pt>
                <c:pt idx="190">
                  <c:v>13.235662379370728</c:v>
                </c:pt>
                <c:pt idx="191">
                  <c:v>13.635484471833379</c:v>
                </c:pt>
                <c:pt idx="192">
                  <c:v>13.459218948833684</c:v>
                </c:pt>
                <c:pt idx="193">
                  <c:v>13.789926358234013</c:v>
                </c:pt>
                <c:pt idx="194">
                  <c:v>14.186767349050735</c:v>
                </c:pt>
                <c:pt idx="195">
                  <c:v>14.348254729865351</c:v>
                </c:pt>
                <c:pt idx="196">
                  <c:v>14.348254729865353</c:v>
                </c:pt>
                <c:pt idx="197">
                  <c:v>14.410085867636031</c:v>
                </c:pt>
                <c:pt idx="198">
                  <c:v>14.464582189992024</c:v>
                </c:pt>
                <c:pt idx="199">
                  <c:v>14.468713770094409</c:v>
                </c:pt>
                <c:pt idx="200">
                  <c:v>14.468713770094409</c:v>
                </c:pt>
                <c:pt idx="201">
                  <c:v>14.446452851824906</c:v>
                </c:pt>
                <c:pt idx="202">
                  <c:v>14.218370826698719</c:v>
                </c:pt>
                <c:pt idx="203">
                  <c:v>14.534975653277833</c:v>
                </c:pt>
                <c:pt idx="204">
                  <c:v>14.455480605646768</c:v>
                </c:pt>
                <c:pt idx="205">
                  <c:v>14.60687918551495</c:v>
                </c:pt>
                <c:pt idx="206">
                  <c:v>14.592392916670068</c:v>
                </c:pt>
                <c:pt idx="207">
                  <c:v>14.547148869448097</c:v>
                </c:pt>
                <c:pt idx="208">
                  <c:v>14.475861795162444</c:v>
                </c:pt>
                <c:pt idx="209">
                  <c:v>14.317780923547918</c:v>
                </c:pt>
                <c:pt idx="210">
                  <c:v>14.301193584139559</c:v>
                </c:pt>
                <c:pt idx="211">
                  <c:v>14.175460421479068</c:v>
                </c:pt>
                <c:pt idx="212">
                  <c:v>13.868180730781136</c:v>
                </c:pt>
                <c:pt idx="213">
                  <c:v>14.331903163078588</c:v>
                </c:pt>
                <c:pt idx="214">
                  <c:v>14.935455001169331</c:v>
                </c:pt>
                <c:pt idx="215">
                  <c:v>15.535683804209192</c:v>
                </c:pt>
                <c:pt idx="216">
                  <c:v>15.730342595154104</c:v>
                </c:pt>
                <c:pt idx="217">
                  <c:v>16.831688778207511</c:v>
                </c:pt>
                <c:pt idx="218">
                  <c:v>18.140068052946141</c:v>
                </c:pt>
                <c:pt idx="219">
                  <c:v>19.3040106606427</c:v>
                </c:pt>
                <c:pt idx="220">
                  <c:v>19.738549714393564</c:v>
                </c:pt>
                <c:pt idx="221">
                  <c:v>20.151723351192285</c:v>
                </c:pt>
                <c:pt idx="222">
                  <c:v>20.677296117061427</c:v>
                </c:pt>
                <c:pt idx="223">
                  <c:v>20.442911819947785</c:v>
                </c:pt>
                <c:pt idx="224">
                  <c:v>20.354586593745864</c:v>
                </c:pt>
                <c:pt idx="225">
                  <c:v>20.445610494816414</c:v>
                </c:pt>
                <c:pt idx="226">
                  <c:v>19.897467059962654</c:v>
                </c:pt>
                <c:pt idx="227">
                  <c:v>19.8015731408031</c:v>
                </c:pt>
                <c:pt idx="228">
                  <c:v>18.709392809771913</c:v>
                </c:pt>
                <c:pt idx="229">
                  <c:v>18.930635634263346</c:v>
                </c:pt>
                <c:pt idx="230">
                  <c:v>17.730712363566791</c:v>
                </c:pt>
                <c:pt idx="231">
                  <c:v>17.751023930317729</c:v>
                </c:pt>
                <c:pt idx="232">
                  <c:v>17.901550693763355</c:v>
                </c:pt>
                <c:pt idx="233">
                  <c:v>17.910377137162754</c:v>
                </c:pt>
                <c:pt idx="234">
                  <c:v>17.296069582090198</c:v>
                </c:pt>
                <c:pt idx="235">
                  <c:v>16.103865460150267</c:v>
                </c:pt>
                <c:pt idx="236">
                  <c:v>15.456464629745529</c:v>
                </c:pt>
                <c:pt idx="237">
                  <c:v>15.427099607471606</c:v>
                </c:pt>
                <c:pt idx="238">
                  <c:v>14.473956000307949</c:v>
                </c:pt>
                <c:pt idx="239">
                  <c:v>13.128892416801731</c:v>
                </c:pt>
                <c:pt idx="240">
                  <c:v>12.274869196578164</c:v>
                </c:pt>
                <c:pt idx="241">
                  <c:v>9.0655974690730883</c:v>
                </c:pt>
                <c:pt idx="242">
                  <c:v>6.9979471538313351</c:v>
                </c:pt>
                <c:pt idx="243">
                  <c:v>6.86662760841475</c:v>
                </c:pt>
                <c:pt idx="244">
                  <c:v>6.749116587572308</c:v>
                </c:pt>
                <c:pt idx="245">
                  <c:v>6.8060993605549953</c:v>
                </c:pt>
                <c:pt idx="246">
                  <c:v>6.8528037721964496</c:v>
                </c:pt>
                <c:pt idx="247">
                  <c:v>6.9576716940582104</c:v>
                </c:pt>
                <c:pt idx="248">
                  <c:v>6.7132567425917822</c:v>
                </c:pt>
                <c:pt idx="249">
                  <c:v>6.7132567425917822</c:v>
                </c:pt>
                <c:pt idx="250">
                  <c:v>6.4406218019227213</c:v>
                </c:pt>
                <c:pt idx="251">
                  <c:v>6.5354910816373177</c:v>
                </c:pt>
                <c:pt idx="252">
                  <c:v>6.6691949228928848</c:v>
                </c:pt>
                <c:pt idx="253">
                  <c:v>6.7807197936163268</c:v>
                </c:pt>
                <c:pt idx="254">
                  <c:v>6.6051181826593046</c:v>
                </c:pt>
                <c:pt idx="255">
                  <c:v>6.6051181826593046</c:v>
                </c:pt>
                <c:pt idx="256">
                  <c:v>6.6609170608823849</c:v>
                </c:pt>
                <c:pt idx="257">
                  <c:v>6.5689097050152601</c:v>
                </c:pt>
                <c:pt idx="258">
                  <c:v>8.4595725551644723</c:v>
                </c:pt>
                <c:pt idx="259">
                  <c:v>9.8907247854547631</c:v>
                </c:pt>
                <c:pt idx="260">
                  <c:v>10.519221596130853</c:v>
                </c:pt>
                <c:pt idx="261">
                  <c:v>10.397888821968765</c:v>
                </c:pt>
                <c:pt idx="262">
                  <c:v>11.984137024829325</c:v>
                </c:pt>
                <c:pt idx="263">
                  <c:v>13.844331592438088</c:v>
                </c:pt>
                <c:pt idx="264">
                  <c:v>13.907907285334888</c:v>
                </c:pt>
                <c:pt idx="265">
                  <c:v>14.28885105135525</c:v>
                </c:pt>
                <c:pt idx="266">
                  <c:v>14.390929454858455</c:v>
                </c:pt>
                <c:pt idx="267">
                  <c:v>14.392247274459795</c:v>
                </c:pt>
                <c:pt idx="268">
                  <c:v>14.136607731733932</c:v>
                </c:pt>
                <c:pt idx="269">
                  <c:v>14.344729497896294</c:v>
                </c:pt>
                <c:pt idx="270">
                  <c:v>14.564205847008033</c:v>
                </c:pt>
                <c:pt idx="271">
                  <c:v>14.936493918410459</c:v>
                </c:pt>
                <c:pt idx="272">
                  <c:v>14.442951588048498</c:v>
                </c:pt>
                <c:pt idx="273">
                  <c:v>15.355743243969426</c:v>
                </c:pt>
                <c:pt idx="274">
                  <c:v>15.121918323847126</c:v>
                </c:pt>
                <c:pt idx="275">
                  <c:v>14.975842616325984</c:v>
                </c:pt>
                <c:pt idx="276">
                  <c:v>15.023391722596285</c:v>
                </c:pt>
                <c:pt idx="277">
                  <c:v>14.941110454353634</c:v>
                </c:pt>
                <c:pt idx="278">
                  <c:v>14.575842082493661</c:v>
                </c:pt>
                <c:pt idx="279">
                  <c:v>14.662486342606647</c:v>
                </c:pt>
                <c:pt idx="280">
                  <c:v>14.219300466166626</c:v>
                </c:pt>
                <c:pt idx="281">
                  <c:v>14.08875805201707</c:v>
                </c:pt>
                <c:pt idx="282">
                  <c:v>14.918938053483505</c:v>
                </c:pt>
                <c:pt idx="283">
                  <c:v>15.433952719628376</c:v>
                </c:pt>
                <c:pt idx="284">
                  <c:v>14.702763834320953</c:v>
                </c:pt>
                <c:pt idx="285">
                  <c:v>14.462635171086701</c:v>
                </c:pt>
                <c:pt idx="286">
                  <c:v>13.538408538197038</c:v>
                </c:pt>
                <c:pt idx="287">
                  <c:v>12.703334705646315</c:v>
                </c:pt>
                <c:pt idx="288">
                  <c:v>12.879637319088777</c:v>
                </c:pt>
                <c:pt idx="289">
                  <c:v>13.048142511043697</c:v>
                </c:pt>
                <c:pt idx="290">
                  <c:v>13.310828708970009</c:v>
                </c:pt>
                <c:pt idx="291">
                  <c:v>13.040388189694777</c:v>
                </c:pt>
                <c:pt idx="292">
                  <c:v>13.202620777796309</c:v>
                </c:pt>
                <c:pt idx="293">
                  <c:v>12.925782841629575</c:v>
                </c:pt>
                <c:pt idx="294">
                  <c:v>12.82638265272103</c:v>
                </c:pt>
                <c:pt idx="295">
                  <c:v>12.883251178159192</c:v>
                </c:pt>
                <c:pt idx="296">
                  <c:v>13.428439540979701</c:v>
                </c:pt>
                <c:pt idx="297">
                  <c:v>13.416793388421326</c:v>
                </c:pt>
                <c:pt idx="298">
                  <c:v>13.494826594943197</c:v>
                </c:pt>
                <c:pt idx="299">
                  <c:v>13.582273775754199</c:v>
                </c:pt>
                <c:pt idx="300">
                  <c:v>13.652670152715569</c:v>
                </c:pt>
                <c:pt idx="301">
                  <c:v>13.759218435435315</c:v>
                </c:pt>
                <c:pt idx="302">
                  <c:v>14.130792983581195</c:v>
                </c:pt>
                <c:pt idx="303">
                  <c:v>13.607004619409949</c:v>
                </c:pt>
                <c:pt idx="304">
                  <c:v>13.542780237149394</c:v>
                </c:pt>
                <c:pt idx="305">
                  <c:v>13.591579543333388</c:v>
                </c:pt>
                <c:pt idx="306">
                  <c:v>14.011325468324198</c:v>
                </c:pt>
                <c:pt idx="307">
                  <c:v>13.894553634055869</c:v>
                </c:pt>
                <c:pt idx="308">
                  <c:v>13.602949308332272</c:v>
                </c:pt>
                <c:pt idx="309">
                  <c:v>13.40479413296327</c:v>
                </c:pt>
                <c:pt idx="310">
                  <c:v>13.566524046808881</c:v>
                </c:pt>
                <c:pt idx="311">
                  <c:v>12.971941426317654</c:v>
                </c:pt>
                <c:pt idx="312">
                  <c:v>12.930450561528703</c:v>
                </c:pt>
                <c:pt idx="313">
                  <c:v>12.68092059459552</c:v>
                </c:pt>
                <c:pt idx="314">
                  <c:v>12.397812191126174</c:v>
                </c:pt>
                <c:pt idx="315">
                  <c:v>12.142070871868244</c:v>
                </c:pt>
                <c:pt idx="316">
                  <c:v>12.269202636411762</c:v>
                </c:pt>
                <c:pt idx="317">
                  <c:v>12.302742428595657</c:v>
                </c:pt>
                <c:pt idx="318">
                  <c:v>11.618504859594189</c:v>
                </c:pt>
                <c:pt idx="319">
                  <c:v>11.703668743986457</c:v>
                </c:pt>
                <c:pt idx="320">
                  <c:v>11.703668743986457</c:v>
                </c:pt>
                <c:pt idx="321">
                  <c:v>11.32635011363112</c:v>
                </c:pt>
                <c:pt idx="322">
                  <c:v>11.281966079575389</c:v>
                </c:pt>
                <c:pt idx="323">
                  <c:v>11.834879290305075</c:v>
                </c:pt>
                <c:pt idx="324">
                  <c:v>12.015315896469557</c:v>
                </c:pt>
                <c:pt idx="325">
                  <c:v>12.364390843043592</c:v>
                </c:pt>
                <c:pt idx="326">
                  <c:v>12.140982179208654</c:v>
                </c:pt>
                <c:pt idx="327">
                  <c:v>12.784689118710277</c:v>
                </c:pt>
                <c:pt idx="328">
                  <c:v>13.288185055490667</c:v>
                </c:pt>
                <c:pt idx="329">
                  <c:v>13.808876039390908</c:v>
                </c:pt>
                <c:pt idx="330">
                  <c:v>13.869838275665057</c:v>
                </c:pt>
                <c:pt idx="331">
                  <c:v>13.650649430890001</c:v>
                </c:pt>
                <c:pt idx="332">
                  <c:v>13.407366306041162</c:v>
                </c:pt>
                <c:pt idx="333">
                  <c:v>13.413837425686904</c:v>
                </c:pt>
                <c:pt idx="334">
                  <c:v>13.165131585182598</c:v>
                </c:pt>
                <c:pt idx="335">
                  <c:v>13.136769490391396</c:v>
                </c:pt>
                <c:pt idx="336">
                  <c:v>12.926182997952324</c:v>
                </c:pt>
                <c:pt idx="337">
                  <c:v>13.018289521629391</c:v>
                </c:pt>
                <c:pt idx="338">
                  <c:v>13.018289521629391</c:v>
                </c:pt>
                <c:pt idx="339">
                  <c:v>12.966623821694425</c:v>
                </c:pt>
                <c:pt idx="340">
                  <c:v>12.699036075284585</c:v>
                </c:pt>
                <c:pt idx="341">
                  <c:v>12.731940105521026</c:v>
                </c:pt>
                <c:pt idx="342">
                  <c:v>12.200857328082723</c:v>
                </c:pt>
                <c:pt idx="343">
                  <c:v>12.419117632047</c:v>
                </c:pt>
                <c:pt idx="344">
                  <c:v>12.517390202085432</c:v>
                </c:pt>
                <c:pt idx="345">
                  <c:v>12.009574724255279</c:v>
                </c:pt>
                <c:pt idx="346">
                  <c:v>12.134542695824249</c:v>
                </c:pt>
                <c:pt idx="347">
                  <c:v>11.931268684167376</c:v>
                </c:pt>
                <c:pt idx="348">
                  <c:v>12.572548091665482</c:v>
                </c:pt>
                <c:pt idx="349">
                  <c:v>12.863742148728166</c:v>
                </c:pt>
                <c:pt idx="350">
                  <c:v>12.562670482631168</c:v>
                </c:pt>
                <c:pt idx="351">
                  <c:v>12.820601237537733</c:v>
                </c:pt>
                <c:pt idx="352">
                  <c:v>12.6734404150579</c:v>
                </c:pt>
                <c:pt idx="353">
                  <c:v>12.810780302308794</c:v>
                </c:pt>
                <c:pt idx="354">
                  <c:v>12.756967895431011</c:v>
                </c:pt>
                <c:pt idx="355">
                  <c:v>12.530468613669678</c:v>
                </c:pt>
                <c:pt idx="356">
                  <c:v>12.800143677354544</c:v>
                </c:pt>
                <c:pt idx="357">
                  <c:v>12.697904614903806</c:v>
                </c:pt>
                <c:pt idx="358">
                  <c:v>12.294330998986634</c:v>
                </c:pt>
                <c:pt idx="359">
                  <c:v>11.842889131816854</c:v>
                </c:pt>
                <c:pt idx="360">
                  <c:v>12.187425213445756</c:v>
                </c:pt>
                <c:pt idx="361">
                  <c:v>12.187425213445756</c:v>
                </c:pt>
                <c:pt idx="362">
                  <c:v>12.685451890065741</c:v>
                </c:pt>
                <c:pt idx="363">
                  <c:v>12.928805938233655</c:v>
                </c:pt>
                <c:pt idx="364">
                  <c:v>12.922447723725325</c:v>
                </c:pt>
                <c:pt idx="365">
                  <c:v>13.085747269804481</c:v>
                </c:pt>
                <c:pt idx="366">
                  <c:v>12.864635656508606</c:v>
                </c:pt>
                <c:pt idx="367">
                  <c:v>12.953719565233479</c:v>
                </c:pt>
                <c:pt idx="368">
                  <c:v>13.138738020891093</c:v>
                </c:pt>
                <c:pt idx="369">
                  <c:v>13.244343837206921</c:v>
                </c:pt>
                <c:pt idx="370">
                  <c:v>13.71805589255505</c:v>
                </c:pt>
                <c:pt idx="371">
                  <c:v>13.60713132840665</c:v>
                </c:pt>
                <c:pt idx="372">
                  <c:v>13.621315277353267</c:v>
                </c:pt>
                <c:pt idx="373">
                  <c:v>13.773245763093559</c:v>
                </c:pt>
                <c:pt idx="374">
                  <c:v>13.899474892917739</c:v>
                </c:pt>
                <c:pt idx="375">
                  <c:v>14.351138366477869</c:v>
                </c:pt>
                <c:pt idx="376">
                  <c:v>14.282695904445022</c:v>
                </c:pt>
                <c:pt idx="377">
                  <c:v>14.267115150325372</c:v>
                </c:pt>
                <c:pt idx="378">
                  <c:v>13.970247531520476</c:v>
                </c:pt>
                <c:pt idx="379">
                  <c:v>13.434772177014237</c:v>
                </c:pt>
                <c:pt idx="380">
                  <c:v>13.327915565959044</c:v>
                </c:pt>
                <c:pt idx="381">
                  <c:v>13.195958977404155</c:v>
                </c:pt>
                <c:pt idx="382">
                  <c:v>13.195958977404155</c:v>
                </c:pt>
                <c:pt idx="383">
                  <c:v>13.208496046715235</c:v>
                </c:pt>
                <c:pt idx="384">
                  <c:v>13.458364915802237</c:v>
                </c:pt>
                <c:pt idx="385">
                  <c:v>13.441914204132695</c:v>
                </c:pt>
                <c:pt idx="386">
                  <c:v>13.53535175480995</c:v>
                </c:pt>
                <c:pt idx="387">
                  <c:v>13.415593945835578</c:v>
                </c:pt>
                <c:pt idx="388">
                  <c:v>13.28312385361007</c:v>
                </c:pt>
                <c:pt idx="389">
                  <c:v>13.000486286218717</c:v>
                </c:pt>
                <c:pt idx="390">
                  <c:v>12.756292114315475</c:v>
                </c:pt>
                <c:pt idx="391">
                  <c:v>12.810241951289395</c:v>
                </c:pt>
                <c:pt idx="392">
                  <c:v>12.773715829466147</c:v>
                </c:pt>
                <c:pt idx="393">
                  <c:v>12.623140582316255</c:v>
                </c:pt>
                <c:pt idx="394">
                  <c:v>13.045631672982591</c:v>
                </c:pt>
                <c:pt idx="395">
                  <c:v>12.548801289091458</c:v>
                </c:pt>
                <c:pt idx="396">
                  <c:v>12.503792528117495</c:v>
                </c:pt>
                <c:pt idx="397">
                  <c:v>11.970461729732421</c:v>
                </c:pt>
                <c:pt idx="398">
                  <c:v>12.000239461212297</c:v>
                </c:pt>
                <c:pt idx="399">
                  <c:v>11.989890377495858</c:v>
                </c:pt>
                <c:pt idx="400">
                  <c:v>12.355881841938842</c:v>
                </c:pt>
                <c:pt idx="401">
                  <c:v>12.32421222214839</c:v>
                </c:pt>
                <c:pt idx="402">
                  <c:v>12.410785076170507</c:v>
                </c:pt>
                <c:pt idx="403">
                  <c:v>12.03467213235713</c:v>
                </c:pt>
                <c:pt idx="404">
                  <c:v>11.539238405913354</c:v>
                </c:pt>
                <c:pt idx="405">
                  <c:v>11.231370270849393</c:v>
                </c:pt>
                <c:pt idx="406">
                  <c:v>11.487574496650369</c:v>
                </c:pt>
                <c:pt idx="407">
                  <c:v>11.497326025956053</c:v>
                </c:pt>
                <c:pt idx="408">
                  <c:v>11.397166415335462</c:v>
                </c:pt>
                <c:pt idx="409">
                  <c:v>11.541479416714168</c:v>
                </c:pt>
                <c:pt idx="410">
                  <c:v>11.388843098683763</c:v>
                </c:pt>
                <c:pt idx="411">
                  <c:v>11.434018611546657</c:v>
                </c:pt>
                <c:pt idx="412">
                  <c:v>11.434169400750431</c:v>
                </c:pt>
                <c:pt idx="413">
                  <c:v>11.297492347124352</c:v>
                </c:pt>
                <c:pt idx="414">
                  <c:v>11.251768698767972</c:v>
                </c:pt>
                <c:pt idx="415">
                  <c:v>11.251768698767973</c:v>
                </c:pt>
                <c:pt idx="416">
                  <c:v>10.96368089879374</c:v>
                </c:pt>
                <c:pt idx="417">
                  <c:v>10.845625210512141</c:v>
                </c:pt>
                <c:pt idx="418">
                  <c:v>11.385865405601928</c:v>
                </c:pt>
                <c:pt idx="419">
                  <c:v>11.24461556970023</c:v>
                </c:pt>
                <c:pt idx="420">
                  <c:v>11.449087701446009</c:v>
                </c:pt>
                <c:pt idx="421">
                  <c:v>11.368892828148702</c:v>
                </c:pt>
                <c:pt idx="422">
                  <c:v>11.205550759159136</c:v>
                </c:pt>
                <c:pt idx="423">
                  <c:v>11.205550759159136</c:v>
                </c:pt>
                <c:pt idx="424">
                  <c:v>11.306848702720263</c:v>
                </c:pt>
                <c:pt idx="425">
                  <c:v>11.533110754612602</c:v>
                </c:pt>
                <c:pt idx="426">
                  <c:v>11.65445995237914</c:v>
                </c:pt>
                <c:pt idx="427">
                  <c:v>11.312895703373309</c:v>
                </c:pt>
                <c:pt idx="428">
                  <c:v>10.935337635180831</c:v>
                </c:pt>
                <c:pt idx="429">
                  <c:v>10.947156246489655</c:v>
                </c:pt>
                <c:pt idx="430">
                  <c:v>10.423227818719091</c:v>
                </c:pt>
                <c:pt idx="431">
                  <c:v>10.754095718034302</c:v>
                </c:pt>
                <c:pt idx="432">
                  <c:v>11.125253451846213</c:v>
                </c:pt>
                <c:pt idx="433">
                  <c:v>11.397922779092728</c:v>
                </c:pt>
                <c:pt idx="434">
                  <c:v>11.179825837065907</c:v>
                </c:pt>
                <c:pt idx="435">
                  <c:v>11.256671074441186</c:v>
                </c:pt>
                <c:pt idx="436">
                  <c:v>10.787604636484575</c:v>
                </c:pt>
                <c:pt idx="437">
                  <c:v>11.192361927548689</c:v>
                </c:pt>
                <c:pt idx="438">
                  <c:v>11.28542952395831</c:v>
                </c:pt>
                <c:pt idx="439">
                  <c:v>11.296474885006658</c:v>
                </c:pt>
                <c:pt idx="440">
                  <c:v>11.663677778057178</c:v>
                </c:pt>
                <c:pt idx="441">
                  <c:v>11.719371918363183</c:v>
                </c:pt>
                <c:pt idx="442">
                  <c:v>11.701262334888705</c:v>
                </c:pt>
                <c:pt idx="443">
                  <c:v>11.38339181419151</c:v>
                </c:pt>
                <c:pt idx="444">
                  <c:v>11.288484621837922</c:v>
                </c:pt>
                <c:pt idx="445">
                  <c:v>10.560444522166058</c:v>
                </c:pt>
                <c:pt idx="446">
                  <c:v>10.649267418546881</c:v>
                </c:pt>
                <c:pt idx="447">
                  <c:v>11.208781450683899</c:v>
                </c:pt>
                <c:pt idx="448">
                  <c:v>11.02577961379394</c:v>
                </c:pt>
                <c:pt idx="449">
                  <c:v>11.292607692900125</c:v>
                </c:pt>
                <c:pt idx="450">
                  <c:v>11.063089714134495</c:v>
                </c:pt>
                <c:pt idx="451">
                  <c:v>11.497176065071997</c:v>
                </c:pt>
                <c:pt idx="452">
                  <c:v>11.394897022830857</c:v>
                </c:pt>
                <c:pt idx="453">
                  <c:v>11.18311535152514</c:v>
                </c:pt>
                <c:pt idx="454">
                  <c:v>11.23628154633488</c:v>
                </c:pt>
                <c:pt idx="455">
                  <c:v>11.498375697382691</c:v>
                </c:pt>
                <c:pt idx="456">
                  <c:v>11.875019661205744</c:v>
                </c:pt>
                <c:pt idx="457">
                  <c:v>12.295032171245184</c:v>
                </c:pt>
                <c:pt idx="458">
                  <c:v>12.32980688944618</c:v>
                </c:pt>
                <c:pt idx="459">
                  <c:v>12.800143677354546</c:v>
                </c:pt>
                <c:pt idx="460">
                  <c:v>12.794799590135209</c:v>
                </c:pt>
                <c:pt idx="461">
                  <c:v>12.915107432770352</c:v>
                </c:pt>
                <c:pt idx="462">
                  <c:v>12.434887887778048</c:v>
                </c:pt>
                <c:pt idx="463">
                  <c:v>12.753228124134175</c:v>
                </c:pt>
                <c:pt idx="464">
                  <c:v>13.037699536168269</c:v>
                </c:pt>
                <c:pt idx="465">
                  <c:v>12.970745155350846</c:v>
                </c:pt>
                <c:pt idx="466">
                  <c:v>12.952432869595556</c:v>
                </c:pt>
                <c:pt idx="467">
                  <c:v>12.454284218785874</c:v>
                </c:pt>
                <c:pt idx="468">
                  <c:v>12.477520015897646</c:v>
                </c:pt>
                <c:pt idx="469">
                  <c:v>12.386542567706664</c:v>
                </c:pt>
                <c:pt idx="470">
                  <c:v>12.603593722135116</c:v>
                </c:pt>
                <c:pt idx="471">
                  <c:v>12.759670661984142</c:v>
                </c:pt>
                <c:pt idx="472">
                  <c:v>12.789363396664983</c:v>
                </c:pt>
                <c:pt idx="473">
                  <c:v>13.079992618367632</c:v>
                </c:pt>
                <c:pt idx="474">
                  <c:v>13.17102357711676</c:v>
                </c:pt>
                <c:pt idx="475">
                  <c:v>13.244343837206921</c:v>
                </c:pt>
                <c:pt idx="476">
                  <c:v>13.349243381202349</c:v>
                </c:pt>
                <c:pt idx="477">
                  <c:v>13.468737749014348</c:v>
                </c:pt>
                <c:pt idx="478">
                  <c:v>13.304091497532351</c:v>
                </c:pt>
                <c:pt idx="479">
                  <c:v>13.093825868021499</c:v>
                </c:pt>
                <c:pt idx="480">
                  <c:v>13.389350717778594</c:v>
                </c:pt>
                <c:pt idx="481">
                  <c:v>13.13781941003052</c:v>
                </c:pt>
                <c:pt idx="482">
                  <c:v>12.987350167290328</c:v>
                </c:pt>
                <c:pt idx="483">
                  <c:v>13.466902808900342</c:v>
                </c:pt>
                <c:pt idx="484">
                  <c:v>13.120134566172817</c:v>
                </c:pt>
                <c:pt idx="485">
                  <c:v>13.049860174527259</c:v>
                </c:pt>
                <c:pt idx="486">
                  <c:v>12.891055439521917</c:v>
                </c:pt>
                <c:pt idx="487">
                  <c:v>12.623459277786379</c:v>
                </c:pt>
                <c:pt idx="488">
                  <c:v>12.928139139458368</c:v>
                </c:pt>
                <c:pt idx="489">
                  <c:v>12.838340566667762</c:v>
                </c:pt>
                <c:pt idx="490">
                  <c:v>13.124558011167681</c:v>
                </c:pt>
                <c:pt idx="491">
                  <c:v>12.706048880785859</c:v>
                </c:pt>
                <c:pt idx="492">
                  <c:v>12.768900797884164</c:v>
                </c:pt>
                <c:pt idx="493">
                  <c:v>12.787206249926561</c:v>
                </c:pt>
                <c:pt idx="494">
                  <c:v>12.467013948079515</c:v>
                </c:pt>
                <c:pt idx="495">
                  <c:v>12.907985588542584</c:v>
                </c:pt>
                <c:pt idx="496">
                  <c:v>13.152902743300151</c:v>
                </c:pt>
                <c:pt idx="497">
                  <c:v>13.177131008273212</c:v>
                </c:pt>
                <c:pt idx="498">
                  <c:v>13.11141469873861</c:v>
                </c:pt>
                <c:pt idx="499">
                  <c:v>12.804498132054732</c:v>
                </c:pt>
                <c:pt idx="500">
                  <c:v>12.386542567706663</c:v>
                </c:pt>
                <c:pt idx="501">
                  <c:v>12.390624932056353</c:v>
                </c:pt>
                <c:pt idx="502">
                  <c:v>12.737897117990306</c:v>
                </c:pt>
                <c:pt idx="503">
                  <c:v>12.5663754958798</c:v>
                </c:pt>
                <c:pt idx="504">
                  <c:v>12.478763569756621</c:v>
                </c:pt>
                <c:pt idx="505">
                  <c:v>12.522898566456055</c:v>
                </c:pt>
                <c:pt idx="506">
                  <c:v>12.260393198397445</c:v>
                </c:pt>
                <c:pt idx="507">
                  <c:v>11.820496517957039</c:v>
                </c:pt>
                <c:pt idx="508">
                  <c:v>11.820496517957039</c:v>
                </c:pt>
                <c:pt idx="509">
                  <c:v>12.093695517267161</c:v>
                </c:pt>
                <c:pt idx="510">
                  <c:v>12.279316316285783</c:v>
                </c:pt>
                <c:pt idx="511">
                  <c:v>12.469226487453113</c:v>
                </c:pt>
                <c:pt idx="512">
                  <c:v>12.459405347334817</c:v>
                </c:pt>
                <c:pt idx="513">
                  <c:v>12.077146652432761</c:v>
                </c:pt>
                <c:pt idx="514">
                  <c:v>12.25218723143027</c:v>
                </c:pt>
                <c:pt idx="515">
                  <c:v>11.595133739495273</c:v>
                </c:pt>
                <c:pt idx="516">
                  <c:v>11.521294627126652</c:v>
                </c:pt>
                <c:pt idx="517">
                  <c:v>12.076194879125655</c:v>
                </c:pt>
                <c:pt idx="518">
                  <c:v>12.186293412126464</c:v>
                </c:pt>
                <c:pt idx="519">
                  <c:v>11.97031769616523</c:v>
                </c:pt>
                <c:pt idx="520">
                  <c:v>12.035579438223699</c:v>
                </c:pt>
                <c:pt idx="521">
                  <c:v>12.224151711160625</c:v>
                </c:pt>
                <c:pt idx="522">
                  <c:v>12.520557807705371</c:v>
                </c:pt>
                <c:pt idx="523">
                  <c:v>12.021484598585277</c:v>
                </c:pt>
                <c:pt idx="524">
                  <c:v>12.480053050285125</c:v>
                </c:pt>
                <c:pt idx="525">
                  <c:v>12.213615918027857</c:v>
                </c:pt>
                <c:pt idx="526">
                  <c:v>12.140982179208653</c:v>
                </c:pt>
                <c:pt idx="527">
                  <c:v>12.047845231104343</c:v>
                </c:pt>
                <c:pt idx="528">
                  <c:v>12.080619988657238</c:v>
                </c:pt>
                <c:pt idx="529">
                  <c:v>12.065720417588098</c:v>
                </c:pt>
                <c:pt idx="530">
                  <c:v>12.148742898875939</c:v>
                </c:pt>
                <c:pt idx="531">
                  <c:v>12.041880939110971</c:v>
                </c:pt>
                <c:pt idx="532">
                  <c:v>11.935843825054512</c:v>
                </c:pt>
                <c:pt idx="533">
                  <c:v>11.704257993243903</c:v>
                </c:pt>
                <c:pt idx="534">
                  <c:v>11.975069889172868</c:v>
                </c:pt>
                <c:pt idx="535">
                  <c:v>11.94955873758477</c:v>
                </c:pt>
                <c:pt idx="536">
                  <c:v>11.944507707219081</c:v>
                </c:pt>
                <c:pt idx="537">
                  <c:v>11.905036121636561</c:v>
                </c:pt>
                <c:pt idx="538">
                  <c:v>11.912709334075135</c:v>
                </c:pt>
                <c:pt idx="539">
                  <c:v>11.710296088603339</c:v>
                </c:pt>
                <c:pt idx="540">
                  <c:v>11.449840635341291</c:v>
                </c:pt>
                <c:pt idx="541">
                  <c:v>11.043487704962375</c:v>
                </c:pt>
                <c:pt idx="542">
                  <c:v>11.054982753408568</c:v>
                </c:pt>
                <c:pt idx="543">
                  <c:v>11.461279140664441</c:v>
                </c:pt>
                <c:pt idx="544">
                  <c:v>11.203242551965076</c:v>
                </c:pt>
                <c:pt idx="545">
                  <c:v>11.509166761335502</c:v>
                </c:pt>
                <c:pt idx="546">
                  <c:v>11.451095415151189</c:v>
                </c:pt>
                <c:pt idx="547">
                  <c:v>10.929712745065864</c:v>
                </c:pt>
                <c:pt idx="548">
                  <c:v>10.685902196217521</c:v>
                </c:pt>
                <c:pt idx="549">
                  <c:v>10.737409092653055</c:v>
                </c:pt>
                <c:pt idx="550">
                  <c:v>10.683320332805403</c:v>
                </c:pt>
                <c:pt idx="551">
                  <c:v>10.43777401732676</c:v>
                </c:pt>
                <c:pt idx="552">
                  <c:v>9.9435764513417482</c:v>
                </c:pt>
                <c:pt idx="553">
                  <c:v>10.019578535197398</c:v>
                </c:pt>
                <c:pt idx="554">
                  <c:v>9.584770007253903</c:v>
                </c:pt>
                <c:pt idx="555">
                  <c:v>9.4509623666149682</c:v>
                </c:pt>
                <c:pt idx="556">
                  <c:v>9.2164894705587095</c:v>
                </c:pt>
                <c:pt idx="557">
                  <c:v>9.4771958605544491</c:v>
                </c:pt>
                <c:pt idx="558">
                  <c:v>9.8599969690606404</c:v>
                </c:pt>
                <c:pt idx="559">
                  <c:v>10.219487806856211</c:v>
                </c:pt>
                <c:pt idx="560">
                  <c:v>10.040378249961446</c:v>
                </c:pt>
                <c:pt idx="561">
                  <c:v>10.334853429163806</c:v>
                </c:pt>
                <c:pt idx="562">
                  <c:v>9.7899784555901626</c:v>
                </c:pt>
                <c:pt idx="563">
                  <c:v>10.1594189353254</c:v>
                </c:pt>
                <c:pt idx="564">
                  <c:v>10.016365918180933</c:v>
                </c:pt>
                <c:pt idx="565">
                  <c:v>9.8837495793411545</c:v>
                </c:pt>
                <c:pt idx="566">
                  <c:v>9.8391663977340507</c:v>
                </c:pt>
                <c:pt idx="567">
                  <c:v>9.8462315563909506</c:v>
                </c:pt>
                <c:pt idx="568">
                  <c:v>9.9409752291084157</c:v>
                </c:pt>
                <c:pt idx="569">
                  <c:v>10.05073337519757</c:v>
                </c:pt>
                <c:pt idx="570">
                  <c:v>9.9920083008901397</c:v>
                </c:pt>
                <c:pt idx="571">
                  <c:v>9.9602081869023564</c:v>
                </c:pt>
                <c:pt idx="572">
                  <c:v>9.9000174155193381</c:v>
                </c:pt>
                <c:pt idx="573">
                  <c:v>9.3186871947974925</c:v>
                </c:pt>
                <c:pt idx="574">
                  <c:v>9.1816909268316209</c:v>
                </c:pt>
                <c:pt idx="575">
                  <c:v>9.3273174372223782</c:v>
                </c:pt>
                <c:pt idx="576">
                  <c:v>9.8494996663871675</c:v>
                </c:pt>
                <c:pt idx="577">
                  <c:v>9.9749110559800318</c:v>
                </c:pt>
                <c:pt idx="578">
                  <c:v>9.8562075661081163</c:v>
                </c:pt>
                <c:pt idx="579">
                  <c:v>10.370659319090743</c:v>
                </c:pt>
                <c:pt idx="580">
                  <c:v>10.105250712081467</c:v>
                </c:pt>
                <c:pt idx="581">
                  <c:v>10.687246669713875</c:v>
                </c:pt>
                <c:pt idx="582">
                  <c:v>10.716836040205322</c:v>
                </c:pt>
                <c:pt idx="583">
                  <c:v>10.819522584916454</c:v>
                </c:pt>
                <c:pt idx="584">
                  <c:v>10.893475849881616</c:v>
                </c:pt>
                <c:pt idx="585">
                  <c:v>10.893475849881616</c:v>
                </c:pt>
                <c:pt idx="586">
                  <c:v>10.915822113509963</c:v>
                </c:pt>
                <c:pt idx="587">
                  <c:v>11.247681753480856</c:v>
                </c:pt>
                <c:pt idx="588">
                  <c:v>11.658749366103089</c:v>
                </c:pt>
                <c:pt idx="589">
                  <c:v>11.428739736034897</c:v>
                </c:pt>
                <c:pt idx="590">
                  <c:v>11.639409867728068</c:v>
                </c:pt>
                <c:pt idx="591">
                  <c:v>11.967196543194579</c:v>
                </c:pt>
                <c:pt idx="592">
                  <c:v>12.423374335705155</c:v>
                </c:pt>
                <c:pt idx="593">
                  <c:v>12.220201853215572</c:v>
                </c:pt>
                <c:pt idx="594">
                  <c:v>12.272996243037362</c:v>
                </c:pt>
                <c:pt idx="595">
                  <c:v>12.452253638986605</c:v>
                </c:pt>
                <c:pt idx="596">
                  <c:v>12.58812613299652</c:v>
                </c:pt>
                <c:pt idx="597">
                  <c:v>12.653698745980282</c:v>
                </c:pt>
                <c:pt idx="598">
                  <c:v>12.546419556118826</c:v>
                </c:pt>
                <c:pt idx="599">
                  <c:v>12.78396984733112</c:v>
                </c:pt>
                <c:pt idx="600">
                  <c:v>13.153558148045834</c:v>
                </c:pt>
                <c:pt idx="601">
                  <c:v>13.421932642584261</c:v>
                </c:pt>
                <c:pt idx="602">
                  <c:v>13.73392477244478</c:v>
                </c:pt>
                <c:pt idx="603">
                  <c:v>14.915701824571993</c:v>
                </c:pt>
                <c:pt idx="604">
                  <c:v>15.319584040450112</c:v>
                </c:pt>
                <c:pt idx="605">
                  <c:v>15.930307989605167</c:v>
                </c:pt>
                <c:pt idx="606">
                  <c:v>15.678559926833533</c:v>
                </c:pt>
                <c:pt idx="607">
                  <c:v>16.676123753686763</c:v>
                </c:pt>
                <c:pt idx="608">
                  <c:v>16.623069415171472</c:v>
                </c:pt>
                <c:pt idx="609">
                  <c:v>17.367726708884003</c:v>
                </c:pt>
                <c:pt idx="610">
                  <c:v>18.029637159187484</c:v>
                </c:pt>
                <c:pt idx="611">
                  <c:v>18.219889346977162</c:v>
                </c:pt>
                <c:pt idx="612">
                  <c:v>18.358655448726559</c:v>
                </c:pt>
                <c:pt idx="613">
                  <c:v>18.158972323952394</c:v>
                </c:pt>
                <c:pt idx="614">
                  <c:v>17.985306902241508</c:v>
                </c:pt>
                <c:pt idx="615">
                  <c:v>18.249106418054321</c:v>
                </c:pt>
                <c:pt idx="616">
                  <c:v>18.18247229753354</c:v>
                </c:pt>
                <c:pt idx="617">
                  <c:v>17.165891066063363</c:v>
                </c:pt>
                <c:pt idx="618">
                  <c:v>17.234855087440025</c:v>
                </c:pt>
                <c:pt idx="619">
                  <c:v>17.139354458799428</c:v>
                </c:pt>
                <c:pt idx="620">
                  <c:v>17.488781297287922</c:v>
                </c:pt>
                <c:pt idx="621">
                  <c:v>17.503661357542889</c:v>
                </c:pt>
                <c:pt idx="622">
                  <c:v>15.972282025541878</c:v>
                </c:pt>
                <c:pt idx="623">
                  <c:v>15.666201998489335</c:v>
                </c:pt>
                <c:pt idx="624">
                  <c:v>15.651557889482318</c:v>
                </c:pt>
                <c:pt idx="625">
                  <c:v>14.304408130154247</c:v>
                </c:pt>
                <c:pt idx="626">
                  <c:v>14.194421763333734</c:v>
                </c:pt>
                <c:pt idx="627">
                  <c:v>13.911873701448609</c:v>
                </c:pt>
                <c:pt idx="628">
                  <c:v>13.168623454186887</c:v>
                </c:pt>
                <c:pt idx="629">
                  <c:v>9.8785731204740159</c:v>
                </c:pt>
                <c:pt idx="630">
                  <c:v>9.8003635869686772</c:v>
                </c:pt>
                <c:pt idx="631">
                  <c:v>5.6901810972534284</c:v>
                </c:pt>
                <c:pt idx="632">
                  <c:v>5.1373099987238957</c:v>
                </c:pt>
                <c:pt idx="633">
                  <c:v>5.2066491529868673</c:v>
                </c:pt>
                <c:pt idx="634">
                  <c:v>5.0759745114981936</c:v>
                </c:pt>
                <c:pt idx="635">
                  <c:v>5.0973285768811936</c:v>
                </c:pt>
                <c:pt idx="636">
                  <c:v>5.2106213365244347</c:v>
                </c:pt>
                <c:pt idx="637">
                  <c:v>5.1198284813224868</c:v>
                </c:pt>
                <c:pt idx="638">
                  <c:v>5.0541891126279479</c:v>
                </c:pt>
                <c:pt idx="639">
                  <c:v>5.2610037939104588</c:v>
                </c:pt>
                <c:pt idx="640">
                  <c:v>5.4797432610384718</c:v>
                </c:pt>
                <c:pt idx="641">
                  <c:v>5.5091355685482712</c:v>
                </c:pt>
                <c:pt idx="642">
                  <c:v>5.5091355685482704</c:v>
                </c:pt>
                <c:pt idx="643">
                  <c:v>5.761545131199667</c:v>
                </c:pt>
                <c:pt idx="644">
                  <c:v>5.7396583662200253</c:v>
                </c:pt>
                <c:pt idx="645">
                  <c:v>5.7436621742938359</c:v>
                </c:pt>
                <c:pt idx="646">
                  <c:v>5.8427674123212165</c:v>
                </c:pt>
                <c:pt idx="647">
                  <c:v>7.5106055283378348</c:v>
                </c:pt>
                <c:pt idx="648">
                  <c:v>9.8646005913866688</c:v>
                </c:pt>
                <c:pt idx="649">
                  <c:v>11.207755935219515</c:v>
                </c:pt>
                <c:pt idx="650">
                  <c:v>12.508433936357896</c:v>
                </c:pt>
                <c:pt idx="651">
                  <c:v>14.151723017633438</c:v>
                </c:pt>
                <c:pt idx="652">
                  <c:v>15.692483009023961</c:v>
                </c:pt>
                <c:pt idx="653">
                  <c:v>16.080258475648897</c:v>
                </c:pt>
                <c:pt idx="654">
                  <c:v>17.576401368240067</c:v>
                </c:pt>
                <c:pt idx="655">
                  <c:v>18.106485787866372</c:v>
                </c:pt>
                <c:pt idx="656">
                  <c:v>17.773834572266583</c:v>
                </c:pt>
                <c:pt idx="657">
                  <c:v>18.241074025648693</c:v>
                </c:pt>
                <c:pt idx="658">
                  <c:v>18.654018703569037</c:v>
                </c:pt>
                <c:pt idx="659">
                  <c:v>18.611608045061249</c:v>
                </c:pt>
                <c:pt idx="660">
                  <c:v>18.400431029434216</c:v>
                </c:pt>
                <c:pt idx="661">
                  <c:v>17.970633771821166</c:v>
                </c:pt>
                <c:pt idx="662">
                  <c:v>17.666417261306119</c:v>
                </c:pt>
                <c:pt idx="663">
                  <c:v>17.59182804011861</c:v>
                </c:pt>
                <c:pt idx="664">
                  <c:v>17.343089650367652</c:v>
                </c:pt>
                <c:pt idx="665">
                  <c:v>16.771760611903225</c:v>
                </c:pt>
                <c:pt idx="666">
                  <c:v>16.594037150902047</c:v>
                </c:pt>
                <c:pt idx="667">
                  <c:v>16.136059425804785</c:v>
                </c:pt>
                <c:pt idx="668">
                  <c:v>16.030861041975456</c:v>
                </c:pt>
                <c:pt idx="669">
                  <c:v>16.140510895074637</c:v>
                </c:pt>
                <c:pt idx="670">
                  <c:v>15.921105778035718</c:v>
                </c:pt>
                <c:pt idx="671">
                  <c:v>15.51302752490647</c:v>
                </c:pt>
                <c:pt idx="672">
                  <c:v>14.468713770094409</c:v>
                </c:pt>
                <c:pt idx="673">
                  <c:v>12.930406115000819</c:v>
                </c:pt>
                <c:pt idx="674">
                  <c:v>12.138283693936421</c:v>
                </c:pt>
                <c:pt idx="675">
                  <c:v>11.307407804813968</c:v>
                </c:pt>
                <c:pt idx="676">
                  <c:v>10.608010419370412</c:v>
                </c:pt>
                <c:pt idx="677">
                  <c:v>10.704816833943301</c:v>
                </c:pt>
                <c:pt idx="678">
                  <c:v>10.673848157190481</c:v>
                </c:pt>
                <c:pt idx="679">
                  <c:v>10.713027840775986</c:v>
                </c:pt>
                <c:pt idx="680">
                  <c:v>10.687838184472634</c:v>
                </c:pt>
                <c:pt idx="681">
                  <c:v>10.667654408290165</c:v>
                </c:pt>
                <c:pt idx="682">
                  <c:v>10.332406335876225</c:v>
                </c:pt>
                <c:pt idx="683">
                  <c:v>10.601236102292587</c:v>
                </c:pt>
                <c:pt idx="684">
                  <c:v>10.053935010502222</c:v>
                </c:pt>
                <c:pt idx="685">
                  <c:v>9.9041962545315023</c:v>
                </c:pt>
                <c:pt idx="686">
                  <c:v>10.314814700170363</c:v>
                </c:pt>
                <c:pt idx="687">
                  <c:v>10.076945349966273</c:v>
                </c:pt>
                <c:pt idx="688">
                  <c:v>9.4041443541920788</c:v>
                </c:pt>
                <c:pt idx="689">
                  <c:v>9.3206605261471758</c:v>
                </c:pt>
                <c:pt idx="690">
                  <c:v>9.2971383559241172</c:v>
                </c:pt>
                <c:pt idx="691">
                  <c:v>9.3129498271363307</c:v>
                </c:pt>
                <c:pt idx="692">
                  <c:v>9.3894046424802617</c:v>
                </c:pt>
                <c:pt idx="693">
                  <c:v>9.4245948722344099</c:v>
                </c:pt>
                <c:pt idx="694">
                  <c:v>10.173269007494619</c:v>
                </c:pt>
                <c:pt idx="695">
                  <c:v>10.183658308865441</c:v>
                </c:pt>
                <c:pt idx="696">
                  <c:v>10.119970014948082</c:v>
                </c:pt>
                <c:pt idx="697">
                  <c:v>10.119970014948082</c:v>
                </c:pt>
                <c:pt idx="698">
                  <c:v>9.881830534503397</c:v>
                </c:pt>
                <c:pt idx="699">
                  <c:v>9.6694803673575258</c:v>
                </c:pt>
                <c:pt idx="700">
                  <c:v>9.9756024218169852</c:v>
                </c:pt>
                <c:pt idx="701">
                  <c:v>10.535326451908164</c:v>
                </c:pt>
                <c:pt idx="702">
                  <c:v>10.820159983519906</c:v>
                </c:pt>
                <c:pt idx="703">
                  <c:v>10.79000175769376</c:v>
                </c:pt>
                <c:pt idx="704">
                  <c:v>10.454938886786321</c:v>
                </c:pt>
                <c:pt idx="705">
                  <c:v>10.388986210538476</c:v>
                </c:pt>
                <c:pt idx="706">
                  <c:v>10.307011339792963</c:v>
                </c:pt>
                <c:pt idx="707">
                  <c:v>10.441737645500929</c:v>
                </c:pt>
                <c:pt idx="708">
                  <c:v>10.655525791112209</c:v>
                </c:pt>
                <c:pt idx="709">
                  <c:v>11.07388976298566</c:v>
                </c:pt>
                <c:pt idx="710">
                  <c:v>11.006998818411208</c:v>
                </c:pt>
                <c:pt idx="711">
                  <c:v>10.743830092544803</c:v>
                </c:pt>
                <c:pt idx="712">
                  <c:v>10.583493980136531</c:v>
                </c:pt>
                <c:pt idx="713">
                  <c:v>10.424551039148692</c:v>
                </c:pt>
                <c:pt idx="714">
                  <c:v>10.066674278751785</c:v>
                </c:pt>
                <c:pt idx="715">
                  <c:v>10.702669126754392</c:v>
                </c:pt>
                <c:pt idx="716">
                  <c:v>10.464005079263416</c:v>
                </c:pt>
                <c:pt idx="717">
                  <c:v>10.547102887065472</c:v>
                </c:pt>
                <c:pt idx="718">
                  <c:v>10.532980497509692</c:v>
                </c:pt>
                <c:pt idx="719">
                  <c:v>10.968292860598776</c:v>
                </c:pt>
                <c:pt idx="720">
                  <c:v>11.1415139605591</c:v>
                </c:pt>
                <c:pt idx="721">
                  <c:v>11.373542599575904</c:v>
                </c:pt>
                <c:pt idx="722">
                  <c:v>11.04765018963959</c:v>
                </c:pt>
                <c:pt idx="723">
                  <c:v>11.021452435732028</c:v>
                </c:pt>
                <c:pt idx="724">
                  <c:v>10.522062207735148</c:v>
                </c:pt>
                <c:pt idx="725">
                  <c:v>11.053111071902611</c:v>
                </c:pt>
                <c:pt idx="726">
                  <c:v>11.336493812198857</c:v>
                </c:pt>
                <c:pt idx="727">
                  <c:v>11.645333533370708</c:v>
                </c:pt>
                <c:pt idx="728">
                  <c:v>11.858359484143344</c:v>
                </c:pt>
                <c:pt idx="729">
                  <c:v>12.328082137761832</c:v>
                </c:pt>
                <c:pt idx="730">
                  <c:v>12.084425238021598</c:v>
                </c:pt>
                <c:pt idx="731">
                  <c:v>12.114207484953596</c:v>
                </c:pt>
                <c:pt idx="732">
                  <c:v>12.311148111207661</c:v>
                </c:pt>
                <c:pt idx="733">
                  <c:v>12.237120839347041</c:v>
                </c:pt>
                <c:pt idx="734">
                  <c:v>12.307553049610046</c:v>
                </c:pt>
                <c:pt idx="735">
                  <c:v>12.356021381003517</c:v>
                </c:pt>
                <c:pt idx="736">
                  <c:v>12.355881841938842</c:v>
                </c:pt>
                <c:pt idx="737">
                  <c:v>12.20989800102369</c:v>
                </c:pt>
                <c:pt idx="738">
                  <c:v>12.428924366957114</c:v>
                </c:pt>
                <c:pt idx="739">
                  <c:v>12.340010618673126</c:v>
                </c:pt>
                <c:pt idx="740">
                  <c:v>12.340010618673126</c:v>
                </c:pt>
                <c:pt idx="741">
                  <c:v>12.433547500543675</c:v>
                </c:pt>
                <c:pt idx="742">
                  <c:v>12.592690819239769</c:v>
                </c:pt>
                <c:pt idx="743">
                  <c:v>12.744392501405668</c:v>
                </c:pt>
                <c:pt idx="744">
                  <c:v>12.932406057527794</c:v>
                </c:pt>
                <c:pt idx="745">
                  <c:v>12.465123759707627</c:v>
                </c:pt>
                <c:pt idx="746">
                  <c:v>12.358439807789599</c:v>
                </c:pt>
                <c:pt idx="747">
                  <c:v>12.609474635158781</c:v>
                </c:pt>
                <c:pt idx="748">
                  <c:v>12.764939410781373</c:v>
                </c:pt>
                <c:pt idx="749">
                  <c:v>12.512476532066595</c:v>
                </c:pt>
                <c:pt idx="750">
                  <c:v>12.34820476504744</c:v>
                </c:pt>
                <c:pt idx="751">
                  <c:v>12.113638177073701</c:v>
                </c:pt>
                <c:pt idx="752">
                  <c:v>12.178226283096354</c:v>
                </c:pt>
                <c:pt idx="753">
                  <c:v>12.514635110702308</c:v>
                </c:pt>
                <c:pt idx="754">
                  <c:v>12.895869426908066</c:v>
                </c:pt>
                <c:pt idx="755">
                  <c:v>12.52496357853699</c:v>
                </c:pt>
                <c:pt idx="756">
                  <c:v>12.180821556574232</c:v>
                </c:pt>
                <c:pt idx="757">
                  <c:v>11.682386781798499</c:v>
                </c:pt>
                <c:pt idx="758">
                  <c:v>11.12463353393575</c:v>
                </c:pt>
                <c:pt idx="759">
                  <c:v>11.12463353393575</c:v>
                </c:pt>
                <c:pt idx="760">
                  <c:v>10.943743292008421</c:v>
                </c:pt>
                <c:pt idx="761">
                  <c:v>10.908659430686829</c:v>
                </c:pt>
                <c:pt idx="762">
                  <c:v>10.792504849178444</c:v>
                </c:pt>
                <c:pt idx="763">
                  <c:v>11.200831249941013</c:v>
                </c:pt>
                <c:pt idx="764">
                  <c:v>11.784657861793876</c:v>
                </c:pt>
                <c:pt idx="765">
                  <c:v>11.745823420096693</c:v>
                </c:pt>
                <c:pt idx="766">
                  <c:v>11.737747341107584</c:v>
                </c:pt>
                <c:pt idx="767">
                  <c:v>12.40856211626083</c:v>
                </c:pt>
                <c:pt idx="768">
                  <c:v>11.927173649459784</c:v>
                </c:pt>
                <c:pt idx="769">
                  <c:v>11.972622025309223</c:v>
                </c:pt>
                <c:pt idx="770">
                  <c:v>11.955088369854675</c:v>
                </c:pt>
                <c:pt idx="771">
                  <c:v>11.852348329320238</c:v>
                </c:pt>
                <c:pt idx="772">
                  <c:v>11.711866464913012</c:v>
                </c:pt>
                <c:pt idx="773">
                  <c:v>11.630765780621591</c:v>
                </c:pt>
                <c:pt idx="774">
                  <c:v>11.324066529238545</c:v>
                </c:pt>
                <c:pt idx="775">
                  <c:v>10.797030243032827</c:v>
                </c:pt>
                <c:pt idx="776">
                  <c:v>11.211857434271842</c:v>
                </c:pt>
                <c:pt idx="777">
                  <c:v>11.580850225869556</c:v>
                </c:pt>
                <c:pt idx="778">
                  <c:v>11.959510234849555</c:v>
                </c:pt>
                <c:pt idx="779">
                  <c:v>11.745383049884145</c:v>
                </c:pt>
                <c:pt idx="780">
                  <c:v>11.973918015573604</c:v>
                </c:pt>
                <c:pt idx="781">
                  <c:v>11.860491742243072</c:v>
                </c:pt>
                <c:pt idx="782">
                  <c:v>12.138141651777701</c:v>
                </c:pt>
                <c:pt idx="783">
                  <c:v>12.455945356039567</c:v>
                </c:pt>
                <c:pt idx="784">
                  <c:v>12.119187788118399</c:v>
                </c:pt>
                <c:pt idx="785">
                  <c:v>12.449437969126416</c:v>
                </c:pt>
                <c:pt idx="786">
                  <c:v>12.584610196311344</c:v>
                </c:pt>
                <c:pt idx="787">
                  <c:v>12.557408400905276</c:v>
                </c:pt>
                <c:pt idx="788">
                  <c:v>12.800143677354544</c:v>
                </c:pt>
                <c:pt idx="789">
                  <c:v>12.769800941751365</c:v>
                </c:pt>
                <c:pt idx="790">
                  <c:v>12.967022717683484</c:v>
                </c:pt>
                <c:pt idx="791">
                  <c:v>12.797090186498622</c:v>
                </c:pt>
                <c:pt idx="792">
                  <c:v>12.62004426463629</c:v>
                </c:pt>
                <c:pt idx="793">
                  <c:v>12.186717849939049</c:v>
                </c:pt>
                <c:pt idx="794">
                  <c:v>11.789777375960611</c:v>
                </c:pt>
                <c:pt idx="795">
                  <c:v>11.750079481267008</c:v>
                </c:pt>
                <c:pt idx="796">
                  <c:v>11.783682464059913</c:v>
                </c:pt>
                <c:pt idx="797">
                  <c:v>11.049730843968007</c:v>
                </c:pt>
                <c:pt idx="798">
                  <c:v>11.103535731789512</c:v>
                </c:pt>
                <c:pt idx="799">
                  <c:v>10.801447327456449</c:v>
                </c:pt>
                <c:pt idx="800">
                  <c:v>10.873832345822585</c:v>
                </c:pt>
                <c:pt idx="801">
                  <c:v>10.792717851435274</c:v>
                </c:pt>
                <c:pt idx="802">
                  <c:v>10.599772281223455</c:v>
                </c:pt>
                <c:pt idx="803">
                  <c:v>10.471910978433204</c:v>
                </c:pt>
                <c:pt idx="804">
                  <c:v>10.257657638558864</c:v>
                </c:pt>
                <c:pt idx="805">
                  <c:v>11.108089627492827</c:v>
                </c:pt>
                <c:pt idx="806">
                  <c:v>10.716836040205319</c:v>
                </c:pt>
                <c:pt idx="807">
                  <c:v>10.245772887828693</c:v>
                </c:pt>
                <c:pt idx="808">
                  <c:v>10.245772887828693</c:v>
                </c:pt>
                <c:pt idx="809">
                  <c:v>10.617757842840239</c:v>
                </c:pt>
                <c:pt idx="810">
                  <c:v>10.348191024100027</c:v>
                </c:pt>
                <c:pt idx="811">
                  <c:v>10.340690743730386</c:v>
                </c:pt>
                <c:pt idx="812">
                  <c:v>10.178916682416956</c:v>
                </c:pt>
                <c:pt idx="813">
                  <c:v>9.580631803128977</c:v>
                </c:pt>
                <c:pt idx="814">
                  <c:v>9.8459980784539844</c:v>
                </c:pt>
                <c:pt idx="815">
                  <c:v>10.219937692411905</c:v>
                </c:pt>
                <c:pt idx="816">
                  <c:v>10.20457413777436</c:v>
                </c:pt>
                <c:pt idx="817">
                  <c:v>10.212737145349429</c:v>
                </c:pt>
                <c:pt idx="818">
                  <c:v>9.9324731556901646</c:v>
                </c:pt>
                <c:pt idx="819">
                  <c:v>9.8459980784539844</c:v>
                </c:pt>
                <c:pt idx="820">
                  <c:v>9.4704015620841773</c:v>
                </c:pt>
                <c:pt idx="821">
                  <c:v>10.149514455290998</c:v>
                </c:pt>
                <c:pt idx="822">
                  <c:v>10.638036289276044</c:v>
                </c:pt>
                <c:pt idx="823">
                  <c:v>11.222155836076926</c:v>
                </c:pt>
                <c:pt idx="824">
                  <c:v>11.444016656811511</c:v>
                </c:pt>
                <c:pt idx="825">
                  <c:v>11.420137487345983</c:v>
                </c:pt>
                <c:pt idx="826">
                  <c:v>11.969741544564702</c:v>
                </c:pt>
                <c:pt idx="827">
                  <c:v>11.941620444921817</c:v>
                </c:pt>
                <c:pt idx="828">
                  <c:v>12.01129736405756</c:v>
                </c:pt>
                <c:pt idx="829">
                  <c:v>12.061194542544426</c:v>
                </c:pt>
                <c:pt idx="830">
                  <c:v>12.153472612867654</c:v>
                </c:pt>
                <c:pt idx="831">
                  <c:v>12.359788340262627</c:v>
                </c:pt>
                <c:pt idx="832">
                  <c:v>12.432807914694017</c:v>
                </c:pt>
                <c:pt idx="833">
                  <c:v>12.804632782304033</c:v>
                </c:pt>
                <c:pt idx="834">
                  <c:v>13.028880386968446</c:v>
                </c:pt>
                <c:pt idx="835">
                  <c:v>12.356579521504498</c:v>
                </c:pt>
                <c:pt idx="836">
                  <c:v>12.840354848822448</c:v>
                </c:pt>
                <c:pt idx="837">
                  <c:v>12.804857196239713</c:v>
                </c:pt>
                <c:pt idx="838">
                  <c:v>12.42767582602562</c:v>
                </c:pt>
                <c:pt idx="839">
                  <c:v>12.07333910901948</c:v>
                </c:pt>
                <c:pt idx="840">
                  <c:v>12.15531670249406</c:v>
                </c:pt>
                <c:pt idx="841">
                  <c:v>12.167461791054928</c:v>
                </c:pt>
                <c:pt idx="842">
                  <c:v>12.202129077459741</c:v>
                </c:pt>
                <c:pt idx="843">
                  <c:v>12.430450191124335</c:v>
                </c:pt>
                <c:pt idx="844">
                  <c:v>12.391552554568925</c:v>
                </c:pt>
                <c:pt idx="845">
                  <c:v>11.993341064318043</c:v>
                </c:pt>
                <c:pt idx="846">
                  <c:v>12.044982739522805</c:v>
                </c:pt>
                <c:pt idx="847">
                  <c:v>12.452253638986605</c:v>
                </c:pt>
                <c:pt idx="848">
                  <c:v>12.59761882261882</c:v>
                </c:pt>
                <c:pt idx="849">
                  <c:v>12.483736546439912</c:v>
                </c:pt>
                <c:pt idx="850">
                  <c:v>12.947107252467502</c:v>
                </c:pt>
                <c:pt idx="851">
                  <c:v>12.482125150624876</c:v>
                </c:pt>
                <c:pt idx="852">
                  <c:v>12.265267286496263</c:v>
                </c:pt>
                <c:pt idx="853">
                  <c:v>11.778657886584337</c:v>
                </c:pt>
                <c:pt idx="854">
                  <c:v>11.735396892729494</c:v>
                </c:pt>
                <c:pt idx="855">
                  <c:v>11.748514212737566</c:v>
                </c:pt>
                <c:pt idx="856">
                  <c:v>11.869791658786118</c:v>
                </c:pt>
                <c:pt idx="857">
                  <c:v>12.001724014088342</c:v>
                </c:pt>
                <c:pt idx="858">
                  <c:v>12.164391221639635</c:v>
                </c:pt>
                <c:pt idx="859">
                  <c:v>12.451099752932318</c:v>
                </c:pt>
                <c:pt idx="860">
                  <c:v>12.238247940112922</c:v>
                </c:pt>
                <c:pt idx="861">
                  <c:v>12.15058770632908</c:v>
                </c:pt>
                <c:pt idx="862">
                  <c:v>12.175724859821239</c:v>
                </c:pt>
                <c:pt idx="863">
                  <c:v>12.099396774172281</c:v>
                </c:pt>
                <c:pt idx="864">
                  <c:v>12.308113388022301</c:v>
                </c:pt>
                <c:pt idx="865">
                  <c:v>12.467705408811982</c:v>
                </c:pt>
                <c:pt idx="866">
                  <c:v>12.153992769040347</c:v>
                </c:pt>
                <c:pt idx="867">
                  <c:v>12.614942790563713</c:v>
                </c:pt>
                <c:pt idx="868">
                  <c:v>12.770340997616403</c:v>
                </c:pt>
                <c:pt idx="869">
                  <c:v>12.770340997616403</c:v>
                </c:pt>
                <c:pt idx="870">
                  <c:v>12.720198436968744</c:v>
                </c:pt>
                <c:pt idx="871">
                  <c:v>13.018510252536664</c:v>
                </c:pt>
                <c:pt idx="872">
                  <c:v>13.23878836001918</c:v>
                </c:pt>
                <c:pt idx="873">
                  <c:v>13.405951671921134</c:v>
                </c:pt>
                <c:pt idx="874">
                  <c:v>13.286454946955235</c:v>
                </c:pt>
                <c:pt idx="875">
                  <c:v>13.3020178229064</c:v>
                </c:pt>
                <c:pt idx="876">
                  <c:v>13.153558148045835</c:v>
                </c:pt>
                <c:pt idx="877">
                  <c:v>12.7489012373075</c:v>
                </c:pt>
                <c:pt idx="878">
                  <c:v>12.484703284097465</c:v>
                </c:pt>
                <c:pt idx="879">
                  <c:v>12.383758365874547</c:v>
                </c:pt>
                <c:pt idx="880">
                  <c:v>12.495332461896854</c:v>
                </c:pt>
                <c:pt idx="881">
                  <c:v>12.406153460205179</c:v>
                </c:pt>
                <c:pt idx="882">
                  <c:v>12.307786527048734</c:v>
                </c:pt>
                <c:pt idx="883">
                  <c:v>12.477289714544968</c:v>
                </c:pt>
                <c:pt idx="884">
                  <c:v>12.141124188135306</c:v>
                </c:pt>
                <c:pt idx="885">
                  <c:v>12.101866484711895</c:v>
                </c:pt>
                <c:pt idx="886">
                  <c:v>11.854530149165392</c:v>
                </c:pt>
                <c:pt idx="887">
                  <c:v>11.769285957696114</c:v>
                </c:pt>
                <c:pt idx="888">
                  <c:v>11.379756173781256</c:v>
                </c:pt>
                <c:pt idx="889">
                  <c:v>11.379756173781256</c:v>
                </c:pt>
                <c:pt idx="890">
                  <c:v>11.374755270829541</c:v>
                </c:pt>
                <c:pt idx="891">
                  <c:v>11.38642062777604</c:v>
                </c:pt>
                <c:pt idx="892">
                  <c:v>11.281609488174912</c:v>
                </c:pt>
                <c:pt idx="893">
                  <c:v>10.975468989534336</c:v>
                </c:pt>
                <c:pt idx="894">
                  <c:v>10.763710850091051</c:v>
                </c:pt>
                <c:pt idx="895">
                  <c:v>10.610177287348479</c:v>
                </c:pt>
                <c:pt idx="896">
                  <c:v>10.784674098103238</c:v>
                </c:pt>
                <c:pt idx="897">
                  <c:v>10.466641042504689</c:v>
                </c:pt>
                <c:pt idx="898">
                  <c:v>10.272438294083209</c:v>
                </c:pt>
                <c:pt idx="899">
                  <c:v>10.282727398828614</c:v>
                </c:pt>
                <c:pt idx="900">
                  <c:v>10.261858853367492</c:v>
                </c:pt>
                <c:pt idx="901">
                  <c:v>10.288035680387173</c:v>
                </c:pt>
                <c:pt idx="902">
                  <c:v>9.6502635304377353</c:v>
                </c:pt>
                <c:pt idx="903">
                  <c:v>9.8783404069409499</c:v>
                </c:pt>
                <c:pt idx="904">
                  <c:v>10.290269927091989</c:v>
                </c:pt>
                <c:pt idx="905">
                  <c:v>10.587837307522944</c:v>
                </c:pt>
                <c:pt idx="906">
                  <c:v>10.82122223109352</c:v>
                </c:pt>
                <c:pt idx="907">
                  <c:v>10.875734880705869</c:v>
                </c:pt>
                <c:pt idx="908">
                  <c:v>11.301307014230037</c:v>
                </c:pt>
                <c:pt idx="909">
                  <c:v>11.226815189996888</c:v>
                </c:pt>
                <c:pt idx="910">
                  <c:v>11.382836444280546</c:v>
                </c:pt>
                <c:pt idx="911">
                  <c:v>11.294439685796368</c:v>
                </c:pt>
                <c:pt idx="912">
                  <c:v>11.448836712477188</c:v>
                </c:pt>
                <c:pt idx="913">
                  <c:v>11.358525078284725</c:v>
                </c:pt>
                <c:pt idx="914">
                  <c:v>11.400544451608591</c:v>
                </c:pt>
                <c:pt idx="915">
                  <c:v>11.381018680544221</c:v>
                </c:pt>
                <c:pt idx="916">
                  <c:v>10.922085607748572</c:v>
                </c:pt>
                <c:pt idx="917">
                  <c:v>11.010966320461835</c:v>
                </c:pt>
                <c:pt idx="918">
                  <c:v>11.836044695040167</c:v>
                </c:pt>
                <c:pt idx="919">
                  <c:v>11.379756173781256</c:v>
                </c:pt>
                <c:pt idx="920">
                  <c:v>11.638669197535222</c:v>
                </c:pt>
                <c:pt idx="921">
                  <c:v>11.354729633834143</c:v>
                </c:pt>
                <c:pt idx="922">
                  <c:v>11.421345211347989</c:v>
                </c:pt>
                <c:pt idx="923">
                  <c:v>11.253045564768614</c:v>
                </c:pt>
                <c:pt idx="924">
                  <c:v>11.001358327837126</c:v>
                </c:pt>
                <c:pt idx="925">
                  <c:v>11.333451655907023</c:v>
                </c:pt>
                <c:pt idx="926">
                  <c:v>11.218621629432372</c:v>
                </c:pt>
                <c:pt idx="927">
                  <c:v>11.118794278468172</c:v>
                </c:pt>
                <c:pt idx="928">
                  <c:v>10.842074280904169</c:v>
                </c:pt>
                <c:pt idx="929">
                  <c:v>11.093956105419089</c:v>
                </c:pt>
                <c:pt idx="930">
                  <c:v>11.404576617134543</c:v>
                </c:pt>
                <c:pt idx="931">
                  <c:v>11.297644958538722</c:v>
                </c:pt>
                <c:pt idx="932">
                  <c:v>11.297644958538722</c:v>
                </c:pt>
                <c:pt idx="933">
                  <c:v>11.145846089798265</c:v>
                </c:pt>
                <c:pt idx="934">
                  <c:v>10.868122742867001</c:v>
                </c:pt>
                <c:pt idx="935">
                  <c:v>10.773797503372624</c:v>
                </c:pt>
                <c:pt idx="936">
                  <c:v>10.381293964040132</c:v>
                </c:pt>
                <c:pt idx="937">
                  <c:v>10.448835385799711</c:v>
                </c:pt>
                <c:pt idx="938">
                  <c:v>10.102065340212913</c:v>
                </c:pt>
                <c:pt idx="939">
                  <c:v>10.08355894114475</c:v>
                </c:pt>
                <c:pt idx="940">
                  <c:v>9.5373434215314852</c:v>
                </c:pt>
                <c:pt idx="941">
                  <c:v>9.620918301571697</c:v>
                </c:pt>
                <c:pt idx="942">
                  <c:v>9.4653026376861575</c:v>
                </c:pt>
                <c:pt idx="943">
                  <c:v>10.075576478758441</c:v>
                </c:pt>
                <c:pt idx="944">
                  <c:v>10.583276766977077</c:v>
                </c:pt>
                <c:pt idx="945">
                  <c:v>10.839529616124979</c:v>
                </c:pt>
                <c:pt idx="946">
                  <c:v>10.868334263132157</c:v>
                </c:pt>
                <c:pt idx="947">
                  <c:v>10.936651444916137</c:v>
                </c:pt>
                <c:pt idx="948">
                  <c:v>10.936651444916137</c:v>
                </c:pt>
                <c:pt idx="949">
                  <c:v>10.957388731631818</c:v>
                </c:pt>
                <c:pt idx="950">
                  <c:v>10.74944532116163</c:v>
                </c:pt>
                <c:pt idx="951">
                  <c:v>10.863891472719823</c:v>
                </c:pt>
                <c:pt idx="952">
                  <c:v>10.863891472719823</c:v>
                </c:pt>
                <c:pt idx="953">
                  <c:v>11.018479774983668</c:v>
                </c:pt>
                <c:pt idx="954">
                  <c:v>11.362825049407752</c:v>
                </c:pt>
                <c:pt idx="955">
                  <c:v>11.559143268575239</c:v>
                </c:pt>
                <c:pt idx="956">
                  <c:v>11.466543035954746</c:v>
                </c:pt>
                <c:pt idx="957">
                  <c:v>12.062147499465034</c:v>
                </c:pt>
                <c:pt idx="958">
                  <c:v>12.129568697262457</c:v>
                </c:pt>
                <c:pt idx="959">
                  <c:v>12.003878683503757</c:v>
                </c:pt>
                <c:pt idx="960">
                  <c:v>12.002681692692343</c:v>
                </c:pt>
                <c:pt idx="961">
                  <c:v>12.195910375410993</c:v>
                </c:pt>
                <c:pt idx="962">
                  <c:v>12.022201684106507</c:v>
                </c:pt>
                <c:pt idx="963">
                  <c:v>11.821663340576531</c:v>
                </c:pt>
                <c:pt idx="964">
                  <c:v>11.681796429320791</c:v>
                </c:pt>
                <c:pt idx="965">
                  <c:v>11.617911261021298</c:v>
                </c:pt>
                <c:pt idx="966">
                  <c:v>11.514159199392958</c:v>
                </c:pt>
                <c:pt idx="967">
                  <c:v>11.274475291713058</c:v>
                </c:pt>
                <c:pt idx="968">
                  <c:v>11.788168625373064</c:v>
                </c:pt>
                <c:pt idx="969">
                  <c:v>11.778072359505487</c:v>
                </c:pt>
                <c:pt idx="970">
                  <c:v>12.119899092937551</c:v>
                </c:pt>
                <c:pt idx="971">
                  <c:v>12.643475442471024</c:v>
                </c:pt>
                <c:pt idx="972">
                  <c:v>12.76349860154825</c:v>
                </c:pt>
                <c:pt idx="973">
                  <c:v>12.517987058628876</c:v>
                </c:pt>
                <c:pt idx="974">
                  <c:v>12.293770032386135</c:v>
                </c:pt>
                <c:pt idx="975">
                  <c:v>12.070863561752191</c:v>
                </c:pt>
                <c:pt idx="976">
                  <c:v>12.424900841436935</c:v>
                </c:pt>
                <c:pt idx="977">
                  <c:v>12.166894975026839</c:v>
                </c:pt>
                <c:pt idx="978">
                  <c:v>11.717949685315526</c:v>
                </c:pt>
                <c:pt idx="979">
                  <c:v>11.823218924942836</c:v>
                </c:pt>
                <c:pt idx="980">
                  <c:v>11.702293713666544</c:v>
                </c:pt>
                <c:pt idx="981">
                  <c:v>11.241804166571319</c:v>
                </c:pt>
                <c:pt idx="982">
                  <c:v>11.24563772385061</c:v>
                </c:pt>
                <c:pt idx="983">
                  <c:v>11.28807732322792</c:v>
                </c:pt>
                <c:pt idx="984">
                  <c:v>10.536417415517617</c:v>
                </c:pt>
                <c:pt idx="985">
                  <c:v>10.298755644061664</c:v>
                </c:pt>
                <c:pt idx="986">
                  <c:v>10.465542805172436</c:v>
                </c:pt>
                <c:pt idx="987">
                  <c:v>10.507577998868189</c:v>
                </c:pt>
                <c:pt idx="988">
                  <c:v>11.292149648236201</c:v>
                </c:pt>
                <c:pt idx="989">
                  <c:v>11.292149648236201</c:v>
                </c:pt>
                <c:pt idx="990">
                  <c:v>11.266928514946722</c:v>
                </c:pt>
                <c:pt idx="991">
                  <c:v>11.28160948817491</c:v>
                </c:pt>
                <c:pt idx="992">
                  <c:v>11.161510217924256</c:v>
                </c:pt>
                <c:pt idx="993">
                  <c:v>11.242417623580282</c:v>
                </c:pt>
                <c:pt idx="994">
                  <c:v>11.348249143400476</c:v>
                </c:pt>
                <c:pt idx="995">
                  <c:v>11.433164101827208</c:v>
                </c:pt>
                <c:pt idx="996">
                  <c:v>11.427733959463522</c:v>
                </c:pt>
                <c:pt idx="997">
                  <c:v>11.307407804813968</c:v>
                </c:pt>
                <c:pt idx="998">
                  <c:v>10.606872636476634</c:v>
                </c:pt>
                <c:pt idx="999">
                  <c:v>10.596518621535646</c:v>
                </c:pt>
                <c:pt idx="1000">
                  <c:v>10.331571967050552</c:v>
                </c:pt>
                <c:pt idx="1001">
                  <c:v>9.7183911444632436</c:v>
                </c:pt>
                <c:pt idx="1002">
                  <c:v>10.095862359482187</c:v>
                </c:pt>
                <c:pt idx="1003">
                  <c:v>10.257657638558866</c:v>
                </c:pt>
                <c:pt idx="1004">
                  <c:v>10.499534746123633</c:v>
                </c:pt>
                <c:pt idx="1005">
                  <c:v>10.94085457588093</c:v>
                </c:pt>
                <c:pt idx="1006">
                  <c:v>10.636577532702679</c:v>
                </c:pt>
                <c:pt idx="1007">
                  <c:v>10.575454121930532</c:v>
                </c:pt>
                <c:pt idx="1008">
                  <c:v>10.680092125824194</c:v>
                </c:pt>
                <c:pt idx="1009">
                  <c:v>10.431164623487584</c:v>
                </c:pt>
                <c:pt idx="1010">
                  <c:v>10.238309846148782</c:v>
                </c:pt>
                <c:pt idx="1011">
                  <c:v>10.206826654001116</c:v>
                </c:pt>
                <c:pt idx="1012">
                  <c:v>10.597169433391164</c:v>
                </c:pt>
                <c:pt idx="1013">
                  <c:v>10.697512870251449</c:v>
                </c:pt>
                <c:pt idx="1014">
                  <c:v>10.659624111895155</c:v>
                </c:pt>
                <c:pt idx="1015">
                  <c:v>10.676216988962068</c:v>
                </c:pt>
                <c:pt idx="1016">
                  <c:v>10.232301793829187</c:v>
                </c:pt>
                <c:pt idx="1017">
                  <c:v>10.177505057498241</c:v>
                </c:pt>
                <c:pt idx="1018">
                  <c:v>10.244202172981531</c:v>
                </c:pt>
                <c:pt idx="1019">
                  <c:v>10.271263338787135</c:v>
                </c:pt>
                <c:pt idx="1020">
                  <c:v>10.586045900906154</c:v>
                </c:pt>
                <c:pt idx="1021">
                  <c:v>10.974840610996665</c:v>
                </c:pt>
                <c:pt idx="1022">
                  <c:v>11.382028585126806</c:v>
                </c:pt>
                <c:pt idx="1023">
                  <c:v>11.426929274467318</c:v>
                </c:pt>
                <c:pt idx="1024">
                  <c:v>11.358525078284725</c:v>
                </c:pt>
                <c:pt idx="1025">
                  <c:v>11.053735000951685</c:v>
                </c:pt>
                <c:pt idx="1026">
                  <c:v>11.316552823898803</c:v>
                </c:pt>
                <c:pt idx="1027">
                  <c:v>11.692418213447588</c:v>
                </c:pt>
                <c:pt idx="1028">
                  <c:v>11.772215486953353</c:v>
                </c:pt>
                <c:pt idx="1029">
                  <c:v>11.902863559645647</c:v>
                </c:pt>
                <c:pt idx="1030">
                  <c:v>11.828467511819142</c:v>
                </c:pt>
                <c:pt idx="1031">
                  <c:v>12.10685186450076</c:v>
                </c:pt>
                <c:pt idx="1032">
                  <c:v>12.01703771327605</c:v>
                </c:pt>
                <c:pt idx="1033">
                  <c:v>12.13170066064689</c:v>
                </c:pt>
                <c:pt idx="1034">
                  <c:v>11.707940129201443</c:v>
                </c:pt>
                <c:pt idx="1035">
                  <c:v>11.285276747353956</c:v>
                </c:pt>
                <c:pt idx="1036">
                  <c:v>11.601080013139482</c:v>
                </c:pt>
                <c:pt idx="1037">
                  <c:v>11.796940963315617</c:v>
                </c:pt>
                <c:pt idx="1038">
                  <c:v>11.711130377237017</c:v>
                </c:pt>
                <c:pt idx="1039">
                  <c:v>11.829050544384751</c:v>
                </c:pt>
                <c:pt idx="1040">
                  <c:v>12.433917276971675</c:v>
                </c:pt>
                <c:pt idx="1041">
                  <c:v>13.131912520146546</c:v>
                </c:pt>
                <c:pt idx="1042">
                  <c:v>14.41188047586347</c:v>
                </c:pt>
                <c:pt idx="1043">
                  <c:v>15.181847902911109</c:v>
                </c:pt>
                <c:pt idx="1044">
                  <c:v>16.469721434739903</c:v>
                </c:pt>
                <c:pt idx="1045">
                  <c:v>16.967209755777517</c:v>
                </c:pt>
                <c:pt idx="1046">
                  <c:v>17.904118835183368</c:v>
                </c:pt>
                <c:pt idx="1047">
                  <c:v>18.10000952562142</c:v>
                </c:pt>
                <c:pt idx="1048">
                  <c:v>18.874692659444968</c:v>
                </c:pt>
                <c:pt idx="1049">
                  <c:v>19.277913036282811</c:v>
                </c:pt>
                <c:pt idx="1050">
                  <c:v>19.450615331696042</c:v>
                </c:pt>
                <c:pt idx="1051">
                  <c:v>19.672636927421827</c:v>
                </c:pt>
                <c:pt idx="1052">
                  <c:v>20.196847369779295</c:v>
                </c:pt>
                <c:pt idx="1053">
                  <c:v>19.745623696718564</c:v>
                </c:pt>
                <c:pt idx="1054">
                  <c:v>19.742276243239225</c:v>
                </c:pt>
                <c:pt idx="1055">
                  <c:v>19.702412478457159</c:v>
                </c:pt>
                <c:pt idx="1056">
                  <c:v>19.185003722076576</c:v>
                </c:pt>
                <c:pt idx="1057">
                  <c:v>19.315409844765504</c:v>
                </c:pt>
                <c:pt idx="1058">
                  <c:v>18.859096405750179</c:v>
                </c:pt>
                <c:pt idx="1059">
                  <c:v>19.159823865962668</c:v>
                </c:pt>
                <c:pt idx="1060">
                  <c:v>19.188867701825476</c:v>
                </c:pt>
                <c:pt idx="1061">
                  <c:v>18.27063468941413</c:v>
                </c:pt>
                <c:pt idx="1062">
                  <c:v>17.232554063174437</c:v>
                </c:pt>
                <c:pt idx="1063">
                  <c:v>15.680722479250255</c:v>
                </c:pt>
                <c:pt idx="1064">
                  <c:v>15.017996866595007</c:v>
                </c:pt>
                <c:pt idx="1065">
                  <c:v>14.129166052295275</c:v>
                </c:pt>
                <c:pt idx="1066">
                  <c:v>11.503922369568453</c:v>
                </c:pt>
                <c:pt idx="1067">
                  <c:v>11.185222188329513</c:v>
                </c:pt>
                <c:pt idx="1068">
                  <c:v>9.4873781851250225</c:v>
                </c:pt>
                <c:pt idx="1069">
                  <c:v>5.4021068686846316</c:v>
                </c:pt>
                <c:pt idx="1070">
                  <c:v>5.0946219107793578</c:v>
                </c:pt>
                <c:pt idx="1071">
                  <c:v>5.0153786485673981</c:v>
                </c:pt>
                <c:pt idx="1072">
                  <c:v>4.9989654102037751</c:v>
                </c:pt>
                <c:pt idx="1073">
                  <c:v>5.3943350447216973</c:v>
                </c:pt>
                <c:pt idx="1074">
                  <c:v>5.1702064255461435</c:v>
                </c:pt>
                <c:pt idx="1075">
                  <c:v>5.3588470195845623</c:v>
                </c:pt>
                <c:pt idx="1076">
                  <c:v>5.2506157274401044</c:v>
                </c:pt>
                <c:pt idx="1077">
                  <c:v>5.2832417773712494</c:v>
                </c:pt>
                <c:pt idx="1078">
                  <c:v>5.184415195520149</c:v>
                </c:pt>
                <c:pt idx="1079">
                  <c:v>5.1911728792315293</c:v>
                </c:pt>
                <c:pt idx="1080">
                  <c:v>5.0610071234338596</c:v>
                </c:pt>
                <c:pt idx="1081">
                  <c:v>5.0946219107793569</c:v>
                </c:pt>
                <c:pt idx="1082">
                  <c:v>5.0646396429206755</c:v>
                </c:pt>
                <c:pt idx="1083">
                  <c:v>5.1840826231531238</c:v>
                </c:pt>
                <c:pt idx="1084">
                  <c:v>5.016753541081524</c:v>
                </c:pt>
                <c:pt idx="1085">
                  <c:v>9.9290008294522938</c:v>
                </c:pt>
                <c:pt idx="1086">
                  <c:v>12.810914886528794</c:v>
                </c:pt>
                <c:pt idx="1087">
                  <c:v>15.613728118137782</c:v>
                </c:pt>
                <c:pt idx="1088">
                  <c:v>17.840577538200709</c:v>
                </c:pt>
                <c:pt idx="1089">
                  <c:v>18.587506618663262</c:v>
                </c:pt>
                <c:pt idx="1090">
                  <c:v>18.834548836780176</c:v>
                </c:pt>
                <c:pt idx="1091">
                  <c:v>20.37592110603936</c:v>
                </c:pt>
                <c:pt idx="1092">
                  <c:v>21.309541330684194</c:v>
                </c:pt>
                <c:pt idx="1093">
                  <c:v>21.35953850291413</c:v>
                </c:pt>
                <c:pt idx="1094">
                  <c:v>22.042513781170772</c:v>
                </c:pt>
                <c:pt idx="1095">
                  <c:v>22.996976312990068</c:v>
                </c:pt>
                <c:pt idx="1096">
                  <c:v>23.801405348250395</c:v>
                </c:pt>
                <c:pt idx="1097">
                  <c:v>23.927668781837681</c:v>
                </c:pt>
                <c:pt idx="1098">
                  <c:v>23.73612117166283</c:v>
                </c:pt>
                <c:pt idx="1099">
                  <c:v>23.778576274772441</c:v>
                </c:pt>
                <c:pt idx="1100">
                  <c:v>24.005650675785006</c:v>
                </c:pt>
                <c:pt idx="1101">
                  <c:v>23.414333953430258</c:v>
                </c:pt>
                <c:pt idx="1102">
                  <c:v>23.654991454017768</c:v>
                </c:pt>
                <c:pt idx="1103">
                  <c:v>23.601797126198008</c:v>
                </c:pt>
                <c:pt idx="1104">
                  <c:v>23.218007280319384</c:v>
                </c:pt>
                <c:pt idx="1105">
                  <c:v>22.464377931785037</c:v>
                </c:pt>
                <c:pt idx="1106">
                  <c:v>22.006817125609018</c:v>
                </c:pt>
                <c:pt idx="1107">
                  <c:v>21.123745966995617</c:v>
                </c:pt>
                <c:pt idx="1108">
                  <c:v>20.129151959799241</c:v>
                </c:pt>
                <c:pt idx="1109">
                  <c:v>19.241627526928628</c:v>
                </c:pt>
                <c:pt idx="1110">
                  <c:v>18.298577295365966</c:v>
                </c:pt>
                <c:pt idx="1111">
                  <c:v>16.857380115777659</c:v>
                </c:pt>
                <c:pt idx="1112">
                  <c:v>15.326185240397837</c:v>
                </c:pt>
                <c:pt idx="1113">
                  <c:v>12.987881177130639</c:v>
                </c:pt>
                <c:pt idx="1114">
                  <c:v>11.450292371913429</c:v>
                </c:pt>
                <c:pt idx="1115">
                  <c:v>11.401552626675482</c:v>
                </c:pt>
                <c:pt idx="1116">
                  <c:v>11.295202928473763</c:v>
                </c:pt>
                <c:pt idx="1117">
                  <c:v>10.967506867859793</c:v>
                </c:pt>
                <c:pt idx="1118">
                  <c:v>11.034741376279705</c:v>
                </c:pt>
                <c:pt idx="1119">
                  <c:v>11.338065273137699</c:v>
                </c:pt>
                <c:pt idx="1120">
                  <c:v>11.306035413955204</c:v>
                </c:pt>
                <c:pt idx="1121">
                  <c:v>11.354324711543724</c:v>
                </c:pt>
                <c:pt idx="1122">
                  <c:v>11.354324711543724</c:v>
                </c:pt>
                <c:pt idx="1123">
                  <c:v>11.880680734395805</c:v>
                </c:pt>
                <c:pt idx="1124">
                  <c:v>11.810963151864993</c:v>
                </c:pt>
                <c:pt idx="1125">
                  <c:v>11.362369835375985</c:v>
                </c:pt>
                <c:pt idx="1126">
                  <c:v>10.944005864756109</c:v>
                </c:pt>
                <c:pt idx="1127">
                  <c:v>11.10291460129628</c:v>
                </c:pt>
                <c:pt idx="1128">
                  <c:v>11.157441720534617</c:v>
                </c:pt>
                <c:pt idx="1129">
                  <c:v>11.557751044013809</c:v>
                </c:pt>
                <c:pt idx="1130">
                  <c:v>11.382634484867374</c:v>
                </c:pt>
                <c:pt idx="1131">
                  <c:v>11.382634484867374</c:v>
                </c:pt>
                <c:pt idx="1132">
                  <c:v>11.171031913972339</c:v>
                </c:pt>
                <c:pt idx="1133">
                  <c:v>11.150021906065795</c:v>
                </c:pt>
                <c:pt idx="1134">
                  <c:v>11.137799365792313</c:v>
                </c:pt>
                <c:pt idx="1135">
                  <c:v>11.060751777571788</c:v>
                </c:pt>
                <c:pt idx="1136">
                  <c:v>11.34637518703914</c:v>
                </c:pt>
                <c:pt idx="1137">
                  <c:v>11.363836570859132</c:v>
                </c:pt>
                <c:pt idx="1138">
                  <c:v>11.511313775046974</c:v>
                </c:pt>
                <c:pt idx="1139">
                  <c:v>11.49192620129854</c:v>
                </c:pt>
                <c:pt idx="1140">
                  <c:v>11.64987297054715</c:v>
                </c:pt>
                <c:pt idx="1141">
                  <c:v>11.952203663500431</c:v>
                </c:pt>
                <c:pt idx="1142">
                  <c:v>11.955328730631846</c:v>
                </c:pt>
                <c:pt idx="1143">
                  <c:v>11.981978805354064</c:v>
                </c:pt>
                <c:pt idx="1144">
                  <c:v>11.319599521773434</c:v>
                </c:pt>
                <c:pt idx="1145">
                  <c:v>11.517552821172812</c:v>
                </c:pt>
                <c:pt idx="1146">
                  <c:v>12.076432829484768</c:v>
                </c:pt>
                <c:pt idx="1147">
                  <c:v>12.072767873935582</c:v>
                </c:pt>
                <c:pt idx="1148">
                  <c:v>11.689468685997644</c:v>
                </c:pt>
                <c:pt idx="1149">
                  <c:v>11.372683545869146</c:v>
                </c:pt>
                <c:pt idx="1150">
                  <c:v>11.589184414888688</c:v>
                </c:pt>
                <c:pt idx="1151">
                  <c:v>11.889529828392284</c:v>
                </c:pt>
                <c:pt idx="1152">
                  <c:v>11.889529828392284</c:v>
                </c:pt>
                <c:pt idx="1153">
                  <c:v>11.044528473203476</c:v>
                </c:pt>
                <c:pt idx="1154">
                  <c:v>11.076328700037047</c:v>
                </c:pt>
                <c:pt idx="1155">
                  <c:v>11.126699792654696</c:v>
                </c:pt>
                <c:pt idx="1156">
                  <c:v>11.028906637069486</c:v>
                </c:pt>
                <c:pt idx="1157">
                  <c:v>11.123600260644961</c:v>
                </c:pt>
                <c:pt idx="1158">
                  <c:v>11.51755282117281</c:v>
                </c:pt>
                <c:pt idx="1159">
                  <c:v>10.744471981485155</c:v>
                </c:pt>
                <c:pt idx="1160">
                  <c:v>10.99053929627607</c:v>
                </c:pt>
                <c:pt idx="1161">
                  <c:v>11.187225884396263</c:v>
                </c:pt>
                <c:pt idx="1162">
                  <c:v>11.121533426067037</c:v>
                </c:pt>
                <c:pt idx="1163">
                  <c:v>11.298458851267863</c:v>
                </c:pt>
                <c:pt idx="1164">
                  <c:v>12.046843436419733</c:v>
                </c:pt>
                <c:pt idx="1165">
                  <c:v>12.14760749349813</c:v>
                </c:pt>
                <c:pt idx="1166">
                  <c:v>12.229087239554868</c:v>
                </c:pt>
                <c:pt idx="1167">
                  <c:v>12.378188083475102</c:v>
                </c:pt>
                <c:pt idx="1168">
                  <c:v>12.279363119506225</c:v>
                </c:pt>
                <c:pt idx="1169">
                  <c:v>12.389326143856678</c:v>
                </c:pt>
                <c:pt idx="1170">
                  <c:v>12.408237901333612</c:v>
                </c:pt>
                <c:pt idx="1171">
                  <c:v>12.629285434050205</c:v>
                </c:pt>
                <c:pt idx="1172">
                  <c:v>12.629285434050203</c:v>
                </c:pt>
                <c:pt idx="1173">
                  <c:v>12.604551267049461</c:v>
                </c:pt>
                <c:pt idx="1174">
                  <c:v>12.747097934319266</c:v>
                </c:pt>
                <c:pt idx="1175">
                  <c:v>12.513395121679183</c:v>
                </c:pt>
                <c:pt idx="1176">
                  <c:v>12.414489124804334</c:v>
                </c:pt>
                <c:pt idx="1177">
                  <c:v>12.396885037003839</c:v>
                </c:pt>
                <c:pt idx="1178">
                  <c:v>12.408932637233642</c:v>
                </c:pt>
                <c:pt idx="1179">
                  <c:v>12.74615109811946</c:v>
                </c:pt>
                <c:pt idx="1180">
                  <c:v>12.656559791156777</c:v>
                </c:pt>
                <c:pt idx="1181">
                  <c:v>12.313388657468954</c:v>
                </c:pt>
                <c:pt idx="1182">
                  <c:v>12.518675703895774</c:v>
                </c:pt>
                <c:pt idx="1183">
                  <c:v>12.542158790512772</c:v>
                </c:pt>
                <c:pt idx="1184">
                  <c:v>12.433223937147773</c:v>
                </c:pt>
                <c:pt idx="1185">
                  <c:v>12.507652829781646</c:v>
                </c:pt>
                <c:pt idx="1186">
                  <c:v>12.578991791187345</c:v>
                </c:pt>
                <c:pt idx="1187">
                  <c:v>12.51119039330276</c:v>
                </c:pt>
                <c:pt idx="1188">
                  <c:v>12.029656839584449</c:v>
                </c:pt>
                <c:pt idx="1189">
                  <c:v>12.20650853334862</c:v>
                </c:pt>
                <c:pt idx="1190">
                  <c:v>11.880100235654387</c:v>
                </c:pt>
                <c:pt idx="1191">
                  <c:v>12.056428628095794</c:v>
                </c:pt>
                <c:pt idx="1192">
                  <c:v>12.041546851410441</c:v>
                </c:pt>
                <c:pt idx="1193">
                  <c:v>12.317868527365896</c:v>
                </c:pt>
                <c:pt idx="1194">
                  <c:v>12.375541321029386</c:v>
                </c:pt>
                <c:pt idx="1195">
                  <c:v>12.424484540291965</c:v>
                </c:pt>
                <c:pt idx="1196">
                  <c:v>12.444312738766648</c:v>
                </c:pt>
                <c:pt idx="1197">
                  <c:v>12.532303088006417</c:v>
                </c:pt>
                <c:pt idx="1198">
                  <c:v>12.356067893674892</c:v>
                </c:pt>
                <c:pt idx="1199">
                  <c:v>12.352299799827868</c:v>
                </c:pt>
                <c:pt idx="1200">
                  <c:v>12.653153711647334</c:v>
                </c:pt>
                <c:pt idx="1201">
                  <c:v>12.267563060701006</c:v>
                </c:pt>
                <c:pt idx="1202">
                  <c:v>12.170437142103196</c:v>
                </c:pt>
                <c:pt idx="1203">
                  <c:v>12.101534053035655</c:v>
                </c:pt>
                <c:pt idx="1204">
                  <c:v>12.136010819898345</c:v>
                </c:pt>
                <c:pt idx="1205">
                  <c:v>12.085186144115905</c:v>
                </c:pt>
                <c:pt idx="1206">
                  <c:v>11.689911162558325</c:v>
                </c:pt>
                <c:pt idx="1207">
                  <c:v>12.245055300420036</c:v>
                </c:pt>
                <c:pt idx="1208">
                  <c:v>12.617448236470004</c:v>
                </c:pt>
                <c:pt idx="1209">
                  <c:v>12.792598434745134</c:v>
                </c:pt>
                <c:pt idx="1210">
                  <c:v>12.389326143856678</c:v>
                </c:pt>
                <c:pt idx="1211">
                  <c:v>12.423374335705155</c:v>
                </c:pt>
                <c:pt idx="1212">
                  <c:v>12.423374335705153</c:v>
                </c:pt>
                <c:pt idx="1213">
                  <c:v>13.008573653777232</c:v>
                </c:pt>
                <c:pt idx="1214">
                  <c:v>13.043913452676676</c:v>
                </c:pt>
                <c:pt idx="1215">
                  <c:v>13.376983148711801</c:v>
                </c:pt>
                <c:pt idx="1216">
                  <c:v>13.624901138521437</c:v>
                </c:pt>
                <c:pt idx="1217">
                  <c:v>13.570124386388983</c:v>
                </c:pt>
                <c:pt idx="1218">
                  <c:v>13.745803957454855</c:v>
                </c:pt>
                <c:pt idx="1219">
                  <c:v>14.021371208790981</c:v>
                </c:pt>
                <c:pt idx="1220">
                  <c:v>14.014114395810056</c:v>
                </c:pt>
                <c:pt idx="1221">
                  <c:v>13.78825920680428</c:v>
                </c:pt>
                <c:pt idx="1222">
                  <c:v>13.900963333855513</c:v>
                </c:pt>
                <c:pt idx="1223">
                  <c:v>13.602569060933719</c:v>
                </c:pt>
                <c:pt idx="1224">
                  <c:v>13.354408631049804</c:v>
                </c:pt>
                <c:pt idx="1225">
                  <c:v>13.200661773728157</c:v>
                </c:pt>
                <c:pt idx="1226">
                  <c:v>13.019702134771014</c:v>
                </c:pt>
                <c:pt idx="1227">
                  <c:v>13.148313995320471</c:v>
                </c:pt>
                <c:pt idx="1228">
                  <c:v>13.635863801358365</c:v>
                </c:pt>
                <c:pt idx="1229">
                  <c:v>13.629076422778288</c:v>
                </c:pt>
                <c:pt idx="1230">
                  <c:v>13.335157921134988</c:v>
                </c:pt>
                <c:pt idx="1231">
                  <c:v>13.802423575290106</c:v>
                </c:pt>
                <c:pt idx="1232">
                  <c:v>13.937009359437823</c:v>
                </c:pt>
                <c:pt idx="1233">
                  <c:v>14.4897903017437</c:v>
                </c:pt>
                <c:pt idx="1234">
                  <c:v>14.632038536175948</c:v>
                </c:pt>
                <c:pt idx="1235">
                  <c:v>15.285068967241635</c:v>
                </c:pt>
                <c:pt idx="1236">
                  <c:v>16.396698574345113</c:v>
                </c:pt>
                <c:pt idx="1237">
                  <c:v>16.83947196594816</c:v>
                </c:pt>
                <c:pt idx="1238">
                  <c:v>17.537644240810721</c:v>
                </c:pt>
                <c:pt idx="1239">
                  <c:v>17.798488893626665</c:v>
                </c:pt>
                <c:pt idx="1240">
                  <c:v>17.899335375833139</c:v>
                </c:pt>
                <c:pt idx="1241">
                  <c:v>18.194226695781037</c:v>
                </c:pt>
                <c:pt idx="1242">
                  <c:v>17.83590592680633</c:v>
                </c:pt>
                <c:pt idx="1243">
                  <c:v>17.088007490635061</c:v>
                </c:pt>
                <c:pt idx="1244">
                  <c:v>17.221878627149707</c:v>
                </c:pt>
                <c:pt idx="1245">
                  <c:v>16.949417648423491</c:v>
                </c:pt>
                <c:pt idx="1246">
                  <c:v>17.191985569331191</c:v>
                </c:pt>
                <c:pt idx="1247">
                  <c:v>17.44050642521071</c:v>
                </c:pt>
                <c:pt idx="1248">
                  <c:v>17.765425545918855</c:v>
                </c:pt>
                <c:pt idx="1249">
                  <c:v>16.9707320739689</c:v>
                </c:pt>
                <c:pt idx="1250">
                  <c:v>17.055049476435951</c:v>
                </c:pt>
                <c:pt idx="1251">
                  <c:v>17.17727046680162</c:v>
                </c:pt>
                <c:pt idx="1252">
                  <c:v>17.139052670342711</c:v>
                </c:pt>
                <c:pt idx="1253">
                  <c:v>16.909495394090229</c:v>
                </c:pt>
                <c:pt idx="1254">
                  <c:v>16.196388131486202</c:v>
                </c:pt>
                <c:pt idx="1255">
                  <c:v>15.681492129331916</c:v>
                </c:pt>
                <c:pt idx="1256">
                  <c:v>15.755458824122536</c:v>
                </c:pt>
                <c:pt idx="1257">
                  <c:v>15.696437841737856</c:v>
                </c:pt>
                <c:pt idx="1258">
                  <c:v>13.660750050931428</c:v>
                </c:pt>
                <c:pt idx="1259">
                  <c:v>12.833146736962599</c:v>
                </c:pt>
                <c:pt idx="1260">
                  <c:v>12.811453209270731</c:v>
                </c:pt>
                <c:pt idx="1261">
                  <c:v>9.5402354244548402</c:v>
                </c:pt>
                <c:pt idx="1262">
                  <c:v>6.1704710228375728</c:v>
                </c:pt>
                <c:pt idx="1263">
                  <c:v>6.3417065037188811</c:v>
                </c:pt>
                <c:pt idx="1264">
                  <c:v>6.1495724550012705</c:v>
                </c:pt>
                <c:pt idx="1265">
                  <c:v>6.2968702315232505</c:v>
                </c:pt>
                <c:pt idx="1266">
                  <c:v>6.2333917263230854</c:v>
                </c:pt>
                <c:pt idx="1267">
                  <c:v>6.0077536108162644</c:v>
                </c:pt>
                <c:pt idx="1268">
                  <c:v>5.9302458711215351</c:v>
                </c:pt>
                <c:pt idx="1269">
                  <c:v>5.9566441219366375</c:v>
                </c:pt>
                <c:pt idx="1270">
                  <c:v>5.691392977381593</c:v>
                </c:pt>
                <c:pt idx="1271">
                  <c:v>5.9427343836001114</c:v>
                </c:pt>
                <c:pt idx="1272">
                  <c:v>6.1053020108491056</c:v>
                </c:pt>
                <c:pt idx="1273">
                  <c:v>6.2922137617048985</c:v>
                </c:pt>
                <c:pt idx="1274">
                  <c:v>6.1950109700903857</c:v>
                </c:pt>
                <c:pt idx="1275">
                  <c:v>6.0819121312638025</c:v>
                </c:pt>
                <c:pt idx="1276">
                  <c:v>6.2950445754495297</c:v>
                </c:pt>
                <c:pt idx="1277">
                  <c:v>6.6405234525704318</c:v>
                </c:pt>
                <c:pt idx="1278">
                  <c:v>9.719100757798012</c:v>
                </c:pt>
                <c:pt idx="1279">
                  <c:v>10.118209373181612</c:v>
                </c:pt>
                <c:pt idx="1280">
                  <c:v>10.366834828809422</c:v>
                </c:pt>
                <c:pt idx="1281">
                  <c:v>10.441077145296024</c:v>
                </c:pt>
                <c:pt idx="1282">
                  <c:v>13.147308627165145</c:v>
                </c:pt>
                <c:pt idx="1283">
                  <c:v>14.858296184867275</c:v>
                </c:pt>
                <c:pt idx="1284">
                  <c:v>14.772956030702098</c:v>
                </c:pt>
                <c:pt idx="1285">
                  <c:v>14.810837908107356</c:v>
                </c:pt>
                <c:pt idx="1286">
                  <c:v>16.078435618990518</c:v>
                </c:pt>
                <c:pt idx="1287">
                  <c:v>16.459773325627374</c:v>
                </c:pt>
                <c:pt idx="1288">
                  <c:v>17.531056187077912</c:v>
                </c:pt>
                <c:pt idx="1289">
                  <c:v>17.405772592454202</c:v>
                </c:pt>
                <c:pt idx="1290">
                  <c:v>17.261477940479349</c:v>
                </c:pt>
                <c:pt idx="1291">
                  <c:v>16.980211606658397</c:v>
                </c:pt>
                <c:pt idx="1292">
                  <c:v>17.064987345540235</c:v>
                </c:pt>
                <c:pt idx="1293">
                  <c:v>17.064751598732304</c:v>
                </c:pt>
                <c:pt idx="1294">
                  <c:v>17.228051170298883</c:v>
                </c:pt>
                <c:pt idx="1295">
                  <c:v>16.71134242115939</c:v>
                </c:pt>
                <c:pt idx="1296">
                  <c:v>16.287256142262827</c:v>
                </c:pt>
                <c:pt idx="1297">
                  <c:v>16.162963197085638</c:v>
                </c:pt>
                <c:pt idx="1298">
                  <c:v>15.873638958761266</c:v>
                </c:pt>
                <c:pt idx="1299">
                  <c:v>15.557679110662518</c:v>
                </c:pt>
                <c:pt idx="1300">
                  <c:v>14.995823173259884</c:v>
                </c:pt>
                <c:pt idx="1301">
                  <c:v>14.975689111617404</c:v>
                </c:pt>
                <c:pt idx="1302">
                  <c:v>14.031204960504216</c:v>
                </c:pt>
                <c:pt idx="1303">
                  <c:v>12.830683410544008</c:v>
                </c:pt>
                <c:pt idx="1304">
                  <c:v>12.57620449659713</c:v>
                </c:pt>
                <c:pt idx="1305">
                  <c:v>11.579262081187538</c:v>
                </c:pt>
                <c:pt idx="1306">
                  <c:v>11.088774483243398</c:v>
                </c:pt>
                <c:pt idx="1307">
                  <c:v>10.707393513926208</c:v>
                </c:pt>
                <c:pt idx="1308">
                  <c:v>11.242570982602269</c:v>
                </c:pt>
                <c:pt idx="1309">
                  <c:v>11.530868117372165</c:v>
                </c:pt>
                <c:pt idx="1310">
                  <c:v>11.306797873886291</c:v>
                </c:pt>
                <c:pt idx="1311">
                  <c:v>11.34764140767769</c:v>
                </c:pt>
                <c:pt idx="1312">
                  <c:v>11.257743184546154</c:v>
                </c:pt>
                <c:pt idx="1313">
                  <c:v>11.300289895579578</c:v>
                </c:pt>
                <c:pt idx="1314">
                  <c:v>11.488324908157947</c:v>
                </c:pt>
                <c:pt idx="1315">
                  <c:v>11.183988966169553</c:v>
                </c:pt>
                <c:pt idx="1316">
                  <c:v>10.944163405380888</c:v>
                </c:pt>
                <c:pt idx="1317">
                  <c:v>11.088204356976334</c:v>
                </c:pt>
                <c:pt idx="1318">
                  <c:v>10.997439618425716</c:v>
                </c:pt>
                <c:pt idx="1319">
                  <c:v>11.604052007316485</c:v>
                </c:pt>
                <c:pt idx="1320">
                  <c:v>11.704405300923062</c:v>
                </c:pt>
                <c:pt idx="1321">
                  <c:v>11.455260298471927</c:v>
                </c:pt>
                <c:pt idx="1322">
                  <c:v>11.531316679712516</c:v>
                </c:pt>
                <c:pt idx="1323">
                  <c:v>11.340346038629599</c:v>
                </c:pt>
                <c:pt idx="1324">
                  <c:v>11.686961002384852</c:v>
                </c:pt>
                <c:pt idx="1325">
                  <c:v>11.292149648236199</c:v>
                </c:pt>
                <c:pt idx="1326">
                  <c:v>11.127267946536698</c:v>
                </c:pt>
                <c:pt idx="1327">
                  <c:v>11.23628154633488</c:v>
                </c:pt>
                <c:pt idx="1328">
                  <c:v>11.228504368117225</c:v>
                </c:pt>
                <c:pt idx="1329">
                  <c:v>11.735396892729495</c:v>
                </c:pt>
                <c:pt idx="1330">
                  <c:v>11.683567397265135</c:v>
                </c:pt>
                <c:pt idx="1331">
                  <c:v>11.812179570549059</c:v>
                </c:pt>
                <c:pt idx="1332">
                  <c:v>12.098684263982603</c:v>
                </c:pt>
                <c:pt idx="1333">
                  <c:v>12.252890815368156</c:v>
                </c:pt>
                <c:pt idx="1334">
                  <c:v>12.572959490304086</c:v>
                </c:pt>
                <c:pt idx="1335">
                  <c:v>12.708219803525299</c:v>
                </c:pt>
                <c:pt idx="1336">
                  <c:v>12.864501634297792</c:v>
                </c:pt>
                <c:pt idx="1337">
                  <c:v>12.86628848232251</c:v>
                </c:pt>
                <c:pt idx="1338">
                  <c:v>12.742768965948502</c:v>
                </c:pt>
                <c:pt idx="1339">
                  <c:v>12.823335409887816</c:v>
                </c:pt>
                <c:pt idx="1340">
                  <c:v>13.044089690816641</c:v>
                </c:pt>
                <c:pt idx="1341">
                  <c:v>12.829787538219877</c:v>
                </c:pt>
                <c:pt idx="1342">
                  <c:v>12.42892436695711</c:v>
                </c:pt>
                <c:pt idx="1343">
                  <c:v>12.462772149693359</c:v>
                </c:pt>
                <c:pt idx="1344">
                  <c:v>11.871002049328963</c:v>
                </c:pt>
                <c:pt idx="1345">
                  <c:v>12.242943076418095</c:v>
                </c:pt>
                <c:pt idx="1346">
                  <c:v>12.150445808007758</c:v>
                </c:pt>
                <c:pt idx="1347">
                  <c:v>12.190112820425931</c:v>
                </c:pt>
                <c:pt idx="1348">
                  <c:v>12.456821978060995</c:v>
                </c:pt>
                <c:pt idx="1349">
                  <c:v>11.987589367782611</c:v>
                </c:pt>
                <c:pt idx="1350">
                  <c:v>11.909814362991538</c:v>
                </c:pt>
                <c:pt idx="1351">
                  <c:v>11.879858352807016</c:v>
                </c:pt>
                <c:pt idx="1352">
                  <c:v>12.294330998986633</c:v>
                </c:pt>
                <c:pt idx="1353">
                  <c:v>12.74308466959832</c:v>
                </c:pt>
                <c:pt idx="1354">
                  <c:v>12.627692611465294</c:v>
                </c:pt>
                <c:pt idx="1355">
                  <c:v>12.596113248360274</c:v>
                </c:pt>
                <c:pt idx="1356">
                  <c:v>13.046336518414821</c:v>
                </c:pt>
                <c:pt idx="1357">
                  <c:v>13.249333099677392</c:v>
                </c:pt>
                <c:pt idx="1358">
                  <c:v>12.856234231713795</c:v>
                </c:pt>
                <c:pt idx="1359">
                  <c:v>12.485393765166735</c:v>
                </c:pt>
                <c:pt idx="1360">
                  <c:v>12.924582298326198</c:v>
                </c:pt>
                <c:pt idx="1361">
                  <c:v>12.832430181684844</c:v>
                </c:pt>
                <c:pt idx="1362">
                  <c:v>12.495516437285927</c:v>
                </c:pt>
                <c:pt idx="1363">
                  <c:v>12.692879712748359</c:v>
                </c:pt>
                <c:pt idx="1364">
                  <c:v>12.335399019306882</c:v>
                </c:pt>
                <c:pt idx="1365">
                  <c:v>12.163635270284361</c:v>
                </c:pt>
                <c:pt idx="1366">
                  <c:v>11.985431769971562</c:v>
                </c:pt>
                <c:pt idx="1367">
                  <c:v>12.543441753939897</c:v>
                </c:pt>
                <c:pt idx="1368">
                  <c:v>12.437845472588894</c:v>
                </c:pt>
                <c:pt idx="1369">
                  <c:v>12.506779770583835</c:v>
                </c:pt>
                <c:pt idx="1370">
                  <c:v>12.611844460254622</c:v>
                </c:pt>
                <c:pt idx="1371">
                  <c:v>12.779113706608793</c:v>
                </c:pt>
                <c:pt idx="1372">
                  <c:v>13.169321716882713</c:v>
                </c:pt>
                <c:pt idx="1373">
                  <c:v>12.951900406424187</c:v>
                </c:pt>
                <c:pt idx="1374">
                  <c:v>13.135194453579032</c:v>
                </c:pt>
                <c:pt idx="1375">
                  <c:v>12.846395800280764</c:v>
                </c:pt>
                <c:pt idx="1376">
                  <c:v>13.295967757959165</c:v>
                </c:pt>
                <c:pt idx="1377">
                  <c:v>13.281912339806301</c:v>
                </c:pt>
                <c:pt idx="1378">
                  <c:v>13.233577982046144</c:v>
                </c:pt>
                <c:pt idx="1379">
                  <c:v>13.351309720936287</c:v>
                </c:pt>
                <c:pt idx="1380">
                  <c:v>13.482896786192738</c:v>
                </c:pt>
                <c:pt idx="1381">
                  <c:v>13.489928128775938</c:v>
                </c:pt>
                <c:pt idx="1382">
                  <c:v>13.427069929681297</c:v>
                </c:pt>
                <c:pt idx="1383">
                  <c:v>13.174383014626983</c:v>
                </c:pt>
                <c:pt idx="1384">
                  <c:v>13.019702134771013</c:v>
                </c:pt>
                <c:pt idx="1385">
                  <c:v>12.949104615564258</c:v>
                </c:pt>
                <c:pt idx="1386">
                  <c:v>12.664049941450017</c:v>
                </c:pt>
                <c:pt idx="1387">
                  <c:v>12.437660644142474</c:v>
                </c:pt>
                <c:pt idx="1388">
                  <c:v>12.672896229772206</c:v>
                </c:pt>
                <c:pt idx="1389">
                  <c:v>12.587212997104748</c:v>
                </c:pt>
                <c:pt idx="1390">
                  <c:v>12.321413935880507</c:v>
                </c:pt>
                <c:pt idx="1391">
                  <c:v>12.535971231326421</c:v>
                </c:pt>
                <c:pt idx="1392">
                  <c:v>12.938803796261881</c:v>
                </c:pt>
                <c:pt idx="1393">
                  <c:v>12.585523521047927</c:v>
                </c:pt>
                <c:pt idx="1394">
                  <c:v>12.494090557162401</c:v>
                </c:pt>
                <c:pt idx="1395">
                  <c:v>12.656423565575874</c:v>
                </c:pt>
                <c:pt idx="1396">
                  <c:v>12.7757403006591</c:v>
                </c:pt>
                <c:pt idx="1397">
                  <c:v>12.442973366800096</c:v>
                </c:pt>
                <c:pt idx="1398">
                  <c:v>12.64115701091924</c:v>
                </c:pt>
                <c:pt idx="1399">
                  <c:v>12.172137016162358</c:v>
                </c:pt>
                <c:pt idx="1400">
                  <c:v>12.228147292492698</c:v>
                </c:pt>
                <c:pt idx="1401">
                  <c:v>12.01072317824234</c:v>
                </c:pt>
                <c:pt idx="1402">
                  <c:v>11.612715979209735</c:v>
                </c:pt>
                <c:pt idx="1403">
                  <c:v>11.59944509176114</c:v>
                </c:pt>
                <c:pt idx="1404">
                  <c:v>11.712308095313245</c:v>
                </c:pt>
                <c:pt idx="1405">
                  <c:v>11.699346675933583</c:v>
                </c:pt>
                <c:pt idx="1406">
                  <c:v>11.048274427080997</c:v>
                </c:pt>
                <c:pt idx="1407">
                  <c:v>11.031616006920197</c:v>
                </c:pt>
                <c:pt idx="1408">
                  <c:v>10.697996374872334</c:v>
                </c:pt>
                <c:pt idx="1409">
                  <c:v>10.973793233473758</c:v>
                </c:pt>
                <c:pt idx="1410">
                  <c:v>10.97379323347376</c:v>
                </c:pt>
                <c:pt idx="1411">
                  <c:v>11.59488591191586</c:v>
                </c:pt>
                <c:pt idx="1412">
                  <c:v>11.365657082612524</c:v>
                </c:pt>
                <c:pt idx="1413">
                  <c:v>11.340143322494326</c:v>
                </c:pt>
                <c:pt idx="1414">
                  <c:v>11.142184519297325</c:v>
                </c:pt>
                <c:pt idx="1415">
                  <c:v>11.33000289131655</c:v>
                </c:pt>
                <c:pt idx="1416">
                  <c:v>11.552230217083874</c:v>
                </c:pt>
                <c:pt idx="1417">
                  <c:v>11.672199016683079</c:v>
                </c:pt>
                <c:pt idx="1418">
                  <c:v>11.416664569175074</c:v>
                </c:pt>
                <c:pt idx="1419">
                  <c:v>11.55118543948937</c:v>
                </c:pt>
                <c:pt idx="1420">
                  <c:v>11.445071217446127</c:v>
                </c:pt>
                <c:pt idx="1421">
                  <c:v>11.419684557915726</c:v>
                </c:pt>
                <c:pt idx="1422">
                  <c:v>11.347438821870419</c:v>
                </c:pt>
                <c:pt idx="1423">
                  <c:v>11.342575677001488</c:v>
                </c:pt>
                <c:pt idx="1424">
                  <c:v>11.703668743986457</c:v>
                </c:pt>
                <c:pt idx="1425">
                  <c:v>11.69345037228941</c:v>
                </c:pt>
                <c:pt idx="1426">
                  <c:v>12.018185454102269</c:v>
                </c:pt>
                <c:pt idx="1427">
                  <c:v>11.905953306557651</c:v>
                </c:pt>
                <c:pt idx="1428">
                  <c:v>11.658009924609722</c:v>
                </c:pt>
                <c:pt idx="1429">
                  <c:v>11.658009924609722</c:v>
                </c:pt>
                <c:pt idx="1430">
                  <c:v>11.839977089135955</c:v>
                </c:pt>
                <c:pt idx="1431">
                  <c:v>11.7624475520103</c:v>
                </c:pt>
                <c:pt idx="1432">
                  <c:v>11.710885004396845</c:v>
                </c:pt>
                <c:pt idx="1433">
                  <c:v>12.046127817780237</c:v>
                </c:pt>
                <c:pt idx="1434">
                  <c:v>11.927751857236805</c:v>
                </c:pt>
                <c:pt idx="1435">
                  <c:v>11.950280139072005</c:v>
                </c:pt>
                <c:pt idx="1436">
                  <c:v>12.372383039211384</c:v>
                </c:pt>
                <c:pt idx="1437">
                  <c:v>12.592827734263167</c:v>
                </c:pt>
                <c:pt idx="1438">
                  <c:v>12.704465682422937</c:v>
                </c:pt>
                <c:pt idx="1439">
                  <c:v>12.354393327183599</c:v>
                </c:pt>
                <c:pt idx="1440">
                  <c:v>12.22941620395901</c:v>
                </c:pt>
                <c:pt idx="1441">
                  <c:v>12.22941620395901</c:v>
                </c:pt>
                <c:pt idx="1442">
                  <c:v>12.586482440693471</c:v>
                </c:pt>
                <c:pt idx="1443">
                  <c:v>12.452207485597397</c:v>
                </c:pt>
                <c:pt idx="1444">
                  <c:v>12.44431273876665</c:v>
                </c:pt>
                <c:pt idx="1445">
                  <c:v>12.783295493657375</c:v>
                </c:pt>
                <c:pt idx="1446">
                  <c:v>12.392109094746219</c:v>
                </c:pt>
                <c:pt idx="1447">
                  <c:v>12.191998506652096</c:v>
                </c:pt>
                <c:pt idx="1448">
                  <c:v>11.92433038675186</c:v>
                </c:pt>
                <c:pt idx="1449">
                  <c:v>12.2810011198496</c:v>
                </c:pt>
                <c:pt idx="1450">
                  <c:v>12.279316316285787</c:v>
                </c:pt>
                <c:pt idx="1451">
                  <c:v>12.209333155088938</c:v>
                </c:pt>
                <c:pt idx="1452">
                  <c:v>12.091414261804726</c:v>
                </c:pt>
                <c:pt idx="1453">
                  <c:v>12.529000840807917</c:v>
                </c:pt>
                <c:pt idx="1454">
                  <c:v>12.890386687974772</c:v>
                </c:pt>
                <c:pt idx="1455">
                  <c:v>12.733158812067543</c:v>
                </c:pt>
                <c:pt idx="1456">
                  <c:v>12.299939257863286</c:v>
                </c:pt>
                <c:pt idx="1457">
                  <c:v>12.235993634759911</c:v>
                </c:pt>
                <c:pt idx="1458">
                  <c:v>12.257814772156811</c:v>
                </c:pt>
                <c:pt idx="1459">
                  <c:v>12.331857631503786</c:v>
                </c:pt>
                <c:pt idx="1460">
                  <c:v>11.905036121636561</c:v>
                </c:pt>
                <c:pt idx="1461">
                  <c:v>11.905036121636561</c:v>
                </c:pt>
                <c:pt idx="1462">
                  <c:v>11.875600408293945</c:v>
                </c:pt>
                <c:pt idx="1463">
                  <c:v>11.72701959176956</c:v>
                </c:pt>
                <c:pt idx="1464">
                  <c:v>11.706614693676686</c:v>
                </c:pt>
                <c:pt idx="1465">
                  <c:v>11.473908432292967</c:v>
                </c:pt>
                <c:pt idx="1466">
                  <c:v>11.156411485839849</c:v>
                </c:pt>
                <c:pt idx="1467">
                  <c:v>10.752652706652674</c:v>
                </c:pt>
                <c:pt idx="1468">
                  <c:v>10.538599003924443</c:v>
                </c:pt>
                <c:pt idx="1469">
                  <c:v>10.553911951085453</c:v>
                </c:pt>
                <c:pt idx="1470">
                  <c:v>10.397612458039884</c:v>
                </c:pt>
                <c:pt idx="1471">
                  <c:v>10.131548542156278</c:v>
                </c:pt>
                <c:pt idx="1472">
                  <c:v>10.49904210190012</c:v>
                </c:pt>
                <c:pt idx="1473">
                  <c:v>10.460709191140396</c:v>
                </c:pt>
                <c:pt idx="1474">
                  <c:v>10.636307370641308</c:v>
                </c:pt>
                <c:pt idx="1475">
                  <c:v>9.8799692865640178</c:v>
                </c:pt>
                <c:pt idx="1476">
                  <c:v>10.183150383066033</c:v>
                </c:pt>
                <c:pt idx="1477">
                  <c:v>10.422621286545846</c:v>
                </c:pt>
                <c:pt idx="1478">
                  <c:v>10.282727398828614</c:v>
                </c:pt>
                <c:pt idx="1479">
                  <c:v>9.9324731556901646</c:v>
                </c:pt>
                <c:pt idx="1480">
                  <c:v>10.354409355605382</c:v>
                </c:pt>
                <c:pt idx="1481">
                  <c:v>10.111788954585085</c:v>
                </c:pt>
                <c:pt idx="1482">
                  <c:v>10.542143122211696</c:v>
                </c:pt>
                <c:pt idx="1483">
                  <c:v>10.254295427412048</c:v>
                </c:pt>
                <c:pt idx="1484">
                  <c:v>9.8802601296668833</c:v>
                </c:pt>
                <c:pt idx="1485">
                  <c:v>9.8181745617063623</c:v>
                </c:pt>
                <c:pt idx="1486">
                  <c:v>10.106615564120343</c:v>
                </c:pt>
                <c:pt idx="1487">
                  <c:v>10.077914854576415</c:v>
                </c:pt>
                <c:pt idx="1488">
                  <c:v>10.113437061424881</c:v>
                </c:pt>
                <c:pt idx="1489">
                  <c:v>10.704011494246704</c:v>
                </c:pt>
                <c:pt idx="1490">
                  <c:v>10.721339768740732</c:v>
                </c:pt>
                <c:pt idx="1491">
                  <c:v>10.643869316324231</c:v>
                </c:pt>
                <c:pt idx="1492">
                  <c:v>11.114296478270523</c:v>
                </c:pt>
                <c:pt idx="1493">
                  <c:v>11.476162200429842</c:v>
                </c:pt>
                <c:pt idx="1494">
                  <c:v>11.555214775405394</c:v>
                </c:pt>
                <c:pt idx="1495">
                  <c:v>11.568337684456189</c:v>
                </c:pt>
                <c:pt idx="1496">
                  <c:v>11.348198500000001</c:v>
                </c:pt>
                <c:pt idx="1497">
                  <c:v>11.29138619917194</c:v>
                </c:pt>
                <c:pt idx="1498">
                  <c:v>11.458270114768133</c:v>
                </c:pt>
                <c:pt idx="1499">
                  <c:v>11.512911292839082</c:v>
                </c:pt>
                <c:pt idx="1500">
                  <c:v>11.851378502680316</c:v>
                </c:pt>
                <c:pt idx="1501">
                  <c:v>11.464287376783227</c:v>
                </c:pt>
                <c:pt idx="1502">
                  <c:v>10.988029013849362</c:v>
                </c:pt>
                <c:pt idx="1503">
                  <c:v>11.30639123498832</c:v>
                </c:pt>
                <c:pt idx="1504">
                  <c:v>11.190307793164006</c:v>
                </c:pt>
                <c:pt idx="1505">
                  <c:v>11.556756495213316</c:v>
                </c:pt>
                <c:pt idx="1506">
                  <c:v>11.239503404581949</c:v>
                </c:pt>
                <c:pt idx="1507">
                  <c:v>10.576975644913976</c:v>
                </c:pt>
                <c:pt idx="1508">
                  <c:v>10.470813293841255</c:v>
                </c:pt>
                <c:pt idx="1509">
                  <c:v>10.613589207335517</c:v>
                </c:pt>
                <c:pt idx="1510">
                  <c:v>10.469935063307943</c:v>
                </c:pt>
                <c:pt idx="1511">
                  <c:v>10.505608792066933</c:v>
                </c:pt>
                <c:pt idx="1512">
                  <c:v>10.461753001388868</c:v>
                </c:pt>
                <c:pt idx="1513">
                  <c:v>10.65342209333933</c:v>
                </c:pt>
                <c:pt idx="1514">
                  <c:v>11.380816688873743</c:v>
                </c:pt>
                <c:pt idx="1515">
                  <c:v>11.333451655907021</c:v>
                </c:pt>
                <c:pt idx="1516">
                  <c:v>11.018479774983669</c:v>
                </c:pt>
                <c:pt idx="1517">
                  <c:v>10.766326815745854</c:v>
                </c:pt>
                <c:pt idx="1518">
                  <c:v>10.551951391137068</c:v>
                </c:pt>
                <c:pt idx="1519">
                  <c:v>10.279149747923215</c:v>
                </c:pt>
                <c:pt idx="1520">
                  <c:v>10.548192632678452</c:v>
                </c:pt>
                <c:pt idx="1521">
                  <c:v>10.571540628705344</c:v>
                </c:pt>
                <c:pt idx="1522">
                  <c:v>10.413353496087742</c:v>
                </c:pt>
                <c:pt idx="1523">
                  <c:v>10.063248258750322</c:v>
                </c:pt>
                <c:pt idx="1524">
                  <c:v>9.5869283611748575</c:v>
                </c:pt>
                <c:pt idx="1525">
                  <c:v>9.5679061234006113</c:v>
                </c:pt>
                <c:pt idx="1526">
                  <c:v>9.990800366037897</c:v>
                </c:pt>
                <c:pt idx="1527">
                  <c:v>9.9864851202748639</c:v>
                </c:pt>
                <c:pt idx="1528">
                  <c:v>9.7873951308954439</c:v>
                </c:pt>
                <c:pt idx="1529">
                  <c:v>10.127917487997133</c:v>
                </c:pt>
                <c:pt idx="1530">
                  <c:v>9.9215312129325781</c:v>
                </c:pt>
                <c:pt idx="1531">
                  <c:v>10.112243631576913</c:v>
                </c:pt>
                <c:pt idx="1532">
                  <c:v>10.202546447970159</c:v>
                </c:pt>
                <c:pt idx="1533">
                  <c:v>10.294290349174316</c:v>
                </c:pt>
                <c:pt idx="1534">
                  <c:v>10.300597014279061</c:v>
                </c:pt>
                <c:pt idx="1535">
                  <c:v>10.135915430250755</c:v>
                </c:pt>
                <c:pt idx="1536">
                  <c:v>10.364672536149378</c:v>
                </c:pt>
                <c:pt idx="1537">
                  <c:v>10.399215266591973</c:v>
                </c:pt>
                <c:pt idx="1538">
                  <c:v>10.395401282109892</c:v>
                </c:pt>
                <c:pt idx="1539">
                  <c:v>10.3688303910403</c:v>
                </c:pt>
                <c:pt idx="1540">
                  <c:v>10.34469156998704</c:v>
                </c:pt>
                <c:pt idx="1541">
                  <c:v>10.045242483470677</c:v>
                </c:pt>
                <c:pt idx="1542">
                  <c:v>10.351078571154163</c:v>
                </c:pt>
                <c:pt idx="1543">
                  <c:v>10.264546728435207</c:v>
                </c:pt>
                <c:pt idx="1544">
                  <c:v>9.7250121886281224</c:v>
                </c:pt>
                <c:pt idx="1545">
                  <c:v>9.726371309515935</c:v>
                </c:pt>
                <c:pt idx="1546">
                  <c:v>10.264602718348005</c:v>
                </c:pt>
                <c:pt idx="1547">
                  <c:v>10.407833036023737</c:v>
                </c:pt>
                <c:pt idx="1548">
                  <c:v>10.35690674098108</c:v>
                </c:pt>
                <c:pt idx="1549">
                  <c:v>10.463730461571238</c:v>
                </c:pt>
                <c:pt idx="1550">
                  <c:v>10.463730461571236</c:v>
                </c:pt>
                <c:pt idx="1551">
                  <c:v>10.584145592868349</c:v>
                </c:pt>
                <c:pt idx="1552">
                  <c:v>10.322890533446396</c:v>
                </c:pt>
                <c:pt idx="1553">
                  <c:v>10.70078952936297</c:v>
                </c:pt>
                <c:pt idx="1554">
                  <c:v>10.720535670267193</c:v>
                </c:pt>
                <c:pt idx="1555">
                  <c:v>10.766326815745854</c:v>
                </c:pt>
                <c:pt idx="1556">
                  <c:v>10.510203034008999</c:v>
                </c:pt>
                <c:pt idx="1557">
                  <c:v>10.510203034008999</c:v>
                </c:pt>
                <c:pt idx="1558">
                  <c:v>10.458456403543861</c:v>
                </c:pt>
                <c:pt idx="1559">
                  <c:v>10.281330027114041</c:v>
                </c:pt>
                <c:pt idx="1560">
                  <c:v>10.536417415517617</c:v>
                </c:pt>
                <c:pt idx="1561">
                  <c:v>10.146966026366199</c:v>
                </c:pt>
                <c:pt idx="1562">
                  <c:v>9.7912111657319514</c:v>
                </c:pt>
                <c:pt idx="1563">
                  <c:v>9.071174504801002</c:v>
                </c:pt>
                <c:pt idx="1564">
                  <c:v>9.0579868865428139</c:v>
                </c:pt>
                <c:pt idx="1565">
                  <c:v>9.1135871787330736</c:v>
                </c:pt>
                <c:pt idx="1566">
                  <c:v>9.2758492500872833</c:v>
                </c:pt>
                <c:pt idx="1567">
                  <c:v>9.0328264692170688</c:v>
                </c:pt>
                <c:pt idx="1568">
                  <c:v>8.9802465214606944</c:v>
                </c:pt>
                <c:pt idx="1569">
                  <c:v>9.1174330930858272</c:v>
                </c:pt>
                <c:pt idx="1570">
                  <c:v>9.3317527397269959</c:v>
                </c:pt>
                <c:pt idx="1571">
                  <c:v>9.3317527397269942</c:v>
                </c:pt>
                <c:pt idx="1572">
                  <c:v>9.3317527397269959</c:v>
                </c:pt>
                <c:pt idx="1573">
                  <c:v>9.3683252100564545</c:v>
                </c:pt>
                <c:pt idx="1574">
                  <c:v>10.282727398828614</c:v>
                </c:pt>
                <c:pt idx="1575">
                  <c:v>10.342191234947743</c:v>
                </c:pt>
                <c:pt idx="1576">
                  <c:v>10.398938937914904</c:v>
                </c:pt>
                <c:pt idx="1577">
                  <c:v>10.503639216081689</c:v>
                </c:pt>
                <c:pt idx="1578">
                  <c:v>10.596030486411669</c:v>
                </c:pt>
                <c:pt idx="1579">
                  <c:v>10.90207193215093</c:v>
                </c:pt>
                <c:pt idx="1580">
                  <c:v>10.987139817955825</c:v>
                </c:pt>
                <c:pt idx="1581">
                  <c:v>11.092557305969029</c:v>
                </c:pt>
                <c:pt idx="1582">
                  <c:v>11.115330616434388</c:v>
                </c:pt>
                <c:pt idx="1583">
                  <c:v>11.016445387034659</c:v>
                </c:pt>
                <c:pt idx="1584">
                  <c:v>11.147083531774928</c:v>
                </c:pt>
                <c:pt idx="1585">
                  <c:v>11.312489283668004</c:v>
                </c:pt>
                <c:pt idx="1586">
                  <c:v>11.30969475283479</c:v>
                </c:pt>
                <c:pt idx="1587">
                  <c:v>11.233416896581993</c:v>
                </c:pt>
                <c:pt idx="1588">
                  <c:v>11.583232034618666</c:v>
                </c:pt>
                <c:pt idx="1589">
                  <c:v>11.485172850344869</c:v>
                </c:pt>
                <c:pt idx="1590">
                  <c:v>11.892429737335902</c:v>
                </c:pt>
                <c:pt idx="1591">
                  <c:v>11.823413358598094</c:v>
                </c:pt>
                <c:pt idx="1592">
                  <c:v>11.964747068525648</c:v>
                </c:pt>
                <c:pt idx="1593">
                  <c:v>12.180680010460884</c:v>
                </c:pt>
                <c:pt idx="1594">
                  <c:v>12.430773826718692</c:v>
                </c:pt>
                <c:pt idx="1595">
                  <c:v>12.34764624598923</c:v>
                </c:pt>
                <c:pt idx="1596">
                  <c:v>12.006750974577479</c:v>
                </c:pt>
                <c:pt idx="1597">
                  <c:v>12.106282210716765</c:v>
                </c:pt>
                <c:pt idx="1598">
                  <c:v>12.456083774144496</c:v>
                </c:pt>
                <c:pt idx="1599">
                  <c:v>12.698311952254977</c:v>
                </c:pt>
                <c:pt idx="1600">
                  <c:v>12.431143685652312</c:v>
                </c:pt>
                <c:pt idx="1601">
                  <c:v>12.238811451571857</c:v>
                </c:pt>
                <c:pt idx="1602">
                  <c:v>11.925294280568549</c:v>
                </c:pt>
                <c:pt idx="1603">
                  <c:v>12.024352684085091</c:v>
                </c:pt>
                <c:pt idx="1604">
                  <c:v>12.074481498113112</c:v>
                </c:pt>
                <c:pt idx="1605">
                  <c:v>12.453868899852473</c:v>
                </c:pt>
                <c:pt idx="1606">
                  <c:v>12.521429906226835</c:v>
                </c:pt>
                <c:pt idx="1607">
                  <c:v>12.26639180101842</c:v>
                </c:pt>
                <c:pt idx="1608">
                  <c:v>12.535054296128781</c:v>
                </c:pt>
                <c:pt idx="1609">
                  <c:v>12.435627349925172</c:v>
                </c:pt>
                <c:pt idx="1610">
                  <c:v>12.449437969126414</c:v>
                </c:pt>
                <c:pt idx="1611">
                  <c:v>12.304050356383209</c:v>
                </c:pt>
                <c:pt idx="1612">
                  <c:v>12.216674115191157</c:v>
                </c:pt>
                <c:pt idx="1613">
                  <c:v>11.692614822156349</c:v>
                </c:pt>
                <c:pt idx="1614">
                  <c:v>12.035818191557643</c:v>
                </c:pt>
                <c:pt idx="1615">
                  <c:v>11.779828853429574</c:v>
                </c:pt>
                <c:pt idx="1616">
                  <c:v>12.06476774288072</c:v>
                </c:pt>
                <c:pt idx="1617">
                  <c:v>12.056190282918193</c:v>
                </c:pt>
                <c:pt idx="1618">
                  <c:v>12.079287868177445</c:v>
                </c:pt>
                <c:pt idx="1619">
                  <c:v>12.086137209368349</c:v>
                </c:pt>
                <c:pt idx="1620">
                  <c:v>11.880100235654385</c:v>
                </c:pt>
                <c:pt idx="1621">
                  <c:v>11.855451241430291</c:v>
                </c:pt>
                <c:pt idx="1622">
                  <c:v>11.801227288601867</c:v>
                </c:pt>
                <c:pt idx="1623">
                  <c:v>12.029656839584449</c:v>
                </c:pt>
                <c:pt idx="1624">
                  <c:v>12.238107058193929</c:v>
                </c:pt>
                <c:pt idx="1625">
                  <c:v>12.223023310563335</c:v>
                </c:pt>
                <c:pt idx="1626">
                  <c:v>12.341919968373929</c:v>
                </c:pt>
                <c:pt idx="1627">
                  <c:v>12.14779673509733</c:v>
                </c:pt>
                <c:pt idx="1628">
                  <c:v>12.126915063837021</c:v>
                </c:pt>
                <c:pt idx="1629">
                  <c:v>12.087848938252952</c:v>
                </c:pt>
                <c:pt idx="1630">
                  <c:v>11.982554368556077</c:v>
                </c:pt>
                <c:pt idx="1631">
                  <c:v>11.889384814378239</c:v>
                </c:pt>
                <c:pt idx="1632">
                  <c:v>12.535008447608211</c:v>
                </c:pt>
                <c:pt idx="1633">
                  <c:v>12.380973537938219</c:v>
                </c:pt>
                <c:pt idx="1634">
                  <c:v>12.336097857297808</c:v>
                </c:pt>
                <c:pt idx="1635">
                  <c:v>11.602417504728185</c:v>
                </c:pt>
                <c:pt idx="1636">
                  <c:v>12.084425238021598</c:v>
                </c:pt>
                <c:pt idx="1637">
                  <c:v>12.061909267293208</c:v>
                </c:pt>
                <c:pt idx="1638">
                  <c:v>12.311148111207659</c:v>
                </c:pt>
                <c:pt idx="1639">
                  <c:v>12.297836460499687</c:v>
                </c:pt>
                <c:pt idx="1640">
                  <c:v>12.627100940474005</c:v>
                </c:pt>
                <c:pt idx="1641">
                  <c:v>12.521659395742583</c:v>
                </c:pt>
                <c:pt idx="1642">
                  <c:v>12.56015410989721</c:v>
                </c:pt>
                <c:pt idx="1643">
                  <c:v>12.873388750870319</c:v>
                </c:pt>
                <c:pt idx="1644">
                  <c:v>12.661099805145763</c:v>
                </c:pt>
                <c:pt idx="1645">
                  <c:v>13.079948679993526</c:v>
                </c:pt>
                <c:pt idx="1646">
                  <c:v>13.163167001798669</c:v>
                </c:pt>
                <c:pt idx="1647">
                  <c:v>13.516103634970559</c:v>
                </c:pt>
                <c:pt idx="1648">
                  <c:v>13.536498129471868</c:v>
                </c:pt>
                <c:pt idx="1649">
                  <c:v>13.555378115791127</c:v>
                </c:pt>
                <c:pt idx="1650">
                  <c:v>13.390895860771341</c:v>
                </c:pt>
                <c:pt idx="1651">
                  <c:v>13.758007072998971</c:v>
                </c:pt>
                <c:pt idx="1652">
                  <c:v>13.909436142169943</c:v>
                </c:pt>
                <c:pt idx="1653">
                  <c:v>13.909436142169943</c:v>
                </c:pt>
                <c:pt idx="1654">
                  <c:v>13.624226224996599</c:v>
                </c:pt>
                <c:pt idx="1655">
                  <c:v>14.120987885079952</c:v>
                </c:pt>
                <c:pt idx="1656">
                  <c:v>13.912906436731376</c:v>
                </c:pt>
                <c:pt idx="1657">
                  <c:v>13.912906436731376</c:v>
                </c:pt>
                <c:pt idx="1658">
                  <c:v>13.966338843435496</c:v>
                </c:pt>
                <c:pt idx="1659">
                  <c:v>13.815741480053763</c:v>
                </c:pt>
                <c:pt idx="1660">
                  <c:v>13.809417076763236</c:v>
                </c:pt>
                <c:pt idx="1661">
                  <c:v>14.17059445211939</c:v>
                </c:pt>
                <c:pt idx="1662">
                  <c:v>14.036242088038485</c:v>
                </c:pt>
                <c:pt idx="1663">
                  <c:v>14.198955765392968</c:v>
                </c:pt>
                <c:pt idx="1664">
                  <c:v>13.842961612563133</c:v>
                </c:pt>
                <c:pt idx="1665">
                  <c:v>14.253856102581626</c:v>
                </c:pt>
                <c:pt idx="1666">
                  <c:v>13.794884942423867</c:v>
                </c:pt>
                <c:pt idx="1667">
                  <c:v>13.778252062038112</c:v>
                </c:pt>
                <c:pt idx="1668">
                  <c:v>13.828838765753089</c:v>
                </c:pt>
                <c:pt idx="1669">
                  <c:v>14.131118347361133</c:v>
                </c:pt>
                <c:pt idx="1670">
                  <c:v>13.849768660668053</c:v>
                </c:pt>
                <c:pt idx="1671">
                  <c:v>14.011694622953232</c:v>
                </c:pt>
                <c:pt idx="1672">
                  <c:v>14.0393535561956</c:v>
                </c:pt>
                <c:pt idx="1673">
                  <c:v>13.686976778431871</c:v>
                </c:pt>
                <c:pt idx="1674">
                  <c:v>13.527706774420883</c:v>
                </c:pt>
                <c:pt idx="1675">
                  <c:v>13.47624559743176</c:v>
                </c:pt>
                <c:pt idx="1676">
                  <c:v>12.90103800510623</c:v>
                </c:pt>
                <c:pt idx="1677">
                  <c:v>12.815938352772651</c:v>
                </c:pt>
                <c:pt idx="1678">
                  <c:v>12.576615775629632</c:v>
                </c:pt>
                <c:pt idx="1679">
                  <c:v>12.62004426463629</c:v>
                </c:pt>
                <c:pt idx="1680">
                  <c:v>12.616172798909899</c:v>
                </c:pt>
                <c:pt idx="1681">
                  <c:v>12.462172648717269</c:v>
                </c:pt>
                <c:pt idx="1682">
                  <c:v>12.600903087504866</c:v>
                </c:pt>
                <c:pt idx="1683">
                  <c:v>12.079287868177445</c:v>
                </c:pt>
                <c:pt idx="1684">
                  <c:v>12.078288681401201</c:v>
                </c:pt>
                <c:pt idx="1685">
                  <c:v>11.697578096911061</c:v>
                </c:pt>
                <c:pt idx="1686">
                  <c:v>12.004836190220299</c:v>
                </c:pt>
                <c:pt idx="1687">
                  <c:v>11.955088369854675</c:v>
                </c:pt>
                <c:pt idx="1688">
                  <c:v>11.822489770256352</c:v>
                </c:pt>
                <c:pt idx="1689">
                  <c:v>12.04631865357414</c:v>
                </c:pt>
                <c:pt idx="1690">
                  <c:v>12.359369845930889</c:v>
                </c:pt>
                <c:pt idx="1691">
                  <c:v>12.37930234047063</c:v>
                </c:pt>
                <c:pt idx="1692">
                  <c:v>12.288720180643748</c:v>
                </c:pt>
                <c:pt idx="1693">
                  <c:v>12.064053187479935</c:v>
                </c:pt>
                <c:pt idx="1694">
                  <c:v>12.642929967413391</c:v>
                </c:pt>
                <c:pt idx="1695">
                  <c:v>12.408006314056065</c:v>
                </c:pt>
                <c:pt idx="1696">
                  <c:v>12.409905202153512</c:v>
                </c:pt>
                <c:pt idx="1697">
                  <c:v>12.54710664087427</c:v>
                </c:pt>
                <c:pt idx="1698">
                  <c:v>12.377398757412644</c:v>
                </c:pt>
                <c:pt idx="1699">
                  <c:v>12.542158790512772</c:v>
                </c:pt>
                <c:pt idx="1700">
                  <c:v>13.618952311722275</c:v>
                </c:pt>
                <c:pt idx="1701">
                  <c:v>14.447725828281605</c:v>
                </c:pt>
                <c:pt idx="1702">
                  <c:v>14.996551327693242</c:v>
                </c:pt>
                <c:pt idx="1703">
                  <c:v>15.906479558784307</c:v>
                </c:pt>
                <c:pt idx="1704">
                  <c:v>16.171352561803879</c:v>
                </c:pt>
                <c:pt idx="1705">
                  <c:v>16.381093671823546</c:v>
                </c:pt>
                <c:pt idx="1706">
                  <c:v>17.383305506859951</c:v>
                </c:pt>
                <c:pt idx="1707">
                  <c:v>17.636332665411409</c:v>
                </c:pt>
                <c:pt idx="1708">
                  <c:v>18.23918353687889</c:v>
                </c:pt>
                <c:pt idx="1709">
                  <c:v>18.131987357078138</c:v>
                </c:pt>
                <c:pt idx="1710">
                  <c:v>18.410547951162915</c:v>
                </c:pt>
                <c:pt idx="1711">
                  <c:v>18.126915277323508</c:v>
                </c:pt>
                <c:pt idx="1712">
                  <c:v>18.454666419192684</c:v>
                </c:pt>
                <c:pt idx="1713">
                  <c:v>18.455787492112684</c:v>
                </c:pt>
                <c:pt idx="1714">
                  <c:v>18.570802692497654</c:v>
                </c:pt>
                <c:pt idx="1715">
                  <c:v>17.605641728992875</c:v>
                </c:pt>
                <c:pt idx="1716">
                  <c:v>17.987990885364436</c:v>
                </c:pt>
                <c:pt idx="1717">
                  <c:v>17.93490784866847</c:v>
                </c:pt>
                <c:pt idx="1718">
                  <c:v>17.690311654597313</c:v>
                </c:pt>
                <c:pt idx="1719">
                  <c:v>16.622965695258682</c:v>
                </c:pt>
                <c:pt idx="1720">
                  <c:v>15.146829264952093</c:v>
                </c:pt>
                <c:pt idx="1721">
                  <c:v>15.087522438536197</c:v>
                </c:pt>
                <c:pt idx="1722">
                  <c:v>14.997662653142697</c:v>
                </c:pt>
                <c:pt idx="1723">
                  <c:v>14.366467982731548</c:v>
                </c:pt>
                <c:pt idx="1724">
                  <c:v>14.343888121314302</c:v>
                </c:pt>
                <c:pt idx="1725">
                  <c:v>12.357742233249905</c:v>
                </c:pt>
                <c:pt idx="1726">
                  <c:v>11.382028585126807</c:v>
                </c:pt>
                <c:pt idx="1727">
                  <c:v>10.918506908155907</c:v>
                </c:pt>
                <c:pt idx="1728">
                  <c:v>6.4644029691168257</c:v>
                </c:pt>
                <c:pt idx="1729">
                  <c:v>6.2090034738217881</c:v>
                </c:pt>
                <c:pt idx="1730">
                  <c:v>6.2757515463300786</c:v>
                </c:pt>
                <c:pt idx="1731">
                  <c:v>6.3666696756326768</c:v>
                </c:pt>
                <c:pt idx="1732">
                  <c:v>6.314460689014024</c:v>
                </c:pt>
                <c:pt idx="1733">
                  <c:v>6.424092583177905</c:v>
                </c:pt>
                <c:pt idx="1734">
                  <c:v>6.2552047294150617</c:v>
                </c:pt>
                <c:pt idx="1735">
                  <c:v>6.2116871678525767</c:v>
                </c:pt>
                <c:pt idx="1736">
                  <c:v>5.939929176403508</c:v>
                </c:pt>
                <c:pt idx="1737">
                  <c:v>5.9159826381348193</c:v>
                </c:pt>
                <c:pt idx="1738">
                  <c:v>5.706318337204582</c:v>
                </c:pt>
                <c:pt idx="1739">
                  <c:v>5.7696192029566769</c:v>
                </c:pt>
                <c:pt idx="1740">
                  <c:v>5.6989613895463629</c:v>
                </c:pt>
                <c:pt idx="1741">
                  <c:v>5.6528906246090687</c:v>
                </c:pt>
                <c:pt idx="1742">
                  <c:v>5.599774215481176</c:v>
                </c:pt>
                <c:pt idx="1743">
                  <c:v>5.5766343411337829</c:v>
                </c:pt>
                <c:pt idx="1744">
                  <c:v>9.9375058736337731</c:v>
                </c:pt>
                <c:pt idx="1745">
                  <c:v>12.451099752932318</c:v>
                </c:pt>
                <c:pt idx="1746">
                  <c:v>12.461480880983867</c:v>
                </c:pt>
                <c:pt idx="1747">
                  <c:v>14.635651637374222</c:v>
                </c:pt>
                <c:pt idx="1748">
                  <c:v>14.818790494643546</c:v>
                </c:pt>
                <c:pt idx="1749">
                  <c:v>16.194081507207162</c:v>
                </c:pt>
                <c:pt idx="1750">
                  <c:v>16.019241303945172</c:v>
                </c:pt>
                <c:pt idx="1751">
                  <c:v>16.720281579326169</c:v>
                </c:pt>
                <c:pt idx="1752">
                  <c:v>17.021453670514489</c:v>
                </c:pt>
                <c:pt idx="1753">
                  <c:v>16.976014180933767</c:v>
                </c:pt>
                <c:pt idx="1754">
                  <c:v>17.956524764252002</c:v>
                </c:pt>
                <c:pt idx="1755">
                  <c:v>18.306741425201682</c:v>
                </c:pt>
                <c:pt idx="1756">
                  <c:v>18.485191339301164</c:v>
                </c:pt>
                <c:pt idx="1757">
                  <c:v>18.958999925125784</c:v>
                </c:pt>
                <c:pt idx="1758">
                  <c:v>18.907548817835973</c:v>
                </c:pt>
                <c:pt idx="1759">
                  <c:v>19.123464554094902</c:v>
                </c:pt>
                <c:pt idx="1760">
                  <c:v>18.967031287528076</c:v>
                </c:pt>
                <c:pt idx="1761">
                  <c:v>18.839582932153018</c:v>
                </c:pt>
                <c:pt idx="1762">
                  <c:v>18.973817410485346</c:v>
                </c:pt>
                <c:pt idx="1763">
                  <c:v>18.191478363713909</c:v>
                </c:pt>
                <c:pt idx="1764">
                  <c:v>17.688102371855535</c:v>
                </c:pt>
                <c:pt idx="1765">
                  <c:v>17.085350315469061</c:v>
                </c:pt>
                <c:pt idx="1766">
                  <c:v>16.760688818040041</c:v>
                </c:pt>
                <c:pt idx="1767">
                  <c:v>16.330072393220306</c:v>
                </c:pt>
                <c:pt idx="1768">
                  <c:v>15.827700147337358</c:v>
                </c:pt>
                <c:pt idx="1769">
                  <c:v>15.868714250184953</c:v>
                </c:pt>
                <c:pt idx="1770">
                  <c:v>15.117318986292949</c:v>
                </c:pt>
                <c:pt idx="1771">
                  <c:v>14.439728083535257</c:v>
                </c:pt>
                <c:pt idx="1772">
                  <c:v>13.789259521849587</c:v>
                </c:pt>
                <c:pt idx="1773">
                  <c:v>12.438353736655062</c:v>
                </c:pt>
                <c:pt idx="1774">
                  <c:v>12.187425213445756</c:v>
                </c:pt>
                <c:pt idx="1775">
                  <c:v>11.973198038300703</c:v>
                </c:pt>
                <c:pt idx="1776">
                  <c:v>11.735837637658049</c:v>
                </c:pt>
                <c:pt idx="1777">
                  <c:v>11.978956644835582</c:v>
                </c:pt>
                <c:pt idx="1778">
                  <c:v>12.20933315508894</c:v>
                </c:pt>
                <c:pt idx="1779">
                  <c:v>11.940898520264895</c:v>
                </c:pt>
                <c:pt idx="1780">
                  <c:v>11.995209771874121</c:v>
                </c:pt>
                <c:pt idx="1781">
                  <c:v>12.03467213235713</c:v>
                </c:pt>
                <c:pt idx="1782">
                  <c:v>12.116484448976891</c:v>
                </c:pt>
                <c:pt idx="1783">
                  <c:v>12.227536288155555</c:v>
                </c:pt>
                <c:pt idx="1784">
                  <c:v>11.98663048336886</c:v>
                </c:pt>
                <c:pt idx="1785">
                  <c:v>12.52496357853699</c:v>
                </c:pt>
                <c:pt idx="1786">
                  <c:v>12.572365243504978</c:v>
                </c:pt>
                <c:pt idx="1787">
                  <c:v>12.587578259410412</c:v>
                </c:pt>
                <c:pt idx="1788">
                  <c:v>12.372057876196427</c:v>
                </c:pt>
                <c:pt idx="1789">
                  <c:v>12.576387288938717</c:v>
                </c:pt>
                <c:pt idx="1790">
                  <c:v>12.732481767276283</c:v>
                </c:pt>
                <c:pt idx="1791">
                  <c:v>13.283859361655026</c:v>
                </c:pt>
                <c:pt idx="1792">
                  <c:v>13.283859361655026</c:v>
                </c:pt>
                <c:pt idx="1793">
                  <c:v>13.174383014626983</c:v>
                </c:pt>
                <c:pt idx="1794">
                  <c:v>13.043516908155304</c:v>
                </c:pt>
                <c:pt idx="1795">
                  <c:v>13.036685637607173</c:v>
                </c:pt>
                <c:pt idx="1796">
                  <c:v>12.999955791259932</c:v>
                </c:pt>
                <c:pt idx="1797">
                  <c:v>13.494826594943197</c:v>
                </c:pt>
                <c:pt idx="1798">
                  <c:v>13.319245430975988</c:v>
                </c:pt>
                <c:pt idx="1799">
                  <c:v>13.087723474582065</c:v>
                </c:pt>
                <c:pt idx="1800">
                  <c:v>13.319633766667948</c:v>
                </c:pt>
                <c:pt idx="1801">
                  <c:v>13.265806013786056</c:v>
                </c:pt>
                <c:pt idx="1802">
                  <c:v>12.901082552812488</c:v>
                </c:pt>
                <c:pt idx="1803">
                  <c:v>12.800862039937671</c:v>
                </c:pt>
                <c:pt idx="1804">
                  <c:v>13.174383014626985</c:v>
                </c:pt>
                <c:pt idx="1805">
                  <c:v>13.176476776053798</c:v>
                </c:pt>
                <c:pt idx="1806">
                  <c:v>13.129942966321314</c:v>
                </c:pt>
                <c:pt idx="1807">
                  <c:v>12.582646323637452</c:v>
                </c:pt>
                <c:pt idx="1808">
                  <c:v>12.219684515369961</c:v>
                </c:pt>
                <c:pt idx="1809">
                  <c:v>12.200621804391492</c:v>
                </c:pt>
                <c:pt idx="1810">
                  <c:v>11.728538727806427</c:v>
                </c:pt>
                <c:pt idx="1811">
                  <c:v>11.999281587690559</c:v>
                </c:pt>
                <c:pt idx="1812">
                  <c:v>12.382830159483765</c:v>
                </c:pt>
                <c:pt idx="1813">
                  <c:v>12.177282410150129</c:v>
                </c:pt>
                <c:pt idx="1814">
                  <c:v>12.221894805785155</c:v>
                </c:pt>
                <c:pt idx="1815">
                  <c:v>12.289421673027222</c:v>
                </c:pt>
                <c:pt idx="1816">
                  <c:v>12.62368691248194</c:v>
                </c:pt>
                <c:pt idx="1817">
                  <c:v>11.952780660467313</c:v>
                </c:pt>
                <c:pt idx="1818">
                  <c:v>12.164060498702396</c:v>
                </c:pt>
                <c:pt idx="1819">
                  <c:v>12.164060498702396</c:v>
                </c:pt>
                <c:pt idx="1820">
                  <c:v>11.957059185594764</c:v>
                </c:pt>
                <c:pt idx="1821">
                  <c:v>11.772215486953353</c:v>
                </c:pt>
                <c:pt idx="1822">
                  <c:v>11.665106628045805</c:v>
                </c:pt>
                <c:pt idx="1823">
                  <c:v>12.158153217293012</c:v>
                </c:pt>
                <c:pt idx="1824">
                  <c:v>12.288158957903851</c:v>
                </c:pt>
                <c:pt idx="1825">
                  <c:v>12.667316982701186</c:v>
                </c:pt>
                <c:pt idx="1826">
                  <c:v>12.58830875222638</c:v>
                </c:pt>
                <c:pt idx="1827">
                  <c:v>12.129616078297637</c:v>
                </c:pt>
                <c:pt idx="1828">
                  <c:v>12.117053623127495</c:v>
                </c:pt>
                <c:pt idx="1829">
                  <c:v>12.368898704913621</c:v>
                </c:pt>
                <c:pt idx="1830">
                  <c:v>12.336470554705928</c:v>
                </c:pt>
                <c:pt idx="1831">
                  <c:v>12.445559610679966</c:v>
                </c:pt>
                <c:pt idx="1832">
                  <c:v>12.44555961067997</c:v>
                </c:pt>
                <c:pt idx="1833">
                  <c:v>12.445559610679968</c:v>
                </c:pt>
                <c:pt idx="1834">
                  <c:v>12.369038097130911</c:v>
                </c:pt>
                <c:pt idx="1835">
                  <c:v>12.585386526562802</c:v>
                </c:pt>
                <c:pt idx="1836">
                  <c:v>12.759535537253571</c:v>
                </c:pt>
                <c:pt idx="1837">
                  <c:v>12.835117057707633</c:v>
                </c:pt>
                <c:pt idx="1838">
                  <c:v>12.958643323342503</c:v>
                </c:pt>
                <c:pt idx="1839">
                  <c:v>13.083111865758623</c:v>
                </c:pt>
                <c:pt idx="1840">
                  <c:v>13.330502573068081</c:v>
                </c:pt>
                <c:pt idx="1841">
                  <c:v>13.121711410666963</c:v>
                </c:pt>
                <c:pt idx="1842">
                  <c:v>12.632015519779653</c:v>
                </c:pt>
                <c:pt idx="1843">
                  <c:v>12.708219803525301</c:v>
                </c:pt>
                <c:pt idx="1844">
                  <c:v>12.50016091850444</c:v>
                </c:pt>
                <c:pt idx="1845">
                  <c:v>12.239234068139748</c:v>
                </c:pt>
                <c:pt idx="1846">
                  <c:v>12.397116832035037</c:v>
                </c:pt>
                <c:pt idx="1847">
                  <c:v>12.555898005027107</c:v>
                </c:pt>
                <c:pt idx="1848">
                  <c:v>12.69428326398174</c:v>
                </c:pt>
                <c:pt idx="1849">
                  <c:v>12.377398757412644</c:v>
                </c:pt>
                <c:pt idx="1850">
                  <c:v>12.755210790059511</c:v>
                </c:pt>
                <c:pt idx="1851">
                  <c:v>12.779698339756397</c:v>
                </c:pt>
                <c:pt idx="1852">
                  <c:v>13.092772420506376</c:v>
                </c:pt>
                <c:pt idx="1853">
                  <c:v>12.656559791156774</c:v>
                </c:pt>
                <c:pt idx="1854">
                  <c:v>12.54490783719347</c:v>
                </c:pt>
                <c:pt idx="1855">
                  <c:v>12.586665083771575</c:v>
                </c:pt>
                <c:pt idx="1856">
                  <c:v>12.320247795686839</c:v>
                </c:pt>
                <c:pt idx="1857">
                  <c:v>12.544220632002922</c:v>
                </c:pt>
                <c:pt idx="1858">
                  <c:v>12.821677047050065</c:v>
                </c:pt>
                <c:pt idx="1859">
                  <c:v>12.616355012169857</c:v>
                </c:pt>
                <c:pt idx="1860">
                  <c:v>12.575290495033615</c:v>
                </c:pt>
                <c:pt idx="1861">
                  <c:v>12.549717219875934</c:v>
                </c:pt>
                <c:pt idx="1862">
                  <c:v>13.019039991445245</c:v>
                </c:pt>
                <c:pt idx="1863">
                  <c:v>12.853909463884797</c:v>
                </c:pt>
                <c:pt idx="1864">
                  <c:v>12.444081822850295</c:v>
                </c:pt>
                <c:pt idx="1865">
                  <c:v>12.665275180678027</c:v>
                </c:pt>
                <c:pt idx="1866">
                  <c:v>12.638201530717671</c:v>
                </c:pt>
                <c:pt idx="1867">
                  <c:v>12.473834684015094</c:v>
                </c:pt>
                <c:pt idx="1868">
                  <c:v>12.595565722192434</c:v>
                </c:pt>
                <c:pt idx="1869">
                  <c:v>12.500344822830096</c:v>
                </c:pt>
                <c:pt idx="1870">
                  <c:v>12.530606208560823</c:v>
                </c:pt>
                <c:pt idx="1871">
                  <c:v>12.269062109936163</c:v>
                </c:pt>
                <c:pt idx="1872">
                  <c:v>12.277631281524034</c:v>
                </c:pt>
                <c:pt idx="1873">
                  <c:v>12.729231451008083</c:v>
                </c:pt>
                <c:pt idx="1874">
                  <c:v>12.81885285451655</c:v>
                </c:pt>
                <c:pt idx="1875">
                  <c:v>13.115271435528363</c:v>
                </c:pt>
                <c:pt idx="1876">
                  <c:v>12.632561466124056</c:v>
                </c:pt>
                <c:pt idx="1877">
                  <c:v>12.670174952751571</c:v>
                </c:pt>
                <c:pt idx="1878">
                  <c:v>12.480974026240022</c:v>
                </c:pt>
                <c:pt idx="1879">
                  <c:v>12.555898005027107</c:v>
                </c:pt>
                <c:pt idx="1880">
                  <c:v>12.189547057674638</c:v>
                </c:pt>
                <c:pt idx="1881">
                  <c:v>12.165761263744935</c:v>
                </c:pt>
                <c:pt idx="1882">
                  <c:v>11.732899025399899</c:v>
                </c:pt>
                <c:pt idx="1883">
                  <c:v>11.872890012182346</c:v>
                </c:pt>
                <c:pt idx="1884">
                  <c:v>12.20989800102369</c:v>
                </c:pt>
                <c:pt idx="1885">
                  <c:v>12.178556621345171</c:v>
                </c:pt>
                <c:pt idx="1886">
                  <c:v>12.548801289091459</c:v>
                </c:pt>
                <c:pt idx="1887">
                  <c:v>12.422819196205392</c:v>
                </c:pt>
                <c:pt idx="1888">
                  <c:v>13.625365122177229</c:v>
                </c:pt>
                <c:pt idx="1889">
                  <c:v>14.170716121717309</c:v>
                </c:pt>
                <c:pt idx="1890">
                  <c:v>14.657938886957917</c:v>
                </c:pt>
                <c:pt idx="1891">
                  <c:v>15.894805050273717</c:v>
                </c:pt>
                <c:pt idx="1892">
                  <c:v>15.600029472415425</c:v>
                </c:pt>
                <c:pt idx="1893">
                  <c:v>16.818196221293501</c:v>
                </c:pt>
                <c:pt idx="1894">
                  <c:v>17.254051664770646</c:v>
                </c:pt>
                <c:pt idx="1895">
                  <c:v>16.984238805907431</c:v>
                </c:pt>
                <c:pt idx="1896">
                  <c:v>17.364417309709737</c:v>
                </c:pt>
                <c:pt idx="1897">
                  <c:v>17.787506916340206</c:v>
                </c:pt>
                <c:pt idx="1898">
                  <c:v>17.966795683327526</c:v>
                </c:pt>
                <c:pt idx="1899">
                  <c:v>18.162769802443449</c:v>
                </c:pt>
                <c:pt idx="1900">
                  <c:v>18.290158147415546</c:v>
                </c:pt>
                <c:pt idx="1901">
                  <c:v>18.709638551095626</c:v>
                </c:pt>
                <c:pt idx="1902">
                  <c:v>19.015420239809366</c:v>
                </c:pt>
                <c:pt idx="1903">
                  <c:v>18.550831068535267</c:v>
                </c:pt>
                <c:pt idx="1904">
                  <c:v>18.474741999660591</c:v>
                </c:pt>
                <c:pt idx="1905">
                  <c:v>17.956812813992954</c:v>
                </c:pt>
                <c:pt idx="1906">
                  <c:v>17.242056308547607</c:v>
                </c:pt>
                <c:pt idx="1907">
                  <c:v>16.475164171648142</c:v>
                </c:pt>
                <c:pt idx="1908">
                  <c:v>15.761476388049264</c:v>
                </c:pt>
                <c:pt idx="1909">
                  <c:v>14.70100473538748</c:v>
                </c:pt>
                <c:pt idx="1910">
                  <c:v>14.373067086438592</c:v>
                </c:pt>
                <c:pt idx="1911">
                  <c:v>12.092032144321742</c:v>
                </c:pt>
                <c:pt idx="1912">
                  <c:v>11.705240009421459</c:v>
                </c:pt>
                <c:pt idx="1913">
                  <c:v>11.372683545869144</c:v>
                </c:pt>
                <c:pt idx="1914">
                  <c:v>11.257487929496465</c:v>
                </c:pt>
                <c:pt idx="1915">
                  <c:v>7.4402601610674752</c:v>
                </c:pt>
                <c:pt idx="1916">
                  <c:v>7.3788296115835061</c:v>
                </c:pt>
                <c:pt idx="1917">
                  <c:v>5.7050088901579814</c:v>
                </c:pt>
                <c:pt idx="1918">
                  <c:v>5.8526936523711681</c:v>
                </c:pt>
                <c:pt idx="1919">
                  <c:v>6.0085188566380241</c:v>
                </c:pt>
                <c:pt idx="1920">
                  <c:v>6.1334770098114042</c:v>
                </c:pt>
                <c:pt idx="1921">
                  <c:v>6.072455240154361</c:v>
                </c:pt>
                <c:pt idx="1922">
                  <c:v>5.8809061777301253</c:v>
                </c:pt>
                <c:pt idx="1923">
                  <c:v>5.6629467167934209</c:v>
                </c:pt>
                <c:pt idx="1924">
                  <c:v>5.6123836802835063</c:v>
                </c:pt>
                <c:pt idx="1925">
                  <c:v>5.7158782674070396</c:v>
                </c:pt>
                <c:pt idx="1926">
                  <c:v>5.8823718728566199</c:v>
                </c:pt>
                <c:pt idx="1927">
                  <c:v>5.8718107019504817</c:v>
                </c:pt>
                <c:pt idx="1928">
                  <c:v>5.8961315975893855</c:v>
                </c:pt>
                <c:pt idx="1929">
                  <c:v>6.0500783693983724</c:v>
                </c:pt>
                <c:pt idx="1930">
                  <c:v>5.9326681791701397</c:v>
                </c:pt>
                <c:pt idx="1931">
                  <c:v>6.0257111947303663</c:v>
                </c:pt>
                <c:pt idx="1932">
                  <c:v>6.409045332104113</c:v>
                </c:pt>
                <c:pt idx="1933">
                  <c:v>10.164169657556204</c:v>
                </c:pt>
                <c:pt idx="1934">
                  <c:v>10.234098964207616</c:v>
                </c:pt>
                <c:pt idx="1935">
                  <c:v>12.750884576030963</c:v>
                </c:pt>
                <c:pt idx="1936">
                  <c:v>14.74538696615349</c:v>
                </c:pt>
                <c:pt idx="1937">
                  <c:v>14.984129535312837</c:v>
                </c:pt>
                <c:pt idx="1938">
                  <c:v>16.539920360063448</c:v>
                </c:pt>
                <c:pt idx="1939">
                  <c:v>17.560404781551991</c:v>
                </c:pt>
                <c:pt idx="1940">
                  <c:v>18.527053843985314</c:v>
                </c:pt>
                <c:pt idx="1941">
                  <c:v>19.038979978472838</c:v>
                </c:pt>
                <c:pt idx="1942">
                  <c:v>19.973689590610668</c:v>
                </c:pt>
                <c:pt idx="1943">
                  <c:v>20.249137912683999</c:v>
                </c:pt>
                <c:pt idx="1944">
                  <c:v>20.383563358069015</c:v>
                </c:pt>
                <c:pt idx="1945">
                  <c:v>20.379051673874248</c:v>
                </c:pt>
                <c:pt idx="1946">
                  <c:v>20.194570796507964</c:v>
                </c:pt>
                <c:pt idx="1947">
                  <c:v>19.909017191143349</c:v>
                </c:pt>
                <c:pt idx="1948">
                  <c:v>20.464154250674579</c:v>
                </c:pt>
                <c:pt idx="1949">
                  <c:v>20.244170439452667</c:v>
                </c:pt>
                <c:pt idx="1950">
                  <c:v>19.546584497482964</c:v>
                </c:pt>
                <c:pt idx="1951">
                  <c:v>19.123795131455601</c:v>
                </c:pt>
                <c:pt idx="1952">
                  <c:v>18.903536128484522</c:v>
                </c:pt>
                <c:pt idx="1953">
                  <c:v>18.5760010791331</c:v>
                </c:pt>
                <c:pt idx="1954">
                  <c:v>18.59084560287361</c:v>
                </c:pt>
                <c:pt idx="1955">
                  <c:v>17.853683737215292</c:v>
                </c:pt>
                <c:pt idx="1956">
                  <c:v>16.804111429038436</c:v>
                </c:pt>
                <c:pt idx="1957">
                  <c:v>16.409592092543868</c:v>
                </c:pt>
                <c:pt idx="1958">
                  <c:v>15.714551423339502</c:v>
                </c:pt>
                <c:pt idx="1959">
                  <c:v>15.227017730518252</c:v>
                </c:pt>
                <c:pt idx="1960">
                  <c:v>13.822354042071408</c:v>
                </c:pt>
                <c:pt idx="1961">
                  <c:v>12.02181924381807</c:v>
                </c:pt>
                <c:pt idx="1962">
                  <c:v>11.174941178584682</c:v>
                </c:pt>
                <c:pt idx="1963">
                  <c:v>11.574297724531364</c:v>
                </c:pt>
                <c:pt idx="1964">
                  <c:v>10.851346650896884</c:v>
                </c:pt>
                <c:pt idx="1965">
                  <c:v>11.606577604020961</c:v>
                </c:pt>
                <c:pt idx="1966">
                  <c:v>12.003304142811162</c:v>
                </c:pt>
                <c:pt idx="1967">
                  <c:v>11.725843351283974</c:v>
                </c:pt>
                <c:pt idx="1968">
                  <c:v>11.983705412029238</c:v>
                </c:pt>
                <c:pt idx="1969">
                  <c:v>11.936854935330597</c:v>
                </c:pt>
                <c:pt idx="1970">
                  <c:v>11.900980351774946</c:v>
                </c:pt>
                <c:pt idx="1971">
                  <c:v>12.224151711160625</c:v>
                </c:pt>
                <c:pt idx="1972">
                  <c:v>11.980827595999262</c:v>
                </c:pt>
                <c:pt idx="1973">
                  <c:v>12.560154109897212</c:v>
                </c:pt>
                <c:pt idx="1974">
                  <c:v>12.810959747621268</c:v>
                </c:pt>
                <c:pt idx="1975">
                  <c:v>13.226627618592714</c:v>
                </c:pt>
                <c:pt idx="1976">
                  <c:v>13.198092861183156</c:v>
                </c:pt>
                <c:pt idx="1977">
                  <c:v>13.174383014626983</c:v>
                </c:pt>
                <c:pt idx="1978">
                  <c:v>13.306294422729712</c:v>
                </c:pt>
                <c:pt idx="1979">
                  <c:v>13.252455855685639</c:v>
                </c:pt>
                <c:pt idx="1980">
                  <c:v>13.29955491433981</c:v>
                </c:pt>
                <c:pt idx="1981">
                  <c:v>13.676265202351754</c:v>
                </c:pt>
                <c:pt idx="1982">
                  <c:v>13.71617050540468</c:v>
                </c:pt>
                <c:pt idx="1983">
                  <c:v>13.613887432856304</c:v>
                </c:pt>
                <c:pt idx="1984">
                  <c:v>13.266325877907965</c:v>
                </c:pt>
                <c:pt idx="1985">
                  <c:v>13.389651176214029</c:v>
                </c:pt>
                <c:pt idx="1986">
                  <c:v>13.255274378547384</c:v>
                </c:pt>
                <c:pt idx="1987">
                  <c:v>12.943733228286863</c:v>
                </c:pt>
                <c:pt idx="1988">
                  <c:v>13.014580682635442</c:v>
                </c:pt>
                <c:pt idx="1989">
                  <c:v>12.961304035429871</c:v>
                </c:pt>
                <c:pt idx="1990">
                  <c:v>12.699171843755853</c:v>
                </c:pt>
                <c:pt idx="1991">
                  <c:v>12.013593832888192</c:v>
                </c:pt>
                <c:pt idx="1992">
                  <c:v>11.930642475787188</c:v>
                </c:pt>
                <c:pt idx="1993">
                  <c:v>11.790508553663958</c:v>
                </c:pt>
                <c:pt idx="1994">
                  <c:v>11.90015937302725</c:v>
                </c:pt>
                <c:pt idx="1995">
                  <c:v>11.699346675933581</c:v>
                </c:pt>
                <c:pt idx="1996">
                  <c:v>11.406592165392178</c:v>
                </c:pt>
                <c:pt idx="1997">
                  <c:v>11.729959676954925</c:v>
                </c:pt>
                <c:pt idx="1998">
                  <c:v>11.766111477898926</c:v>
                </c:pt>
                <c:pt idx="1999">
                  <c:v>12.158389563655589</c:v>
                </c:pt>
                <c:pt idx="2000">
                  <c:v>12.502919199360889</c:v>
                </c:pt>
                <c:pt idx="2001">
                  <c:v>12.311848325714639</c:v>
                </c:pt>
                <c:pt idx="2002">
                  <c:v>12.325844262427186</c:v>
                </c:pt>
                <c:pt idx="2003">
                  <c:v>12.325844262427188</c:v>
                </c:pt>
                <c:pt idx="2004">
                  <c:v>12.125019255820709</c:v>
                </c:pt>
                <c:pt idx="2005">
                  <c:v>11.990465560928653</c:v>
                </c:pt>
                <c:pt idx="2006">
                  <c:v>12.008856884739735</c:v>
                </c:pt>
                <c:pt idx="2007">
                  <c:v>11.998084138249146</c:v>
                </c:pt>
                <c:pt idx="2008">
                  <c:v>11.468547693884197</c:v>
                </c:pt>
                <c:pt idx="2009">
                  <c:v>11.412284165979107</c:v>
                </c:pt>
                <c:pt idx="2010">
                  <c:v>11.518900011340682</c:v>
                </c:pt>
                <c:pt idx="2011">
                  <c:v>11.109745126761872</c:v>
                </c:pt>
                <c:pt idx="2012">
                  <c:v>11.109745126761872</c:v>
                </c:pt>
                <c:pt idx="2013">
                  <c:v>10.675786331371729</c:v>
                </c:pt>
                <c:pt idx="2014">
                  <c:v>10.887301471592183</c:v>
                </c:pt>
                <c:pt idx="2015">
                  <c:v>10.670886377989131</c:v>
                </c:pt>
                <c:pt idx="2016">
                  <c:v>10.50101254012279</c:v>
                </c:pt>
                <c:pt idx="2017">
                  <c:v>10.52249915684231</c:v>
                </c:pt>
                <c:pt idx="2018">
                  <c:v>10.417988421889357</c:v>
                </c:pt>
                <c:pt idx="2019">
                  <c:v>10.265946384645391</c:v>
                </c:pt>
                <c:pt idx="2020">
                  <c:v>10.820584895062943</c:v>
                </c:pt>
                <c:pt idx="2021">
                  <c:v>10.915348257669422</c:v>
                </c:pt>
                <c:pt idx="2022">
                  <c:v>10.959119437736533</c:v>
                </c:pt>
                <c:pt idx="2023">
                  <c:v>11.275035999126974</c:v>
                </c:pt>
                <c:pt idx="2024">
                  <c:v>11.075706043761549</c:v>
                </c:pt>
                <c:pt idx="2025">
                  <c:v>11.221131542917064</c:v>
                </c:pt>
                <c:pt idx="2026">
                  <c:v>11.617466042187482</c:v>
                </c:pt>
                <c:pt idx="2027">
                  <c:v>12.099966752115431</c:v>
                </c:pt>
                <c:pt idx="2028">
                  <c:v>11.880100235654385</c:v>
                </c:pt>
                <c:pt idx="2029">
                  <c:v>11.49137607677736</c:v>
                </c:pt>
                <c:pt idx="2030">
                  <c:v>11.30862756797943</c:v>
                </c:pt>
                <c:pt idx="2031">
                  <c:v>11.370257632115891</c:v>
                </c:pt>
                <c:pt idx="2032">
                  <c:v>11.403971883192439</c:v>
                </c:pt>
                <c:pt idx="2033">
                  <c:v>10.981907796488493</c:v>
                </c:pt>
                <c:pt idx="2034">
                  <c:v>11.456514484690841</c:v>
                </c:pt>
                <c:pt idx="2035">
                  <c:v>11.148990985734986</c:v>
                </c:pt>
                <c:pt idx="2036">
                  <c:v>11.146928859040313</c:v>
                </c:pt>
                <c:pt idx="2037">
                  <c:v>11.774753822743255</c:v>
                </c:pt>
                <c:pt idx="2038">
                  <c:v>12.268078379535925</c:v>
                </c:pt>
                <c:pt idx="2039">
                  <c:v>12.401751822862044</c:v>
                </c:pt>
                <c:pt idx="2040">
                  <c:v>12.310914697521673</c:v>
                </c:pt>
                <c:pt idx="2041">
                  <c:v>12.235993634759911</c:v>
                </c:pt>
                <c:pt idx="2042">
                  <c:v>12.280486343284057</c:v>
                </c:pt>
                <c:pt idx="2043">
                  <c:v>12.257955427573057</c:v>
                </c:pt>
                <c:pt idx="2044">
                  <c:v>12.161556161769024</c:v>
                </c:pt>
                <c:pt idx="2045">
                  <c:v>12.190112820425931</c:v>
                </c:pt>
                <c:pt idx="2046">
                  <c:v>12.349321727383929</c:v>
                </c:pt>
                <c:pt idx="2047">
                  <c:v>12.299004725642614</c:v>
                </c:pt>
                <c:pt idx="2048">
                  <c:v>12.387238520385388</c:v>
                </c:pt>
                <c:pt idx="2049">
                  <c:v>12.402678613170997</c:v>
                </c:pt>
                <c:pt idx="2050">
                  <c:v>11.991376211606234</c:v>
                </c:pt>
                <c:pt idx="2051">
                  <c:v>12.283808612274472</c:v>
                </c:pt>
                <c:pt idx="2052">
                  <c:v>12.184595513027585</c:v>
                </c:pt>
                <c:pt idx="2053">
                  <c:v>11.98663048336886</c:v>
                </c:pt>
                <c:pt idx="2054">
                  <c:v>12.085899450071615</c:v>
                </c:pt>
                <c:pt idx="2055">
                  <c:v>11.876035949973268</c:v>
                </c:pt>
                <c:pt idx="2056">
                  <c:v>11.318228609220382</c:v>
                </c:pt>
                <c:pt idx="2057">
                  <c:v>10.898697591703437</c:v>
                </c:pt>
                <c:pt idx="2058">
                  <c:v>11.3287346992088</c:v>
                </c:pt>
                <c:pt idx="2059">
                  <c:v>11.292149648236201</c:v>
                </c:pt>
                <c:pt idx="2060">
                  <c:v>11.668850370345712</c:v>
                </c:pt>
                <c:pt idx="2061">
                  <c:v>11.632099858857675</c:v>
                </c:pt>
                <c:pt idx="2062">
                  <c:v>11.64636986509027</c:v>
                </c:pt>
                <c:pt idx="2063">
                  <c:v>11.996407508227131</c:v>
                </c:pt>
                <c:pt idx="2064">
                  <c:v>11.388086131880389</c:v>
                </c:pt>
                <c:pt idx="2065">
                  <c:v>11.490175713670984</c:v>
                </c:pt>
                <c:pt idx="2066">
                  <c:v>11.576283722662735</c:v>
                </c:pt>
                <c:pt idx="2067">
                  <c:v>11.196058419726608</c:v>
                </c:pt>
                <c:pt idx="2068">
                  <c:v>10.610610607842714</c:v>
                </c:pt>
                <c:pt idx="2069">
                  <c:v>10.213187328268235</c:v>
                </c:pt>
                <c:pt idx="2070">
                  <c:v>10.168918160341549</c:v>
                </c:pt>
                <c:pt idx="2071">
                  <c:v>10.039920318408907</c:v>
                </c:pt>
                <c:pt idx="2072">
                  <c:v>10.380352794483002</c:v>
                </c:pt>
                <c:pt idx="2073">
                  <c:v>10.118209373181612</c:v>
                </c:pt>
                <c:pt idx="2074">
                  <c:v>10.117698161733923</c:v>
                </c:pt>
                <c:pt idx="2075">
                  <c:v>10.906130301849485</c:v>
                </c:pt>
                <c:pt idx="2076">
                  <c:v>10.102691117523685</c:v>
                </c:pt>
                <c:pt idx="2077">
                  <c:v>10.140167084705613</c:v>
                </c:pt>
                <c:pt idx="2078">
                  <c:v>10.48260737942924</c:v>
                </c:pt>
                <c:pt idx="2079">
                  <c:v>10.353743284435827</c:v>
                </c:pt>
                <c:pt idx="2080">
                  <c:v>10.668947313657949</c:v>
                </c:pt>
                <c:pt idx="2081">
                  <c:v>10.90423307026105</c:v>
                </c:pt>
                <c:pt idx="2082">
                  <c:v>10.925873541446384</c:v>
                </c:pt>
                <c:pt idx="2083">
                  <c:v>10.925873541446384</c:v>
                </c:pt>
                <c:pt idx="2084">
                  <c:v>10.99012095568969</c:v>
                </c:pt>
                <c:pt idx="2085">
                  <c:v>11.361560520952407</c:v>
                </c:pt>
                <c:pt idx="2086">
                  <c:v>11.44306244678056</c:v>
                </c:pt>
                <c:pt idx="2087">
                  <c:v>11.740537887382224</c:v>
                </c:pt>
                <c:pt idx="2088">
                  <c:v>11.809795272053453</c:v>
                </c:pt>
                <c:pt idx="2089">
                  <c:v>11.849875114526947</c:v>
                </c:pt>
                <c:pt idx="2090">
                  <c:v>11.303747725585447</c:v>
                </c:pt>
                <c:pt idx="2091">
                  <c:v>11.739950459078146</c:v>
                </c:pt>
                <c:pt idx="2092">
                  <c:v>11.93064247578719</c:v>
                </c:pt>
                <c:pt idx="2093">
                  <c:v>11.410622193840908</c:v>
                </c:pt>
                <c:pt idx="2094">
                  <c:v>11.895328939323731</c:v>
                </c:pt>
                <c:pt idx="2095">
                  <c:v>11.843617030612569</c:v>
                </c:pt>
                <c:pt idx="2096">
                  <c:v>11.981019471906675</c:v>
                </c:pt>
                <c:pt idx="2097">
                  <c:v>11.906966955063137</c:v>
                </c:pt>
                <c:pt idx="2098">
                  <c:v>12.262643018252772</c:v>
                </c:pt>
                <c:pt idx="2099">
                  <c:v>12.609110007150141</c:v>
                </c:pt>
                <c:pt idx="2100">
                  <c:v>12.681600392132971</c:v>
                </c:pt>
                <c:pt idx="2101">
                  <c:v>12.681600392132971</c:v>
                </c:pt>
                <c:pt idx="2102">
                  <c:v>12.304610854304256</c:v>
                </c:pt>
                <c:pt idx="2103">
                  <c:v>12.76349860154825</c:v>
                </c:pt>
                <c:pt idx="2104">
                  <c:v>12.748720918487127</c:v>
                </c:pt>
                <c:pt idx="2105">
                  <c:v>12.338566767864794</c:v>
                </c:pt>
                <c:pt idx="2106">
                  <c:v>12.549167669427414</c:v>
                </c:pt>
                <c:pt idx="2107">
                  <c:v>12.669494542167932</c:v>
                </c:pt>
                <c:pt idx="2108">
                  <c:v>12.361229712289955</c:v>
                </c:pt>
                <c:pt idx="2109">
                  <c:v>12.361462175909319</c:v>
                </c:pt>
                <c:pt idx="2110">
                  <c:v>12.130563660137302</c:v>
                </c:pt>
                <c:pt idx="2111">
                  <c:v>11.880825854649403</c:v>
                </c:pt>
                <c:pt idx="2112">
                  <c:v>11.87463248070121</c:v>
                </c:pt>
                <c:pt idx="2113">
                  <c:v>11.788607397305929</c:v>
                </c:pt>
                <c:pt idx="2114">
                  <c:v>11.772215486953353</c:v>
                </c:pt>
                <c:pt idx="2115">
                  <c:v>11.481569438957777</c:v>
                </c:pt>
                <c:pt idx="2116">
                  <c:v>11.269376671968713</c:v>
                </c:pt>
                <c:pt idx="2117">
                  <c:v>11.092557305969027</c:v>
                </c:pt>
                <c:pt idx="2118">
                  <c:v>10.826160313169058</c:v>
                </c:pt>
                <c:pt idx="2119">
                  <c:v>10.875470659652644</c:v>
                </c:pt>
                <c:pt idx="2120">
                  <c:v>10.856218092151973</c:v>
                </c:pt>
                <c:pt idx="2121">
                  <c:v>11.167944685829488</c:v>
                </c:pt>
                <c:pt idx="2122">
                  <c:v>10.991323641959545</c:v>
                </c:pt>
                <c:pt idx="2123">
                  <c:v>11.323914273905407</c:v>
                </c:pt>
                <c:pt idx="2124">
                  <c:v>11.214163868268011</c:v>
                </c:pt>
                <c:pt idx="2125">
                  <c:v>11.684010097309185</c:v>
                </c:pt>
                <c:pt idx="2126">
                  <c:v>11.467144470130764</c:v>
                </c:pt>
                <c:pt idx="2127">
                  <c:v>11.713093174910629</c:v>
                </c:pt>
                <c:pt idx="2128">
                  <c:v>11.085664347389763</c:v>
                </c:pt>
                <c:pt idx="2129">
                  <c:v>11.021608869351404</c:v>
                </c:pt>
                <c:pt idx="2130">
                  <c:v>11.374957370136109</c:v>
                </c:pt>
                <c:pt idx="2131">
                  <c:v>11.334212271529593</c:v>
                </c:pt>
                <c:pt idx="2132">
                  <c:v>11.218621629432372</c:v>
                </c:pt>
                <c:pt idx="2133">
                  <c:v>10.647756225781944</c:v>
                </c:pt>
                <c:pt idx="2134">
                  <c:v>10.886087293041708</c:v>
                </c:pt>
                <c:pt idx="2135">
                  <c:v>10.878905032798277</c:v>
                </c:pt>
                <c:pt idx="2136">
                  <c:v>11.259785016628411</c:v>
                </c:pt>
                <c:pt idx="2137">
                  <c:v>11.714221634651919</c:v>
                </c:pt>
                <c:pt idx="2138">
                  <c:v>11.614299549391195</c:v>
                </c:pt>
                <c:pt idx="2139">
                  <c:v>11.788802401811878</c:v>
                </c:pt>
                <c:pt idx="2140">
                  <c:v>12.43169845342066</c:v>
                </c:pt>
                <c:pt idx="2141">
                  <c:v>12.153992769040348</c:v>
                </c:pt>
                <c:pt idx="2142">
                  <c:v>12.537759062083248</c:v>
                </c:pt>
                <c:pt idx="2143">
                  <c:v>13.129286382722416</c:v>
                </c:pt>
                <c:pt idx="2144">
                  <c:v>13.456443143303712</c:v>
                </c:pt>
                <c:pt idx="2145">
                  <c:v>13.88027625681554</c:v>
                </c:pt>
                <c:pt idx="2146">
                  <c:v>13.923807445993477</c:v>
                </c:pt>
                <c:pt idx="2147">
                  <c:v>13.924261469509412</c:v>
                </c:pt>
                <c:pt idx="2148">
                  <c:v>13.883960811529684</c:v>
                </c:pt>
                <c:pt idx="2149">
                  <c:v>14.116469553102792</c:v>
                </c:pt>
                <c:pt idx="2150">
                  <c:v>14.15367220129141</c:v>
                </c:pt>
                <c:pt idx="2151">
                  <c:v>13.861590030040547</c:v>
                </c:pt>
                <c:pt idx="2152">
                  <c:v>13.99429276116008</c:v>
                </c:pt>
                <c:pt idx="2153">
                  <c:v>13.752366567500177</c:v>
                </c:pt>
                <c:pt idx="2154">
                  <c:v>13.71063854076105</c:v>
                </c:pt>
                <c:pt idx="2155">
                  <c:v>13.757380464368184</c:v>
                </c:pt>
                <c:pt idx="2156">
                  <c:v>13.812746071038465</c:v>
                </c:pt>
                <c:pt idx="2157">
                  <c:v>13.790759858371269</c:v>
                </c:pt>
                <c:pt idx="2158">
                  <c:v>14.018050760588537</c:v>
                </c:pt>
                <c:pt idx="2159">
                  <c:v>14.157732138670546</c:v>
                </c:pt>
                <c:pt idx="2160">
                  <c:v>13.742667846536564</c:v>
                </c:pt>
                <c:pt idx="2161">
                  <c:v>13.511170346714271</c:v>
                </c:pt>
                <c:pt idx="2162">
                  <c:v>13.677063609032361</c:v>
                </c:pt>
                <c:pt idx="2163">
                  <c:v>13.590902975084507</c:v>
                </c:pt>
                <c:pt idx="2164">
                  <c:v>13.191820872458605</c:v>
                </c:pt>
                <c:pt idx="2165">
                  <c:v>13.369419557719954</c:v>
                </c:pt>
                <c:pt idx="2166">
                  <c:v>13.408009272210331</c:v>
                </c:pt>
                <c:pt idx="2167">
                  <c:v>12.995843721089773</c:v>
                </c:pt>
                <c:pt idx="2168">
                  <c:v>12.901216195008315</c:v>
                </c:pt>
                <c:pt idx="2169">
                  <c:v>12.628921378028046</c:v>
                </c:pt>
                <c:pt idx="2170">
                  <c:v>12.229651173115771</c:v>
                </c:pt>
                <c:pt idx="2171">
                  <c:v>12.207779694009526</c:v>
                </c:pt>
                <c:pt idx="2172">
                  <c:v>11.975837743355259</c:v>
                </c:pt>
                <c:pt idx="2173">
                  <c:v>11.728783731320648</c:v>
                </c:pt>
                <c:pt idx="2174">
                  <c:v>11.485322967951792</c:v>
                </c:pt>
                <c:pt idx="2175">
                  <c:v>11.093334438549901</c:v>
                </c:pt>
                <c:pt idx="2176">
                  <c:v>10.92445322022661</c:v>
                </c:pt>
                <c:pt idx="2177">
                  <c:v>11.339535152344842</c:v>
                </c:pt>
                <c:pt idx="2178">
                  <c:v>11.758342599603703</c:v>
                </c:pt>
                <c:pt idx="2179">
                  <c:v>11.239350003703379</c:v>
                </c:pt>
                <c:pt idx="2180">
                  <c:v>11.312743297694871</c:v>
                </c:pt>
                <c:pt idx="2181">
                  <c:v>11.580254697137484</c:v>
                </c:pt>
                <c:pt idx="2182">
                  <c:v>11.608360047332518</c:v>
                </c:pt>
                <c:pt idx="2183">
                  <c:v>11.687551093993671</c:v>
                </c:pt>
                <c:pt idx="2184">
                  <c:v>11.267081540344934</c:v>
                </c:pt>
                <c:pt idx="2185">
                  <c:v>10.961216896953957</c:v>
                </c:pt>
                <c:pt idx="2186">
                  <c:v>10.829716460770783</c:v>
                </c:pt>
                <c:pt idx="2187">
                  <c:v>10.456477945966451</c:v>
                </c:pt>
                <c:pt idx="2188">
                  <c:v>10.427693014717848</c:v>
                </c:pt>
                <c:pt idx="2189">
                  <c:v>10.264098798137663</c:v>
                </c:pt>
                <c:pt idx="2190">
                  <c:v>10.50566349724002</c:v>
                </c:pt>
                <c:pt idx="2191">
                  <c:v>10.875259278188086</c:v>
                </c:pt>
                <c:pt idx="2192">
                  <c:v>10.466146849966204</c:v>
                </c:pt>
                <c:pt idx="2193">
                  <c:v>10.377307249336239</c:v>
                </c:pt>
                <c:pt idx="2194">
                  <c:v>11.226456846812058</c:v>
                </c:pt>
                <c:pt idx="2195">
                  <c:v>11.384653917778362</c:v>
                </c:pt>
                <c:pt idx="2196">
                  <c:v>11.02186958711644</c:v>
                </c:pt>
                <c:pt idx="2197">
                  <c:v>10.9982234720081</c:v>
                </c:pt>
                <c:pt idx="2198">
                  <c:v>11.225432946108858</c:v>
                </c:pt>
                <c:pt idx="2199">
                  <c:v>11.179054717095545</c:v>
                </c:pt>
                <c:pt idx="2200">
                  <c:v>11.415909447159569</c:v>
                </c:pt>
                <c:pt idx="2201">
                  <c:v>11.445824415555402</c:v>
                </c:pt>
                <c:pt idx="2202">
                  <c:v>11.339535152344842</c:v>
                </c:pt>
                <c:pt idx="2203">
                  <c:v>11.67549747887902</c:v>
                </c:pt>
                <c:pt idx="2204">
                  <c:v>11.754187319429187</c:v>
                </c:pt>
                <c:pt idx="2205">
                  <c:v>11.854675589544128</c:v>
                </c:pt>
                <c:pt idx="2206">
                  <c:v>11.810817173204002</c:v>
                </c:pt>
                <c:pt idx="2207">
                  <c:v>12.058478202149894</c:v>
                </c:pt>
                <c:pt idx="2208">
                  <c:v>12.217426784776709</c:v>
                </c:pt>
                <c:pt idx="2209">
                  <c:v>12.226972257051727</c:v>
                </c:pt>
                <c:pt idx="2210">
                  <c:v>12.322346768576896</c:v>
                </c:pt>
                <c:pt idx="2211">
                  <c:v>12.339265426449332</c:v>
                </c:pt>
                <c:pt idx="2212">
                  <c:v>12.321367292391821</c:v>
                </c:pt>
                <c:pt idx="2213">
                  <c:v>12.243741070534726</c:v>
                </c:pt>
                <c:pt idx="2214">
                  <c:v>12.211921817746733</c:v>
                </c:pt>
                <c:pt idx="2215">
                  <c:v>12.036152438268694</c:v>
                </c:pt>
                <c:pt idx="2216">
                  <c:v>12.036152438268694</c:v>
                </c:pt>
                <c:pt idx="2217">
                  <c:v>12.18388798523614</c:v>
                </c:pt>
                <c:pt idx="2218">
                  <c:v>12.228711269399765</c:v>
                </c:pt>
                <c:pt idx="2219">
                  <c:v>12.278614246570823</c:v>
                </c:pt>
                <c:pt idx="2220">
                  <c:v>12.541608908867653</c:v>
                </c:pt>
                <c:pt idx="2221">
                  <c:v>12.404346661229445</c:v>
                </c:pt>
                <c:pt idx="2222">
                  <c:v>12.379998700165197</c:v>
                </c:pt>
                <c:pt idx="2223">
                  <c:v>12.280065146407001</c:v>
                </c:pt>
                <c:pt idx="2224">
                  <c:v>13.15932430225633</c:v>
                </c:pt>
                <c:pt idx="2225">
                  <c:v>12.826382652721033</c:v>
                </c:pt>
                <c:pt idx="2226">
                  <c:v>13.952464454992031</c:v>
                </c:pt>
                <c:pt idx="2227">
                  <c:v>15.76275254567209</c:v>
                </c:pt>
                <c:pt idx="2228">
                  <c:v>16.521981178689362</c:v>
                </c:pt>
                <c:pt idx="2229">
                  <c:v>16.810266430704317</c:v>
                </c:pt>
                <c:pt idx="2230">
                  <c:v>17.406697086129693</c:v>
                </c:pt>
                <c:pt idx="2231">
                  <c:v>18.299676524997381</c:v>
                </c:pt>
                <c:pt idx="2232">
                  <c:v>18.078246278490262</c:v>
                </c:pt>
                <c:pt idx="2233">
                  <c:v>18.634290477750834</c:v>
                </c:pt>
                <c:pt idx="2234">
                  <c:v>17.888704456344421</c:v>
                </c:pt>
                <c:pt idx="2235">
                  <c:v>17.882277876964263</c:v>
                </c:pt>
                <c:pt idx="2236">
                  <c:v>17.850110273654032</c:v>
                </c:pt>
                <c:pt idx="2237">
                  <c:v>17.851752224116947</c:v>
                </c:pt>
                <c:pt idx="2238">
                  <c:v>18.456067749702516</c:v>
                </c:pt>
                <c:pt idx="2239">
                  <c:v>18.355399468689654</c:v>
                </c:pt>
                <c:pt idx="2240">
                  <c:v>17.325285488019507</c:v>
                </c:pt>
                <c:pt idx="2241">
                  <c:v>17.321702552299669</c:v>
                </c:pt>
                <c:pt idx="2242">
                  <c:v>17.140259792288052</c:v>
                </c:pt>
                <c:pt idx="2243">
                  <c:v>16.202773992667776</c:v>
                </c:pt>
                <c:pt idx="2244">
                  <c:v>14.620447026830876</c:v>
                </c:pt>
                <c:pt idx="2245">
                  <c:v>14.251275401686426</c:v>
                </c:pt>
                <c:pt idx="2246">
                  <c:v>13.70527207897095</c:v>
                </c:pt>
                <c:pt idx="2247">
                  <c:v>13.237051795240701</c:v>
                </c:pt>
                <c:pt idx="2248">
                  <c:v>13.21684748611651</c:v>
                </c:pt>
                <c:pt idx="2249">
                  <c:v>12.93347256709033</c:v>
                </c:pt>
                <c:pt idx="2250">
                  <c:v>12.636791750564164</c:v>
                </c:pt>
                <c:pt idx="2251">
                  <c:v>11.614299549391195</c:v>
                </c:pt>
                <c:pt idx="2252">
                  <c:v>10.710398857099625</c:v>
                </c:pt>
                <c:pt idx="2253">
                  <c:v>9.2331860231412541</c:v>
                </c:pt>
                <c:pt idx="2254">
                  <c:v>9.2501009624810013</c:v>
                </c:pt>
                <c:pt idx="2255">
                  <c:v>9.0114231465644075</c:v>
                </c:pt>
                <c:pt idx="2256">
                  <c:v>8.9776862595388476</c:v>
                </c:pt>
                <c:pt idx="2257">
                  <c:v>8.9776862595388476</c:v>
                </c:pt>
                <c:pt idx="2258">
                  <c:v>9.2973856169540916</c:v>
                </c:pt>
                <c:pt idx="2259">
                  <c:v>9.2828478587024197</c:v>
                </c:pt>
                <c:pt idx="2260">
                  <c:v>8.9499887625948844</c:v>
                </c:pt>
                <c:pt idx="2261">
                  <c:v>8.7913881581424018</c:v>
                </c:pt>
                <c:pt idx="2262">
                  <c:v>8.4189168495442601</c:v>
                </c:pt>
                <c:pt idx="2263">
                  <c:v>8.3891692627780632</c:v>
                </c:pt>
                <c:pt idx="2264">
                  <c:v>8.4074406017089629</c:v>
                </c:pt>
                <c:pt idx="2265">
                  <c:v>8.2684833005790122</c:v>
                </c:pt>
                <c:pt idx="2266">
                  <c:v>8.143045830787079</c:v>
                </c:pt>
                <c:pt idx="2267">
                  <c:v>7.8198832927764128</c:v>
                </c:pt>
                <c:pt idx="2268">
                  <c:v>7.6282144157341172</c:v>
                </c:pt>
                <c:pt idx="2269">
                  <c:v>8.2101703119803879</c:v>
                </c:pt>
                <c:pt idx="2270">
                  <c:v>8.865599278938376</c:v>
                </c:pt>
                <c:pt idx="2271">
                  <c:v>9.3526688059132859</c:v>
                </c:pt>
                <c:pt idx="2272">
                  <c:v>9.302329457363534</c:v>
                </c:pt>
                <c:pt idx="2273">
                  <c:v>9.2828478587024179</c:v>
                </c:pt>
                <c:pt idx="2274">
                  <c:v>9.635900306283979</c:v>
                </c:pt>
                <c:pt idx="2275">
                  <c:v>10.611260555405876</c:v>
                </c:pt>
                <c:pt idx="2276">
                  <c:v>45.1796414328401</c:v>
                </c:pt>
                <c:pt idx="2277">
                  <c:v>62.013309657787538</c:v>
                </c:pt>
                <c:pt idx="2278">
                  <c:v>74.18483440146251</c:v>
                </c:pt>
                <c:pt idx="2279">
                  <c:v>83.916084247313989</c:v>
                </c:pt>
                <c:pt idx="2280">
                  <c:v>92.024116029628246</c:v>
                </c:pt>
                <c:pt idx="2281">
                  <c:v>98.960435609853462</c:v>
                </c:pt>
                <c:pt idx="2282">
                  <c:v>104.76179877588309</c:v>
                </c:pt>
                <c:pt idx="2283">
                  <c:v>109.848359427738</c:v>
                </c:pt>
                <c:pt idx="2284">
                  <c:v>114.04558475582846</c:v>
                </c:pt>
                <c:pt idx="2285">
                  <c:v>117.2801391305568</c:v>
                </c:pt>
                <c:pt idx="2286">
                  <c:v>120.14414713981711</c:v>
                </c:pt>
                <c:pt idx="2287">
                  <c:v>122.008050422159</c:v>
                </c:pt>
                <c:pt idx="2288">
                  <c:v>123.2671148733327</c:v>
                </c:pt>
                <c:pt idx="2289">
                  <c:v>124.28598833557918</c:v>
                </c:pt>
                <c:pt idx="2290">
                  <c:v>124.71141860725699</c:v>
                </c:pt>
                <c:pt idx="2291">
                  <c:v>124.7081420343322</c:v>
                </c:pt>
                <c:pt idx="2292">
                  <c:v>123.47762140770993</c:v>
                </c:pt>
                <c:pt idx="2293">
                  <c:v>122.00275105245707</c:v>
                </c:pt>
                <c:pt idx="2294">
                  <c:v>120.90021058517735</c:v>
                </c:pt>
                <c:pt idx="2295">
                  <c:v>119.85961136588759</c:v>
                </c:pt>
                <c:pt idx="2296">
                  <c:v>119.34548034241146</c:v>
                </c:pt>
                <c:pt idx="2297">
                  <c:v>117.41524700772491</c:v>
                </c:pt>
                <c:pt idx="2298">
                  <c:v>115.90071553734673</c:v>
                </c:pt>
                <c:pt idx="2299">
                  <c:v>113.66840258896241</c:v>
                </c:pt>
                <c:pt idx="2300">
                  <c:v>111.23840505248486</c:v>
                </c:pt>
                <c:pt idx="2301">
                  <c:v>109.7465209041941</c:v>
                </c:pt>
                <c:pt idx="2302">
                  <c:v>108.29910157660059</c:v>
                </c:pt>
                <c:pt idx="2303">
                  <c:v>107.511902575493</c:v>
                </c:pt>
                <c:pt idx="2304">
                  <c:v>104.92712851713124</c:v>
                </c:pt>
                <c:pt idx="2305">
                  <c:v>101.36666118601322</c:v>
                </c:pt>
                <c:pt idx="2306">
                  <c:v>101.83974338799825</c:v>
                </c:pt>
                <c:pt idx="2307">
                  <c:v>102.22232362980144</c:v>
                </c:pt>
                <c:pt idx="2308">
                  <c:v>101.27835774303628</c:v>
                </c:pt>
                <c:pt idx="2309">
                  <c:v>100.59158919160167</c:v>
                </c:pt>
                <c:pt idx="2310">
                  <c:v>99.306815869611484</c:v>
                </c:pt>
                <c:pt idx="2311">
                  <c:v>97.139572532125854</c:v>
                </c:pt>
                <c:pt idx="2312">
                  <c:v>94.374047913291463</c:v>
                </c:pt>
                <c:pt idx="2313">
                  <c:v>91.094374455677922</c:v>
                </c:pt>
                <c:pt idx="2314">
                  <c:v>86.924336234940895</c:v>
                </c:pt>
                <c:pt idx="2315">
                  <c:v>82.071100377912444</c:v>
                </c:pt>
                <c:pt idx="2316">
                  <c:v>76.508319733907015</c:v>
                </c:pt>
                <c:pt idx="2317">
                  <c:v>69.862294765381549</c:v>
                </c:pt>
                <c:pt idx="2318">
                  <c:v>62.260151274965672</c:v>
                </c:pt>
                <c:pt idx="2319">
                  <c:v>52.315148022763722</c:v>
                </c:pt>
                <c:pt idx="2320">
                  <c:v>38.8199646467177</c:v>
                </c:pt>
                <c:pt idx="2321">
                  <c:v>12.968751125190366</c:v>
                </c:pt>
                <c:pt idx="2322">
                  <c:v>12.899968814004895</c:v>
                </c:pt>
                <c:pt idx="2323">
                  <c:v>12.452622859942158</c:v>
                </c:pt>
                <c:pt idx="2324">
                  <c:v>12.513165480597928</c:v>
                </c:pt>
                <c:pt idx="2325">
                  <c:v>12.54325848148452</c:v>
                </c:pt>
                <c:pt idx="2326">
                  <c:v>12.470885634378464</c:v>
                </c:pt>
                <c:pt idx="2327">
                  <c:v>12.314648785598543</c:v>
                </c:pt>
                <c:pt idx="2328">
                  <c:v>12.533908032800969</c:v>
                </c:pt>
                <c:pt idx="2329">
                  <c:v>12.582646323637453</c:v>
                </c:pt>
                <c:pt idx="2330">
                  <c:v>12.507469032909709</c:v>
                </c:pt>
                <c:pt idx="2331">
                  <c:v>12.235289079158479</c:v>
                </c:pt>
                <c:pt idx="2332">
                  <c:v>12.184454010756077</c:v>
                </c:pt>
                <c:pt idx="2333">
                  <c:v>12.064005548948385</c:v>
                </c:pt>
                <c:pt idx="2334">
                  <c:v>12.112689271144966</c:v>
                </c:pt>
                <c:pt idx="2335">
                  <c:v>11.837986781310526</c:v>
                </c:pt>
                <c:pt idx="2336">
                  <c:v>12.049705485979754</c:v>
                </c:pt>
                <c:pt idx="2337">
                  <c:v>11.625576243288148</c:v>
                </c:pt>
                <c:pt idx="2338">
                  <c:v>11.809795272053451</c:v>
                </c:pt>
                <c:pt idx="2339">
                  <c:v>11.7624475520103</c:v>
                </c:pt>
                <c:pt idx="2340">
                  <c:v>11.903636071559728</c:v>
                </c:pt>
                <c:pt idx="2341">
                  <c:v>12.184595513027585</c:v>
                </c:pt>
                <c:pt idx="2342">
                  <c:v>12.614031595942997</c:v>
                </c:pt>
                <c:pt idx="2343">
                  <c:v>13.111546197079917</c:v>
                </c:pt>
                <c:pt idx="2344">
                  <c:v>12.917109743976438</c:v>
                </c:pt>
                <c:pt idx="2345">
                  <c:v>12.693739972236655</c:v>
                </c:pt>
                <c:pt idx="2346">
                  <c:v>12.955449747535573</c:v>
                </c:pt>
                <c:pt idx="2347">
                  <c:v>13.280743989684472</c:v>
                </c:pt>
                <c:pt idx="2348">
                  <c:v>12.995180362106488</c:v>
                </c:pt>
                <c:pt idx="2349">
                  <c:v>13.163909212203128</c:v>
                </c:pt>
                <c:pt idx="2350">
                  <c:v>12.954385047312085</c:v>
                </c:pt>
                <c:pt idx="2351">
                  <c:v>13.048142511043698</c:v>
                </c:pt>
                <c:pt idx="2352">
                  <c:v>12.927916865557213</c:v>
                </c:pt>
                <c:pt idx="2353">
                  <c:v>12.892348260815828</c:v>
                </c:pt>
                <c:pt idx="2354">
                  <c:v>13.21284641342764</c:v>
                </c:pt>
                <c:pt idx="2355">
                  <c:v>13.433574339699389</c:v>
                </c:pt>
                <c:pt idx="2356">
                  <c:v>13.369419557719954</c:v>
                </c:pt>
                <c:pt idx="2357">
                  <c:v>13.448966973105337</c:v>
                </c:pt>
                <c:pt idx="2358">
                  <c:v>13.408009272210331</c:v>
                </c:pt>
                <c:pt idx="2359">
                  <c:v>13.575205593159602</c:v>
                </c:pt>
                <c:pt idx="2360">
                  <c:v>13.65759440961223</c:v>
                </c:pt>
                <c:pt idx="2361">
                  <c:v>13.953329434183463</c:v>
                </c:pt>
                <c:pt idx="2362">
                  <c:v>14.140550640402695</c:v>
                </c:pt>
                <c:pt idx="2363">
                  <c:v>13.857899527357846</c:v>
                </c:pt>
                <c:pt idx="2364">
                  <c:v>14.17010776328072</c:v>
                </c:pt>
                <c:pt idx="2365">
                  <c:v>13.968807615787991</c:v>
                </c:pt>
                <c:pt idx="2366">
                  <c:v>14.036242088038486</c:v>
                </c:pt>
                <c:pt idx="2367">
                  <c:v>14.165239955203925</c:v>
                </c:pt>
                <c:pt idx="2368">
                  <c:v>13.92760427781965</c:v>
                </c:pt>
                <c:pt idx="2369">
                  <c:v>13.960370841169961</c:v>
                </c:pt>
                <c:pt idx="2370">
                  <c:v>13.693021966487626</c:v>
                </c:pt>
                <c:pt idx="2371">
                  <c:v>13.697428234157135</c:v>
                </c:pt>
                <c:pt idx="2372">
                  <c:v>13.226410360883364</c:v>
                </c:pt>
                <c:pt idx="2373">
                  <c:v>13.042106874433207</c:v>
                </c:pt>
                <c:pt idx="2374">
                  <c:v>13.263899671015256</c:v>
                </c:pt>
                <c:pt idx="2375">
                  <c:v>13.270873820288664</c:v>
                </c:pt>
                <c:pt idx="2376">
                  <c:v>13.124558011167679</c:v>
                </c:pt>
                <c:pt idx="2377">
                  <c:v>12.909454790521007</c:v>
                </c:pt>
                <c:pt idx="2378">
                  <c:v>12.794754672381835</c:v>
                </c:pt>
                <c:pt idx="2379">
                  <c:v>12.644975377550191</c:v>
                </c:pt>
                <c:pt idx="2380">
                  <c:v>12.897295448467382</c:v>
                </c:pt>
                <c:pt idx="2381">
                  <c:v>12.735189730477687</c:v>
                </c:pt>
                <c:pt idx="2382">
                  <c:v>12.912659741865554</c:v>
                </c:pt>
                <c:pt idx="2383">
                  <c:v>12.743986636931901</c:v>
                </c:pt>
                <c:pt idx="2384">
                  <c:v>12.168170273960335</c:v>
                </c:pt>
                <c:pt idx="2385">
                  <c:v>12.366064055708472</c:v>
                </c:pt>
                <c:pt idx="2386">
                  <c:v>12.133548059234245</c:v>
                </c:pt>
                <c:pt idx="2387">
                  <c:v>11.882615525385729</c:v>
                </c:pt>
                <c:pt idx="2388">
                  <c:v>11.740537887382224</c:v>
                </c:pt>
                <c:pt idx="2389">
                  <c:v>11.415305313582238</c:v>
                </c:pt>
                <c:pt idx="2390">
                  <c:v>11.643408672602769</c:v>
                </c:pt>
                <c:pt idx="2391">
                  <c:v>11.372481406154654</c:v>
                </c:pt>
                <c:pt idx="2392">
                  <c:v>11.631358723172733</c:v>
                </c:pt>
                <c:pt idx="2393">
                  <c:v>11.786462134804166</c:v>
                </c:pt>
                <c:pt idx="2394">
                  <c:v>11.349261963953284</c:v>
                </c:pt>
                <c:pt idx="2395">
                  <c:v>11.452249691152641</c:v>
                </c:pt>
                <c:pt idx="2396">
                  <c:v>11.312133654447862</c:v>
                </c:pt>
                <c:pt idx="2397">
                  <c:v>11.247681753480858</c:v>
                </c:pt>
                <c:pt idx="2398">
                  <c:v>11.187071766670835</c:v>
                </c:pt>
                <c:pt idx="2399">
                  <c:v>10.960745003624652</c:v>
                </c:pt>
                <c:pt idx="2400">
                  <c:v>11.132225149609992</c:v>
                </c:pt>
                <c:pt idx="2401">
                  <c:v>11.149403365306094</c:v>
                </c:pt>
                <c:pt idx="2402">
                  <c:v>11.046609715514375</c:v>
                </c:pt>
                <c:pt idx="2403">
                  <c:v>10.863891472719823</c:v>
                </c:pt>
                <c:pt idx="2404">
                  <c:v>10.56175055152524</c:v>
                </c:pt>
                <c:pt idx="2405">
                  <c:v>10.824886185061727</c:v>
                </c:pt>
                <c:pt idx="2406">
                  <c:v>10.749445321161632</c:v>
                </c:pt>
                <c:pt idx="2407">
                  <c:v>11.182909785219936</c:v>
                </c:pt>
                <c:pt idx="2408">
                  <c:v>11.517153623452581</c:v>
                </c:pt>
                <c:pt idx="2409">
                  <c:v>11.530868117372163</c:v>
                </c:pt>
                <c:pt idx="2410">
                  <c:v>11.072436523851136</c:v>
                </c:pt>
                <c:pt idx="2411">
                  <c:v>11.183732027769867</c:v>
                </c:pt>
                <c:pt idx="2412">
                  <c:v>11.037084822511346</c:v>
                </c:pt>
                <c:pt idx="2413">
                  <c:v>11.613557277754227</c:v>
                </c:pt>
                <c:pt idx="2414">
                  <c:v>12.001388808522675</c:v>
                </c:pt>
                <c:pt idx="2415">
                  <c:v>11.726578515413646</c:v>
                </c:pt>
                <c:pt idx="2416">
                  <c:v>11.999233692007264</c:v>
                </c:pt>
                <c:pt idx="2417">
                  <c:v>12.326450393781043</c:v>
                </c:pt>
                <c:pt idx="2418">
                  <c:v>12.279737538847826</c:v>
                </c:pt>
                <c:pt idx="2419">
                  <c:v>12.683095818459696</c:v>
                </c:pt>
                <c:pt idx="2420">
                  <c:v>12.528404508964016</c:v>
                </c:pt>
                <c:pt idx="2421">
                  <c:v>12.698311952254977</c:v>
                </c:pt>
                <c:pt idx="2422">
                  <c:v>12.698311952254977</c:v>
                </c:pt>
                <c:pt idx="2423">
                  <c:v>12.647474874047198</c:v>
                </c:pt>
                <c:pt idx="2424">
                  <c:v>12.871283958444716</c:v>
                </c:pt>
                <c:pt idx="2425">
                  <c:v>13.031250594762273</c:v>
                </c:pt>
                <c:pt idx="2426">
                  <c:v>12.958293827405633</c:v>
                </c:pt>
                <c:pt idx="2427">
                  <c:v>12.983776859545204</c:v>
                </c:pt>
                <c:pt idx="2428">
                  <c:v>13.15826736314474</c:v>
                </c:pt>
                <c:pt idx="2429">
                  <c:v>13.277146105080421</c:v>
                </c:pt>
                <c:pt idx="2430">
                  <c:v>13.216052043653331</c:v>
                </c:pt>
                <c:pt idx="2431">
                  <c:v>13.099023459190215</c:v>
                </c:pt>
                <c:pt idx="2432">
                  <c:v>13.416052928878752</c:v>
                </c:pt>
                <c:pt idx="2433">
                  <c:v>13.730871862531641</c:v>
                </c:pt>
                <c:pt idx="2434">
                  <c:v>13.926708741632712</c:v>
                </c:pt>
                <c:pt idx="2435">
                  <c:v>13.706183900859605</c:v>
                </c:pt>
                <c:pt idx="2436">
                  <c:v>14.051114672132305</c:v>
                </c:pt>
                <c:pt idx="2437">
                  <c:v>13.956479976460159</c:v>
                </c:pt>
                <c:pt idx="2438">
                  <c:v>12.959644321985882</c:v>
                </c:pt>
                <c:pt idx="2439">
                  <c:v>13.025123652151873</c:v>
                </c:pt>
                <c:pt idx="2440">
                  <c:v>13.48978721012155</c:v>
                </c:pt>
                <c:pt idx="2441">
                  <c:v>14.07340065728984</c:v>
                </c:pt>
                <c:pt idx="2442">
                  <c:v>14.734005195156852</c:v>
                </c:pt>
                <c:pt idx="2443">
                  <c:v>14.841383583300672</c:v>
                </c:pt>
                <c:pt idx="2444">
                  <c:v>15.157506391224119</c:v>
                </c:pt>
                <c:pt idx="2445">
                  <c:v>14.82216005079653</c:v>
                </c:pt>
                <c:pt idx="2446">
                  <c:v>13.313079855469029</c:v>
                </c:pt>
                <c:pt idx="2447">
                  <c:v>14.099645385611653</c:v>
                </c:pt>
                <c:pt idx="2448">
                  <c:v>13.45362404707371</c:v>
                </c:pt>
                <c:pt idx="2449">
                  <c:v>14.863265679744362</c:v>
                </c:pt>
                <c:pt idx="2450">
                  <c:v>5.5075705472861021</c:v>
                </c:pt>
                <c:pt idx="2451">
                  <c:v>7.0710678118654755</c:v>
                </c:pt>
              </c:numCache>
            </c:numRef>
          </c:val>
          <c:smooth val="0"/>
          <c:extLst>
            <c:ext xmlns:c16="http://schemas.microsoft.com/office/drawing/2014/chart" uri="{C3380CC4-5D6E-409C-BE32-E72D297353CC}">
              <c16:uniqueId val="{00000005-6950-4ED7-9FB8-753F466A9E67}"/>
            </c:ext>
          </c:extLst>
        </c:ser>
        <c:ser>
          <c:idx val="5"/>
          <c:order val="5"/>
          <c:tx>
            <c:strRef>
              <c:f>'DRT Rolling Stdev'!$H$1</c:f>
              <c:strCache>
                <c:ptCount val="1"/>
                <c:pt idx="0">
                  <c:v>Horse Power</c:v>
                </c:pt>
              </c:strCache>
            </c:strRef>
          </c:tx>
          <c:spPr>
            <a:ln w="28575" cap="rnd">
              <a:solidFill>
                <a:schemeClr val="accent6"/>
              </a:solidFill>
              <a:round/>
            </a:ln>
            <a:effectLst/>
          </c:spPr>
          <c:marker>
            <c:symbol val="none"/>
          </c:marker>
          <c:cat>
            <c:numRef>
              <c:f>'DRT Rolling Stdev'!$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H$2:$H$2453</c:f>
              <c:numCache>
                <c:formatCode>#,##0.00</c:formatCode>
                <c:ptCount val="2452"/>
                <c:pt idx="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6-6950-4ED7-9FB8-753F466A9E67}"/>
            </c:ext>
          </c:extLst>
        </c:ser>
        <c:ser>
          <c:idx val="7"/>
          <c:order val="7"/>
          <c:tx>
            <c:strRef>
              <c:f>'DRT Rolling Stdev'!$J$1</c:f>
              <c:strCache>
                <c:ptCount val="1"/>
                <c:pt idx="0">
                  <c:v>PUMP FAILURE (1 or 0)</c:v>
                </c:pt>
              </c:strCache>
            </c:strRef>
          </c:tx>
          <c:spPr>
            <a:ln w="28575" cap="rnd">
              <a:solidFill>
                <a:schemeClr val="accent2">
                  <a:lumMod val="60000"/>
                </a:schemeClr>
              </a:solidFill>
              <a:round/>
            </a:ln>
            <a:effectLst/>
          </c:spPr>
          <c:marker>
            <c:symbol val="none"/>
          </c:marker>
          <c:cat>
            <c:numRef>
              <c:f>'DRT Rolling Stdev'!$B$2:$B$2453</c:f>
              <c:numCache>
                <c:formatCode>[$-F400]h:mm:ss\ AM/PM</c:formatCode>
                <c:ptCount val="2452"/>
                <c:pt idx="0">
                  <c:v>41982</c:v>
                </c:pt>
                <c:pt idx="1">
                  <c:v>41982.000694444447</c:v>
                </c:pt>
                <c:pt idx="2">
                  <c:v>41982.001388888886</c:v>
                </c:pt>
                <c:pt idx="3">
                  <c:v>41982.002083333333</c:v>
                </c:pt>
                <c:pt idx="4">
                  <c:v>41982.00277777778</c:v>
                </c:pt>
                <c:pt idx="5">
                  <c:v>41982.003472222219</c:v>
                </c:pt>
                <c:pt idx="6">
                  <c:v>41982.004166666666</c:v>
                </c:pt>
                <c:pt idx="7">
                  <c:v>41982.004861111112</c:v>
                </c:pt>
                <c:pt idx="8">
                  <c:v>41982.005555555559</c:v>
                </c:pt>
                <c:pt idx="9">
                  <c:v>41982.006249999999</c:v>
                </c:pt>
                <c:pt idx="10">
                  <c:v>41982.006944444445</c:v>
                </c:pt>
                <c:pt idx="11">
                  <c:v>41982.007638888892</c:v>
                </c:pt>
                <c:pt idx="12">
                  <c:v>41982.008333333331</c:v>
                </c:pt>
                <c:pt idx="13">
                  <c:v>41982.009027777778</c:v>
                </c:pt>
                <c:pt idx="14">
                  <c:v>41982.009722222225</c:v>
                </c:pt>
                <c:pt idx="15">
                  <c:v>41982.010416666664</c:v>
                </c:pt>
                <c:pt idx="16">
                  <c:v>41982.011111111111</c:v>
                </c:pt>
                <c:pt idx="17">
                  <c:v>41982.011805555558</c:v>
                </c:pt>
                <c:pt idx="18">
                  <c:v>41982.012499999997</c:v>
                </c:pt>
                <c:pt idx="19">
                  <c:v>41982.013194444444</c:v>
                </c:pt>
                <c:pt idx="20">
                  <c:v>41982.013888888891</c:v>
                </c:pt>
                <c:pt idx="21">
                  <c:v>41982.01458333333</c:v>
                </c:pt>
                <c:pt idx="22">
                  <c:v>41982.015277777777</c:v>
                </c:pt>
                <c:pt idx="23">
                  <c:v>41982.015972222223</c:v>
                </c:pt>
                <c:pt idx="24">
                  <c:v>41982.01666666667</c:v>
                </c:pt>
                <c:pt idx="25">
                  <c:v>41982.017361111109</c:v>
                </c:pt>
                <c:pt idx="26">
                  <c:v>41982.018055555556</c:v>
                </c:pt>
                <c:pt idx="27">
                  <c:v>41982.018750000003</c:v>
                </c:pt>
                <c:pt idx="28">
                  <c:v>41982.019444444442</c:v>
                </c:pt>
                <c:pt idx="29">
                  <c:v>41982.020138888889</c:v>
                </c:pt>
                <c:pt idx="30">
                  <c:v>41982.020833333336</c:v>
                </c:pt>
                <c:pt idx="31">
                  <c:v>41982.021527777775</c:v>
                </c:pt>
                <c:pt idx="32">
                  <c:v>41982.022222222222</c:v>
                </c:pt>
                <c:pt idx="33">
                  <c:v>41982.022916666669</c:v>
                </c:pt>
                <c:pt idx="34">
                  <c:v>41982.023611111108</c:v>
                </c:pt>
                <c:pt idx="35">
                  <c:v>41982.024305555555</c:v>
                </c:pt>
                <c:pt idx="36">
                  <c:v>41982.025000000001</c:v>
                </c:pt>
                <c:pt idx="37">
                  <c:v>41982.025694444441</c:v>
                </c:pt>
                <c:pt idx="38">
                  <c:v>41982.026388888888</c:v>
                </c:pt>
                <c:pt idx="39">
                  <c:v>41982.027083333334</c:v>
                </c:pt>
                <c:pt idx="40">
                  <c:v>41982.027777777781</c:v>
                </c:pt>
                <c:pt idx="41">
                  <c:v>41982.02847222222</c:v>
                </c:pt>
                <c:pt idx="42">
                  <c:v>41982.029166666667</c:v>
                </c:pt>
                <c:pt idx="43">
                  <c:v>41982.029861111114</c:v>
                </c:pt>
                <c:pt idx="44">
                  <c:v>41982.030555555553</c:v>
                </c:pt>
                <c:pt idx="45">
                  <c:v>41982.03125</c:v>
                </c:pt>
                <c:pt idx="46">
                  <c:v>41982.031944444447</c:v>
                </c:pt>
                <c:pt idx="47">
                  <c:v>41982.032638888886</c:v>
                </c:pt>
                <c:pt idx="48">
                  <c:v>41982.033333333333</c:v>
                </c:pt>
                <c:pt idx="49">
                  <c:v>41982.03402777778</c:v>
                </c:pt>
                <c:pt idx="50">
                  <c:v>41982.034722222219</c:v>
                </c:pt>
                <c:pt idx="51">
                  <c:v>41982.035416666666</c:v>
                </c:pt>
                <c:pt idx="52">
                  <c:v>41982.036111111112</c:v>
                </c:pt>
                <c:pt idx="53">
                  <c:v>41982.036805555559</c:v>
                </c:pt>
                <c:pt idx="54">
                  <c:v>41982.037499999999</c:v>
                </c:pt>
                <c:pt idx="55">
                  <c:v>41982.038194444445</c:v>
                </c:pt>
                <c:pt idx="56">
                  <c:v>41982.038888888892</c:v>
                </c:pt>
                <c:pt idx="57">
                  <c:v>41982.039583333331</c:v>
                </c:pt>
                <c:pt idx="58">
                  <c:v>41982.040277777778</c:v>
                </c:pt>
                <c:pt idx="59">
                  <c:v>41982.040972222225</c:v>
                </c:pt>
                <c:pt idx="60">
                  <c:v>41982.041666666664</c:v>
                </c:pt>
                <c:pt idx="61">
                  <c:v>41982.042361111111</c:v>
                </c:pt>
                <c:pt idx="62">
                  <c:v>41982.043055555558</c:v>
                </c:pt>
                <c:pt idx="63">
                  <c:v>41982.043749999997</c:v>
                </c:pt>
                <c:pt idx="64">
                  <c:v>41982.044444444444</c:v>
                </c:pt>
                <c:pt idx="65">
                  <c:v>41982.045138888891</c:v>
                </c:pt>
                <c:pt idx="66">
                  <c:v>41982.04583333333</c:v>
                </c:pt>
                <c:pt idx="67">
                  <c:v>41982.046527777777</c:v>
                </c:pt>
                <c:pt idx="68">
                  <c:v>41982.047222222223</c:v>
                </c:pt>
                <c:pt idx="69">
                  <c:v>41982.04791666667</c:v>
                </c:pt>
                <c:pt idx="70">
                  <c:v>41982.048611111109</c:v>
                </c:pt>
                <c:pt idx="71">
                  <c:v>41982.049305555556</c:v>
                </c:pt>
                <c:pt idx="72">
                  <c:v>41982.05</c:v>
                </c:pt>
                <c:pt idx="73">
                  <c:v>41982.050694444442</c:v>
                </c:pt>
                <c:pt idx="74">
                  <c:v>41982.051388888889</c:v>
                </c:pt>
                <c:pt idx="75">
                  <c:v>41982.052083333336</c:v>
                </c:pt>
                <c:pt idx="76">
                  <c:v>41982.052777777775</c:v>
                </c:pt>
                <c:pt idx="77">
                  <c:v>41982.053472222222</c:v>
                </c:pt>
                <c:pt idx="78">
                  <c:v>41982.054166666669</c:v>
                </c:pt>
                <c:pt idx="79">
                  <c:v>41982.054861111108</c:v>
                </c:pt>
                <c:pt idx="80">
                  <c:v>41982.055555555555</c:v>
                </c:pt>
                <c:pt idx="81">
                  <c:v>41982.056250000001</c:v>
                </c:pt>
                <c:pt idx="82">
                  <c:v>41982.056944444441</c:v>
                </c:pt>
                <c:pt idx="83">
                  <c:v>41982.057638888888</c:v>
                </c:pt>
                <c:pt idx="84">
                  <c:v>41982.058333333334</c:v>
                </c:pt>
                <c:pt idx="85">
                  <c:v>41982.059027777781</c:v>
                </c:pt>
                <c:pt idx="86">
                  <c:v>41982.05972222222</c:v>
                </c:pt>
                <c:pt idx="87">
                  <c:v>41982.060416666667</c:v>
                </c:pt>
                <c:pt idx="88">
                  <c:v>41982.061111111114</c:v>
                </c:pt>
                <c:pt idx="89">
                  <c:v>41982.061805555553</c:v>
                </c:pt>
                <c:pt idx="90">
                  <c:v>41982.0625</c:v>
                </c:pt>
                <c:pt idx="91">
                  <c:v>41982.063194444447</c:v>
                </c:pt>
                <c:pt idx="92">
                  <c:v>41982.063888888886</c:v>
                </c:pt>
                <c:pt idx="93">
                  <c:v>41982.064583333333</c:v>
                </c:pt>
                <c:pt idx="94">
                  <c:v>41982.06527777778</c:v>
                </c:pt>
                <c:pt idx="95">
                  <c:v>41982.065972222219</c:v>
                </c:pt>
                <c:pt idx="96">
                  <c:v>41982.066666666666</c:v>
                </c:pt>
                <c:pt idx="97">
                  <c:v>41982.067361111112</c:v>
                </c:pt>
                <c:pt idx="98">
                  <c:v>41982.068055555559</c:v>
                </c:pt>
                <c:pt idx="99">
                  <c:v>41982.068749999999</c:v>
                </c:pt>
                <c:pt idx="100">
                  <c:v>41982.069444444445</c:v>
                </c:pt>
                <c:pt idx="101">
                  <c:v>41982.070138888892</c:v>
                </c:pt>
                <c:pt idx="102">
                  <c:v>41982.070833333331</c:v>
                </c:pt>
                <c:pt idx="103">
                  <c:v>41982.071527777778</c:v>
                </c:pt>
                <c:pt idx="104">
                  <c:v>41982.072222222225</c:v>
                </c:pt>
                <c:pt idx="105">
                  <c:v>41982.072916666664</c:v>
                </c:pt>
                <c:pt idx="106">
                  <c:v>41982.073611111111</c:v>
                </c:pt>
                <c:pt idx="107">
                  <c:v>41982.074305555558</c:v>
                </c:pt>
                <c:pt idx="108">
                  <c:v>41982.074999999997</c:v>
                </c:pt>
                <c:pt idx="109">
                  <c:v>41982.075694444444</c:v>
                </c:pt>
                <c:pt idx="110">
                  <c:v>41982.076388888891</c:v>
                </c:pt>
                <c:pt idx="111">
                  <c:v>41982.07708333333</c:v>
                </c:pt>
                <c:pt idx="112">
                  <c:v>41982.077777777777</c:v>
                </c:pt>
                <c:pt idx="113">
                  <c:v>41982.078472222223</c:v>
                </c:pt>
                <c:pt idx="114">
                  <c:v>41982.07916666667</c:v>
                </c:pt>
                <c:pt idx="115">
                  <c:v>41982.079861111109</c:v>
                </c:pt>
                <c:pt idx="116">
                  <c:v>41982.080555555556</c:v>
                </c:pt>
                <c:pt idx="117">
                  <c:v>41982.081250000003</c:v>
                </c:pt>
                <c:pt idx="118">
                  <c:v>41982.081944444442</c:v>
                </c:pt>
                <c:pt idx="119">
                  <c:v>41982.082638888889</c:v>
                </c:pt>
                <c:pt idx="120">
                  <c:v>41982.083333333336</c:v>
                </c:pt>
                <c:pt idx="121">
                  <c:v>41982.084027777775</c:v>
                </c:pt>
                <c:pt idx="122">
                  <c:v>41982.084722222222</c:v>
                </c:pt>
                <c:pt idx="123">
                  <c:v>41982.085416666669</c:v>
                </c:pt>
                <c:pt idx="124">
                  <c:v>41982.086111111108</c:v>
                </c:pt>
                <c:pt idx="125">
                  <c:v>41982.086805555555</c:v>
                </c:pt>
                <c:pt idx="126">
                  <c:v>41982.087500000001</c:v>
                </c:pt>
                <c:pt idx="127">
                  <c:v>41982.088194444441</c:v>
                </c:pt>
                <c:pt idx="128">
                  <c:v>41982.088888888888</c:v>
                </c:pt>
                <c:pt idx="129">
                  <c:v>41982.089583333334</c:v>
                </c:pt>
                <c:pt idx="130">
                  <c:v>41982.090277777781</c:v>
                </c:pt>
                <c:pt idx="131">
                  <c:v>41982.09097222222</c:v>
                </c:pt>
                <c:pt idx="132">
                  <c:v>41982.091666666667</c:v>
                </c:pt>
                <c:pt idx="133">
                  <c:v>41982.092361111114</c:v>
                </c:pt>
                <c:pt idx="134">
                  <c:v>41982.093055555553</c:v>
                </c:pt>
                <c:pt idx="135">
                  <c:v>41982.09375</c:v>
                </c:pt>
                <c:pt idx="136">
                  <c:v>41982.094444444447</c:v>
                </c:pt>
                <c:pt idx="137">
                  <c:v>41982.095138888886</c:v>
                </c:pt>
                <c:pt idx="138">
                  <c:v>41982.095833333333</c:v>
                </c:pt>
                <c:pt idx="139">
                  <c:v>41982.09652777778</c:v>
                </c:pt>
                <c:pt idx="140">
                  <c:v>41982.097222222219</c:v>
                </c:pt>
                <c:pt idx="141">
                  <c:v>41982.097916666666</c:v>
                </c:pt>
                <c:pt idx="142">
                  <c:v>41982.098611111112</c:v>
                </c:pt>
                <c:pt idx="143">
                  <c:v>41982.099305555559</c:v>
                </c:pt>
                <c:pt idx="144">
                  <c:v>41982.1</c:v>
                </c:pt>
                <c:pt idx="145">
                  <c:v>41982.100694444445</c:v>
                </c:pt>
                <c:pt idx="146">
                  <c:v>41982.101388888892</c:v>
                </c:pt>
                <c:pt idx="147">
                  <c:v>41982.102083333331</c:v>
                </c:pt>
                <c:pt idx="148">
                  <c:v>41982.102777777778</c:v>
                </c:pt>
                <c:pt idx="149">
                  <c:v>41982.103472222225</c:v>
                </c:pt>
                <c:pt idx="150">
                  <c:v>41982.104166666664</c:v>
                </c:pt>
                <c:pt idx="151">
                  <c:v>41982.104861111111</c:v>
                </c:pt>
                <c:pt idx="152">
                  <c:v>41982.105555555558</c:v>
                </c:pt>
                <c:pt idx="153">
                  <c:v>41982.106249999997</c:v>
                </c:pt>
                <c:pt idx="154">
                  <c:v>41982.106944444444</c:v>
                </c:pt>
                <c:pt idx="155">
                  <c:v>41982.107638888891</c:v>
                </c:pt>
                <c:pt idx="156">
                  <c:v>41982.10833333333</c:v>
                </c:pt>
                <c:pt idx="157">
                  <c:v>41982.109027777777</c:v>
                </c:pt>
                <c:pt idx="158">
                  <c:v>41982.109722222223</c:v>
                </c:pt>
                <c:pt idx="159">
                  <c:v>41982.11041666667</c:v>
                </c:pt>
                <c:pt idx="160">
                  <c:v>41982.111111111109</c:v>
                </c:pt>
                <c:pt idx="161">
                  <c:v>41982.111805555556</c:v>
                </c:pt>
                <c:pt idx="162">
                  <c:v>41982.112500000003</c:v>
                </c:pt>
                <c:pt idx="163">
                  <c:v>41982.113194444442</c:v>
                </c:pt>
                <c:pt idx="164">
                  <c:v>41982.113888888889</c:v>
                </c:pt>
                <c:pt idx="165">
                  <c:v>41982.114583333336</c:v>
                </c:pt>
                <c:pt idx="166">
                  <c:v>41982.115277777775</c:v>
                </c:pt>
                <c:pt idx="167">
                  <c:v>41982.115972222222</c:v>
                </c:pt>
                <c:pt idx="168">
                  <c:v>41982.116666666669</c:v>
                </c:pt>
                <c:pt idx="169">
                  <c:v>41982.117361111108</c:v>
                </c:pt>
                <c:pt idx="170">
                  <c:v>41982.118055555555</c:v>
                </c:pt>
                <c:pt idx="171">
                  <c:v>41982.118750000001</c:v>
                </c:pt>
                <c:pt idx="172">
                  <c:v>41982.119444444441</c:v>
                </c:pt>
                <c:pt idx="173">
                  <c:v>41982.120138888888</c:v>
                </c:pt>
                <c:pt idx="174">
                  <c:v>41982.120833333334</c:v>
                </c:pt>
                <c:pt idx="175">
                  <c:v>41982.121527777781</c:v>
                </c:pt>
                <c:pt idx="176">
                  <c:v>41982.12222222222</c:v>
                </c:pt>
                <c:pt idx="177">
                  <c:v>41982.122916666667</c:v>
                </c:pt>
                <c:pt idx="178">
                  <c:v>41982.123611111114</c:v>
                </c:pt>
                <c:pt idx="179">
                  <c:v>41982.124305555553</c:v>
                </c:pt>
                <c:pt idx="180">
                  <c:v>41982.125</c:v>
                </c:pt>
                <c:pt idx="181">
                  <c:v>41982.125694444447</c:v>
                </c:pt>
                <c:pt idx="182">
                  <c:v>41982.126388888886</c:v>
                </c:pt>
                <c:pt idx="183">
                  <c:v>41982.127083333333</c:v>
                </c:pt>
                <c:pt idx="184">
                  <c:v>41982.12777777778</c:v>
                </c:pt>
                <c:pt idx="185">
                  <c:v>41982.128472222219</c:v>
                </c:pt>
                <c:pt idx="186">
                  <c:v>41982.129166666666</c:v>
                </c:pt>
                <c:pt idx="187">
                  <c:v>41982.129861111112</c:v>
                </c:pt>
                <c:pt idx="188">
                  <c:v>41982.130555555559</c:v>
                </c:pt>
                <c:pt idx="189">
                  <c:v>41982.131249999999</c:v>
                </c:pt>
                <c:pt idx="190">
                  <c:v>41982.131944444445</c:v>
                </c:pt>
                <c:pt idx="191">
                  <c:v>41982.132638888892</c:v>
                </c:pt>
                <c:pt idx="192">
                  <c:v>41982.133333333331</c:v>
                </c:pt>
                <c:pt idx="193">
                  <c:v>41982.134027777778</c:v>
                </c:pt>
                <c:pt idx="194">
                  <c:v>41982.134722222225</c:v>
                </c:pt>
                <c:pt idx="195">
                  <c:v>41982.135416666664</c:v>
                </c:pt>
                <c:pt idx="196">
                  <c:v>41982.136111111111</c:v>
                </c:pt>
                <c:pt idx="197">
                  <c:v>41982.136805555558</c:v>
                </c:pt>
                <c:pt idx="198">
                  <c:v>41982.137499999997</c:v>
                </c:pt>
                <c:pt idx="199">
                  <c:v>41982.138194444444</c:v>
                </c:pt>
                <c:pt idx="200">
                  <c:v>41982.138888888891</c:v>
                </c:pt>
                <c:pt idx="201">
                  <c:v>41982.13958333333</c:v>
                </c:pt>
                <c:pt idx="202">
                  <c:v>41982.140277777777</c:v>
                </c:pt>
                <c:pt idx="203">
                  <c:v>41982.140972222223</c:v>
                </c:pt>
                <c:pt idx="204">
                  <c:v>41982.14166666667</c:v>
                </c:pt>
                <c:pt idx="205">
                  <c:v>41982.142361111109</c:v>
                </c:pt>
                <c:pt idx="206">
                  <c:v>41982.143055555556</c:v>
                </c:pt>
                <c:pt idx="207">
                  <c:v>41982.143750000003</c:v>
                </c:pt>
                <c:pt idx="208">
                  <c:v>41982.144444444442</c:v>
                </c:pt>
                <c:pt idx="209">
                  <c:v>41982.145138888889</c:v>
                </c:pt>
                <c:pt idx="210">
                  <c:v>41982.145833333336</c:v>
                </c:pt>
                <c:pt idx="211">
                  <c:v>41982.146527777775</c:v>
                </c:pt>
                <c:pt idx="212">
                  <c:v>41982.147222222222</c:v>
                </c:pt>
                <c:pt idx="213">
                  <c:v>41982.147916666669</c:v>
                </c:pt>
                <c:pt idx="214">
                  <c:v>41982.148611111108</c:v>
                </c:pt>
                <c:pt idx="215">
                  <c:v>41982.149305555555</c:v>
                </c:pt>
                <c:pt idx="216">
                  <c:v>41982.15</c:v>
                </c:pt>
                <c:pt idx="217">
                  <c:v>41982.150694444441</c:v>
                </c:pt>
                <c:pt idx="218">
                  <c:v>41982.151388888888</c:v>
                </c:pt>
                <c:pt idx="219">
                  <c:v>41982.152083333334</c:v>
                </c:pt>
                <c:pt idx="220">
                  <c:v>41982.152777777781</c:v>
                </c:pt>
                <c:pt idx="221">
                  <c:v>41982.15347222222</c:v>
                </c:pt>
                <c:pt idx="222">
                  <c:v>41982.154166666667</c:v>
                </c:pt>
                <c:pt idx="223">
                  <c:v>41982.154861111114</c:v>
                </c:pt>
                <c:pt idx="224">
                  <c:v>41982.155555555553</c:v>
                </c:pt>
                <c:pt idx="225">
                  <c:v>41982.15625</c:v>
                </c:pt>
                <c:pt idx="226">
                  <c:v>41982.156944444447</c:v>
                </c:pt>
                <c:pt idx="227">
                  <c:v>41982.157638888886</c:v>
                </c:pt>
                <c:pt idx="228">
                  <c:v>41982.158333333333</c:v>
                </c:pt>
                <c:pt idx="229">
                  <c:v>41982.15902777778</c:v>
                </c:pt>
                <c:pt idx="230">
                  <c:v>41982.159722222219</c:v>
                </c:pt>
                <c:pt idx="231">
                  <c:v>41982.160416666666</c:v>
                </c:pt>
                <c:pt idx="232">
                  <c:v>41982.161111111112</c:v>
                </c:pt>
                <c:pt idx="233">
                  <c:v>41982.161805555559</c:v>
                </c:pt>
                <c:pt idx="234">
                  <c:v>41982.162499999999</c:v>
                </c:pt>
                <c:pt idx="235">
                  <c:v>41982.163194444445</c:v>
                </c:pt>
                <c:pt idx="236">
                  <c:v>41982.163888888892</c:v>
                </c:pt>
                <c:pt idx="237">
                  <c:v>41982.164583333331</c:v>
                </c:pt>
                <c:pt idx="238">
                  <c:v>41982.165277777778</c:v>
                </c:pt>
                <c:pt idx="239">
                  <c:v>41982.165972222225</c:v>
                </c:pt>
                <c:pt idx="240">
                  <c:v>41982.166666666664</c:v>
                </c:pt>
                <c:pt idx="241">
                  <c:v>41982.167361111111</c:v>
                </c:pt>
                <c:pt idx="242">
                  <c:v>41982.168055555558</c:v>
                </c:pt>
                <c:pt idx="243">
                  <c:v>41982.168749999997</c:v>
                </c:pt>
                <c:pt idx="244">
                  <c:v>41982.169444444444</c:v>
                </c:pt>
                <c:pt idx="245">
                  <c:v>41982.170138888891</c:v>
                </c:pt>
                <c:pt idx="246">
                  <c:v>41982.17083333333</c:v>
                </c:pt>
                <c:pt idx="247">
                  <c:v>41982.171527777777</c:v>
                </c:pt>
                <c:pt idx="248">
                  <c:v>41982.172222222223</c:v>
                </c:pt>
                <c:pt idx="249">
                  <c:v>41982.17291666667</c:v>
                </c:pt>
                <c:pt idx="250">
                  <c:v>41982.173611111109</c:v>
                </c:pt>
                <c:pt idx="251">
                  <c:v>41982.174305555556</c:v>
                </c:pt>
                <c:pt idx="252">
                  <c:v>41982.175000000003</c:v>
                </c:pt>
                <c:pt idx="253">
                  <c:v>41982.175694444442</c:v>
                </c:pt>
                <c:pt idx="254">
                  <c:v>41982.176388888889</c:v>
                </c:pt>
                <c:pt idx="255">
                  <c:v>41982.177083333336</c:v>
                </c:pt>
                <c:pt idx="256">
                  <c:v>41982.177777777775</c:v>
                </c:pt>
                <c:pt idx="257">
                  <c:v>41982.178472222222</c:v>
                </c:pt>
                <c:pt idx="258">
                  <c:v>41982.179166666669</c:v>
                </c:pt>
                <c:pt idx="259">
                  <c:v>41982.179861111108</c:v>
                </c:pt>
                <c:pt idx="260">
                  <c:v>41982.180555555555</c:v>
                </c:pt>
                <c:pt idx="261">
                  <c:v>41982.181250000001</c:v>
                </c:pt>
                <c:pt idx="262">
                  <c:v>41982.181944444441</c:v>
                </c:pt>
                <c:pt idx="263">
                  <c:v>41982.182638888888</c:v>
                </c:pt>
                <c:pt idx="264">
                  <c:v>41982.183333333334</c:v>
                </c:pt>
                <c:pt idx="265">
                  <c:v>41982.184027777781</c:v>
                </c:pt>
                <c:pt idx="266">
                  <c:v>41982.18472222222</c:v>
                </c:pt>
                <c:pt idx="267">
                  <c:v>41982.185416666667</c:v>
                </c:pt>
                <c:pt idx="268">
                  <c:v>41982.186111111114</c:v>
                </c:pt>
                <c:pt idx="269">
                  <c:v>41982.186805555553</c:v>
                </c:pt>
                <c:pt idx="270">
                  <c:v>41982.1875</c:v>
                </c:pt>
                <c:pt idx="271">
                  <c:v>41982.188194444447</c:v>
                </c:pt>
                <c:pt idx="272">
                  <c:v>41982.188888888886</c:v>
                </c:pt>
                <c:pt idx="273">
                  <c:v>41982.189583333333</c:v>
                </c:pt>
                <c:pt idx="274">
                  <c:v>41982.19027777778</c:v>
                </c:pt>
                <c:pt idx="275">
                  <c:v>41982.190972222219</c:v>
                </c:pt>
                <c:pt idx="276">
                  <c:v>41982.191666666666</c:v>
                </c:pt>
                <c:pt idx="277">
                  <c:v>41982.192361111112</c:v>
                </c:pt>
                <c:pt idx="278">
                  <c:v>41982.193055555559</c:v>
                </c:pt>
                <c:pt idx="279">
                  <c:v>41982.193749999999</c:v>
                </c:pt>
                <c:pt idx="280">
                  <c:v>41982.194444444445</c:v>
                </c:pt>
                <c:pt idx="281">
                  <c:v>41982.195138888892</c:v>
                </c:pt>
                <c:pt idx="282">
                  <c:v>41982.195833333331</c:v>
                </c:pt>
                <c:pt idx="283">
                  <c:v>41982.196527777778</c:v>
                </c:pt>
                <c:pt idx="284">
                  <c:v>41982.197222222225</c:v>
                </c:pt>
                <c:pt idx="285">
                  <c:v>41982.197916666664</c:v>
                </c:pt>
                <c:pt idx="286">
                  <c:v>41982.198611111111</c:v>
                </c:pt>
                <c:pt idx="287">
                  <c:v>41982.199305555558</c:v>
                </c:pt>
                <c:pt idx="288">
                  <c:v>41982.2</c:v>
                </c:pt>
                <c:pt idx="289">
                  <c:v>41982.200694444444</c:v>
                </c:pt>
                <c:pt idx="290">
                  <c:v>41982.201388888891</c:v>
                </c:pt>
                <c:pt idx="291">
                  <c:v>41982.20208333333</c:v>
                </c:pt>
                <c:pt idx="292">
                  <c:v>41982.202777777777</c:v>
                </c:pt>
                <c:pt idx="293">
                  <c:v>41982.203472222223</c:v>
                </c:pt>
                <c:pt idx="294">
                  <c:v>41982.20416666667</c:v>
                </c:pt>
                <c:pt idx="295">
                  <c:v>41982.204861111109</c:v>
                </c:pt>
                <c:pt idx="296">
                  <c:v>41982.205555555556</c:v>
                </c:pt>
                <c:pt idx="297">
                  <c:v>41982.206250000003</c:v>
                </c:pt>
                <c:pt idx="298">
                  <c:v>41982.206944444442</c:v>
                </c:pt>
                <c:pt idx="299">
                  <c:v>41982.207638888889</c:v>
                </c:pt>
                <c:pt idx="300">
                  <c:v>41982.208333333336</c:v>
                </c:pt>
                <c:pt idx="301">
                  <c:v>41982.209027777775</c:v>
                </c:pt>
                <c:pt idx="302">
                  <c:v>41982.209722222222</c:v>
                </c:pt>
                <c:pt idx="303">
                  <c:v>41982.210416666669</c:v>
                </c:pt>
                <c:pt idx="304">
                  <c:v>41982.211111111108</c:v>
                </c:pt>
                <c:pt idx="305">
                  <c:v>41982.211805555555</c:v>
                </c:pt>
                <c:pt idx="306">
                  <c:v>41982.212500000001</c:v>
                </c:pt>
                <c:pt idx="307">
                  <c:v>41982.213194444441</c:v>
                </c:pt>
                <c:pt idx="308">
                  <c:v>41982.213888888888</c:v>
                </c:pt>
                <c:pt idx="309">
                  <c:v>41982.214583333334</c:v>
                </c:pt>
                <c:pt idx="310">
                  <c:v>41982.215277777781</c:v>
                </c:pt>
                <c:pt idx="311">
                  <c:v>41982.21597222222</c:v>
                </c:pt>
                <c:pt idx="312">
                  <c:v>41982.216666666667</c:v>
                </c:pt>
                <c:pt idx="313">
                  <c:v>41982.217361111114</c:v>
                </c:pt>
                <c:pt idx="314">
                  <c:v>41982.218055555553</c:v>
                </c:pt>
                <c:pt idx="315">
                  <c:v>41982.21875</c:v>
                </c:pt>
                <c:pt idx="316">
                  <c:v>41982.219444444447</c:v>
                </c:pt>
                <c:pt idx="317">
                  <c:v>41982.220138888886</c:v>
                </c:pt>
                <c:pt idx="318">
                  <c:v>41982.220833333333</c:v>
                </c:pt>
                <c:pt idx="319">
                  <c:v>41982.22152777778</c:v>
                </c:pt>
                <c:pt idx="320">
                  <c:v>41982.222222222219</c:v>
                </c:pt>
                <c:pt idx="321">
                  <c:v>41982.222916666666</c:v>
                </c:pt>
                <c:pt idx="322">
                  <c:v>41982.223611111112</c:v>
                </c:pt>
                <c:pt idx="323">
                  <c:v>41982.224305555559</c:v>
                </c:pt>
                <c:pt idx="324">
                  <c:v>41982.224999999999</c:v>
                </c:pt>
                <c:pt idx="325">
                  <c:v>41982.225694444445</c:v>
                </c:pt>
                <c:pt idx="326">
                  <c:v>41982.226388888892</c:v>
                </c:pt>
                <c:pt idx="327">
                  <c:v>41982.227083333331</c:v>
                </c:pt>
                <c:pt idx="328">
                  <c:v>41982.227777777778</c:v>
                </c:pt>
                <c:pt idx="329">
                  <c:v>41982.228472222225</c:v>
                </c:pt>
                <c:pt idx="330">
                  <c:v>41982.229166666664</c:v>
                </c:pt>
                <c:pt idx="331">
                  <c:v>41982.229861111111</c:v>
                </c:pt>
                <c:pt idx="332">
                  <c:v>41982.230555555558</c:v>
                </c:pt>
                <c:pt idx="333">
                  <c:v>41982.231249999997</c:v>
                </c:pt>
                <c:pt idx="334">
                  <c:v>41982.231944444444</c:v>
                </c:pt>
                <c:pt idx="335">
                  <c:v>41982.232638888891</c:v>
                </c:pt>
                <c:pt idx="336">
                  <c:v>41982.23333333333</c:v>
                </c:pt>
                <c:pt idx="337">
                  <c:v>41982.234027777777</c:v>
                </c:pt>
                <c:pt idx="338">
                  <c:v>41982.234722222223</c:v>
                </c:pt>
                <c:pt idx="339">
                  <c:v>41982.23541666667</c:v>
                </c:pt>
                <c:pt idx="340">
                  <c:v>41982.236111111109</c:v>
                </c:pt>
                <c:pt idx="341">
                  <c:v>41982.236805555556</c:v>
                </c:pt>
                <c:pt idx="342">
                  <c:v>41982.237500000003</c:v>
                </c:pt>
                <c:pt idx="343">
                  <c:v>41982.238194444442</c:v>
                </c:pt>
                <c:pt idx="344">
                  <c:v>41982.238888888889</c:v>
                </c:pt>
                <c:pt idx="345">
                  <c:v>41982.239583333336</c:v>
                </c:pt>
                <c:pt idx="346">
                  <c:v>41982.240277777775</c:v>
                </c:pt>
                <c:pt idx="347">
                  <c:v>41982.240972222222</c:v>
                </c:pt>
                <c:pt idx="348">
                  <c:v>41982.241666666669</c:v>
                </c:pt>
                <c:pt idx="349">
                  <c:v>41982.242361111108</c:v>
                </c:pt>
                <c:pt idx="350">
                  <c:v>41982.243055555555</c:v>
                </c:pt>
                <c:pt idx="351">
                  <c:v>41982.243750000001</c:v>
                </c:pt>
                <c:pt idx="352">
                  <c:v>41982.244444444441</c:v>
                </c:pt>
                <c:pt idx="353">
                  <c:v>41982.245138888888</c:v>
                </c:pt>
                <c:pt idx="354">
                  <c:v>41982.245833333334</c:v>
                </c:pt>
                <c:pt idx="355">
                  <c:v>41982.246527777781</c:v>
                </c:pt>
                <c:pt idx="356">
                  <c:v>41982.24722222222</c:v>
                </c:pt>
                <c:pt idx="357">
                  <c:v>41982.247916666667</c:v>
                </c:pt>
                <c:pt idx="358">
                  <c:v>41982.248611111114</c:v>
                </c:pt>
                <c:pt idx="359">
                  <c:v>41982.249305555553</c:v>
                </c:pt>
                <c:pt idx="360">
                  <c:v>41982.25</c:v>
                </c:pt>
                <c:pt idx="361">
                  <c:v>41982.250694444447</c:v>
                </c:pt>
                <c:pt idx="362">
                  <c:v>41982.251388888886</c:v>
                </c:pt>
                <c:pt idx="363">
                  <c:v>41982.252083333333</c:v>
                </c:pt>
                <c:pt idx="364">
                  <c:v>41982.25277777778</c:v>
                </c:pt>
                <c:pt idx="365">
                  <c:v>41982.253472222219</c:v>
                </c:pt>
                <c:pt idx="366">
                  <c:v>41982.254166666666</c:v>
                </c:pt>
                <c:pt idx="367">
                  <c:v>41982.254861111112</c:v>
                </c:pt>
                <c:pt idx="368">
                  <c:v>41982.255555555559</c:v>
                </c:pt>
                <c:pt idx="369">
                  <c:v>41982.256249999999</c:v>
                </c:pt>
                <c:pt idx="370">
                  <c:v>41982.256944444445</c:v>
                </c:pt>
                <c:pt idx="371">
                  <c:v>41982.257638888892</c:v>
                </c:pt>
                <c:pt idx="372">
                  <c:v>41982.258333333331</c:v>
                </c:pt>
                <c:pt idx="373">
                  <c:v>41982.259027777778</c:v>
                </c:pt>
                <c:pt idx="374">
                  <c:v>41982.259722222225</c:v>
                </c:pt>
                <c:pt idx="375">
                  <c:v>41982.260416666664</c:v>
                </c:pt>
                <c:pt idx="376">
                  <c:v>41982.261111111111</c:v>
                </c:pt>
                <c:pt idx="377">
                  <c:v>41982.261805555558</c:v>
                </c:pt>
                <c:pt idx="378">
                  <c:v>41982.262499999997</c:v>
                </c:pt>
                <c:pt idx="379">
                  <c:v>41982.263194444444</c:v>
                </c:pt>
                <c:pt idx="380">
                  <c:v>41982.263888888891</c:v>
                </c:pt>
                <c:pt idx="381">
                  <c:v>41982.26458333333</c:v>
                </c:pt>
                <c:pt idx="382">
                  <c:v>41982.265277777777</c:v>
                </c:pt>
                <c:pt idx="383">
                  <c:v>41982.265972222223</c:v>
                </c:pt>
                <c:pt idx="384">
                  <c:v>41982.26666666667</c:v>
                </c:pt>
                <c:pt idx="385">
                  <c:v>41982.267361111109</c:v>
                </c:pt>
                <c:pt idx="386">
                  <c:v>41982.268055555556</c:v>
                </c:pt>
                <c:pt idx="387">
                  <c:v>41982.268750000003</c:v>
                </c:pt>
                <c:pt idx="388">
                  <c:v>41982.269444444442</c:v>
                </c:pt>
                <c:pt idx="389">
                  <c:v>41982.270138888889</c:v>
                </c:pt>
                <c:pt idx="390">
                  <c:v>41982.270833333336</c:v>
                </c:pt>
                <c:pt idx="391">
                  <c:v>41982.271527777775</c:v>
                </c:pt>
                <c:pt idx="392">
                  <c:v>41982.272222222222</c:v>
                </c:pt>
                <c:pt idx="393">
                  <c:v>41982.272916666669</c:v>
                </c:pt>
                <c:pt idx="394">
                  <c:v>41982.273611111108</c:v>
                </c:pt>
                <c:pt idx="395">
                  <c:v>41982.274305555555</c:v>
                </c:pt>
                <c:pt idx="396">
                  <c:v>41982.275000000001</c:v>
                </c:pt>
                <c:pt idx="397">
                  <c:v>41982.275694444441</c:v>
                </c:pt>
                <c:pt idx="398">
                  <c:v>41982.276388888888</c:v>
                </c:pt>
                <c:pt idx="399">
                  <c:v>41982.277083333334</c:v>
                </c:pt>
                <c:pt idx="400">
                  <c:v>41982.277777777781</c:v>
                </c:pt>
                <c:pt idx="401">
                  <c:v>41982.27847222222</c:v>
                </c:pt>
                <c:pt idx="402">
                  <c:v>41982.279166666667</c:v>
                </c:pt>
                <c:pt idx="403">
                  <c:v>41982.279861111114</c:v>
                </c:pt>
                <c:pt idx="404">
                  <c:v>41982.280555555553</c:v>
                </c:pt>
                <c:pt idx="405">
                  <c:v>41982.28125</c:v>
                </c:pt>
                <c:pt idx="406">
                  <c:v>41982.281944444447</c:v>
                </c:pt>
                <c:pt idx="407">
                  <c:v>41982.282638888886</c:v>
                </c:pt>
                <c:pt idx="408">
                  <c:v>41982.283333333333</c:v>
                </c:pt>
                <c:pt idx="409">
                  <c:v>41982.28402777778</c:v>
                </c:pt>
                <c:pt idx="410">
                  <c:v>41982.284722222219</c:v>
                </c:pt>
                <c:pt idx="411">
                  <c:v>41982.285416666666</c:v>
                </c:pt>
                <c:pt idx="412">
                  <c:v>41982.286111111112</c:v>
                </c:pt>
                <c:pt idx="413">
                  <c:v>41982.286805555559</c:v>
                </c:pt>
                <c:pt idx="414">
                  <c:v>41982.287499999999</c:v>
                </c:pt>
                <c:pt idx="415">
                  <c:v>41982.288194444445</c:v>
                </c:pt>
                <c:pt idx="416">
                  <c:v>41982.288888888892</c:v>
                </c:pt>
                <c:pt idx="417">
                  <c:v>41982.289583333331</c:v>
                </c:pt>
                <c:pt idx="418">
                  <c:v>41982.290277777778</c:v>
                </c:pt>
                <c:pt idx="419">
                  <c:v>41982.290972222225</c:v>
                </c:pt>
                <c:pt idx="420">
                  <c:v>41982.291666666664</c:v>
                </c:pt>
                <c:pt idx="421">
                  <c:v>41982.292361111111</c:v>
                </c:pt>
                <c:pt idx="422">
                  <c:v>41982.293055555558</c:v>
                </c:pt>
                <c:pt idx="423">
                  <c:v>41982.293749999997</c:v>
                </c:pt>
                <c:pt idx="424">
                  <c:v>41982.294444444444</c:v>
                </c:pt>
                <c:pt idx="425">
                  <c:v>41982.295138888891</c:v>
                </c:pt>
                <c:pt idx="426">
                  <c:v>41982.29583333333</c:v>
                </c:pt>
                <c:pt idx="427">
                  <c:v>41982.296527777777</c:v>
                </c:pt>
                <c:pt idx="428">
                  <c:v>41982.297222222223</c:v>
                </c:pt>
                <c:pt idx="429">
                  <c:v>41982.29791666667</c:v>
                </c:pt>
                <c:pt idx="430">
                  <c:v>41982.298611111109</c:v>
                </c:pt>
                <c:pt idx="431">
                  <c:v>41982.299305555556</c:v>
                </c:pt>
                <c:pt idx="432">
                  <c:v>41982.3</c:v>
                </c:pt>
                <c:pt idx="433">
                  <c:v>41982.300694444442</c:v>
                </c:pt>
                <c:pt idx="434">
                  <c:v>41982.301388888889</c:v>
                </c:pt>
                <c:pt idx="435">
                  <c:v>41982.302083333336</c:v>
                </c:pt>
                <c:pt idx="436">
                  <c:v>41982.302777777775</c:v>
                </c:pt>
                <c:pt idx="437">
                  <c:v>41982.303472222222</c:v>
                </c:pt>
                <c:pt idx="438">
                  <c:v>41982.304166666669</c:v>
                </c:pt>
                <c:pt idx="439">
                  <c:v>41982.304861111108</c:v>
                </c:pt>
                <c:pt idx="440">
                  <c:v>41982.305555555555</c:v>
                </c:pt>
                <c:pt idx="441">
                  <c:v>41982.306250000001</c:v>
                </c:pt>
                <c:pt idx="442">
                  <c:v>41982.306944444441</c:v>
                </c:pt>
                <c:pt idx="443">
                  <c:v>41982.307638888888</c:v>
                </c:pt>
                <c:pt idx="444">
                  <c:v>41982.308333333334</c:v>
                </c:pt>
                <c:pt idx="445">
                  <c:v>41982.309027777781</c:v>
                </c:pt>
                <c:pt idx="446">
                  <c:v>41982.30972222222</c:v>
                </c:pt>
                <c:pt idx="447">
                  <c:v>41982.310416666667</c:v>
                </c:pt>
                <c:pt idx="448">
                  <c:v>41982.311111111114</c:v>
                </c:pt>
                <c:pt idx="449">
                  <c:v>41982.311805555553</c:v>
                </c:pt>
                <c:pt idx="450">
                  <c:v>41982.3125</c:v>
                </c:pt>
                <c:pt idx="451">
                  <c:v>41982.313194444447</c:v>
                </c:pt>
                <c:pt idx="452">
                  <c:v>41982.313888888886</c:v>
                </c:pt>
                <c:pt idx="453">
                  <c:v>41982.314583333333</c:v>
                </c:pt>
                <c:pt idx="454">
                  <c:v>41982.31527777778</c:v>
                </c:pt>
                <c:pt idx="455">
                  <c:v>41982.315972222219</c:v>
                </c:pt>
                <c:pt idx="456">
                  <c:v>41982.316666666666</c:v>
                </c:pt>
                <c:pt idx="457">
                  <c:v>41982.317361111112</c:v>
                </c:pt>
                <c:pt idx="458">
                  <c:v>41982.318055555559</c:v>
                </c:pt>
                <c:pt idx="459">
                  <c:v>41982.318749999999</c:v>
                </c:pt>
                <c:pt idx="460">
                  <c:v>41982.319444444445</c:v>
                </c:pt>
                <c:pt idx="461">
                  <c:v>41982.320138888892</c:v>
                </c:pt>
                <c:pt idx="462">
                  <c:v>41982.320833333331</c:v>
                </c:pt>
                <c:pt idx="463">
                  <c:v>41982.321527777778</c:v>
                </c:pt>
                <c:pt idx="464">
                  <c:v>41982.322222222225</c:v>
                </c:pt>
                <c:pt idx="465">
                  <c:v>41982.322916666664</c:v>
                </c:pt>
                <c:pt idx="466">
                  <c:v>41982.323611111111</c:v>
                </c:pt>
                <c:pt idx="467">
                  <c:v>41982.324305555558</c:v>
                </c:pt>
                <c:pt idx="468">
                  <c:v>41982.324999999997</c:v>
                </c:pt>
                <c:pt idx="469">
                  <c:v>41982.325694444444</c:v>
                </c:pt>
                <c:pt idx="470">
                  <c:v>41982.326388888891</c:v>
                </c:pt>
                <c:pt idx="471">
                  <c:v>41982.32708333333</c:v>
                </c:pt>
                <c:pt idx="472">
                  <c:v>41982.327777777777</c:v>
                </c:pt>
                <c:pt idx="473">
                  <c:v>41982.328472222223</c:v>
                </c:pt>
                <c:pt idx="474">
                  <c:v>41982.32916666667</c:v>
                </c:pt>
                <c:pt idx="475">
                  <c:v>41982.329861111109</c:v>
                </c:pt>
                <c:pt idx="476">
                  <c:v>41982.330555555556</c:v>
                </c:pt>
                <c:pt idx="477">
                  <c:v>41982.331250000003</c:v>
                </c:pt>
                <c:pt idx="478">
                  <c:v>41982.331944444442</c:v>
                </c:pt>
                <c:pt idx="479">
                  <c:v>41982.332638888889</c:v>
                </c:pt>
                <c:pt idx="480">
                  <c:v>41982.333333333336</c:v>
                </c:pt>
                <c:pt idx="481">
                  <c:v>41982.334027777775</c:v>
                </c:pt>
                <c:pt idx="482">
                  <c:v>41982.334722222222</c:v>
                </c:pt>
                <c:pt idx="483">
                  <c:v>41982.335416666669</c:v>
                </c:pt>
                <c:pt idx="484">
                  <c:v>41982.336111111108</c:v>
                </c:pt>
                <c:pt idx="485">
                  <c:v>41982.336805555555</c:v>
                </c:pt>
                <c:pt idx="486">
                  <c:v>41982.337500000001</c:v>
                </c:pt>
                <c:pt idx="487">
                  <c:v>41982.338194444441</c:v>
                </c:pt>
                <c:pt idx="488">
                  <c:v>41982.338888888888</c:v>
                </c:pt>
                <c:pt idx="489">
                  <c:v>41982.339583333334</c:v>
                </c:pt>
                <c:pt idx="490">
                  <c:v>41982.340277777781</c:v>
                </c:pt>
                <c:pt idx="491">
                  <c:v>41982.34097222222</c:v>
                </c:pt>
                <c:pt idx="492">
                  <c:v>41982.341666666667</c:v>
                </c:pt>
                <c:pt idx="493">
                  <c:v>41982.342361111114</c:v>
                </c:pt>
                <c:pt idx="494">
                  <c:v>41982.343055555553</c:v>
                </c:pt>
                <c:pt idx="495">
                  <c:v>41982.34375</c:v>
                </c:pt>
                <c:pt idx="496">
                  <c:v>41982.344444444447</c:v>
                </c:pt>
                <c:pt idx="497">
                  <c:v>41982.345138888886</c:v>
                </c:pt>
                <c:pt idx="498">
                  <c:v>41982.345833333333</c:v>
                </c:pt>
                <c:pt idx="499">
                  <c:v>41982.34652777778</c:v>
                </c:pt>
                <c:pt idx="500">
                  <c:v>41982.347222222219</c:v>
                </c:pt>
                <c:pt idx="501">
                  <c:v>41982.347916666666</c:v>
                </c:pt>
                <c:pt idx="502">
                  <c:v>41982.348611111112</c:v>
                </c:pt>
                <c:pt idx="503">
                  <c:v>41982.349305555559</c:v>
                </c:pt>
                <c:pt idx="504">
                  <c:v>41982.35</c:v>
                </c:pt>
                <c:pt idx="505">
                  <c:v>41982.350694444445</c:v>
                </c:pt>
                <c:pt idx="506">
                  <c:v>41982.351388888892</c:v>
                </c:pt>
                <c:pt idx="507">
                  <c:v>41982.352083333331</c:v>
                </c:pt>
                <c:pt idx="508">
                  <c:v>41982.352777777778</c:v>
                </c:pt>
                <c:pt idx="509">
                  <c:v>41982.353472222225</c:v>
                </c:pt>
                <c:pt idx="510">
                  <c:v>41982.354166666664</c:v>
                </c:pt>
                <c:pt idx="511">
                  <c:v>41982.354861111111</c:v>
                </c:pt>
                <c:pt idx="512">
                  <c:v>41982.355555555558</c:v>
                </c:pt>
                <c:pt idx="513">
                  <c:v>41982.356249999997</c:v>
                </c:pt>
                <c:pt idx="514">
                  <c:v>41982.356944444444</c:v>
                </c:pt>
                <c:pt idx="515">
                  <c:v>41982.357638888891</c:v>
                </c:pt>
                <c:pt idx="516">
                  <c:v>41982.35833333333</c:v>
                </c:pt>
                <c:pt idx="517">
                  <c:v>41982.359027777777</c:v>
                </c:pt>
                <c:pt idx="518">
                  <c:v>41982.359722222223</c:v>
                </c:pt>
                <c:pt idx="519">
                  <c:v>41982.36041666667</c:v>
                </c:pt>
                <c:pt idx="520">
                  <c:v>41982.361111111109</c:v>
                </c:pt>
                <c:pt idx="521">
                  <c:v>41982.361805555556</c:v>
                </c:pt>
                <c:pt idx="522">
                  <c:v>41982.362500000003</c:v>
                </c:pt>
                <c:pt idx="523">
                  <c:v>41982.363194444442</c:v>
                </c:pt>
                <c:pt idx="524">
                  <c:v>41982.363888888889</c:v>
                </c:pt>
                <c:pt idx="525">
                  <c:v>41982.364583333336</c:v>
                </c:pt>
                <c:pt idx="526">
                  <c:v>41982.365277777775</c:v>
                </c:pt>
                <c:pt idx="527">
                  <c:v>41982.365972222222</c:v>
                </c:pt>
                <c:pt idx="528">
                  <c:v>41982.366666666669</c:v>
                </c:pt>
                <c:pt idx="529">
                  <c:v>41982.367361111108</c:v>
                </c:pt>
                <c:pt idx="530">
                  <c:v>41982.368055555555</c:v>
                </c:pt>
                <c:pt idx="531">
                  <c:v>41982.368750000001</c:v>
                </c:pt>
                <c:pt idx="532">
                  <c:v>41982.369444444441</c:v>
                </c:pt>
                <c:pt idx="533">
                  <c:v>41982.370138888888</c:v>
                </c:pt>
                <c:pt idx="534">
                  <c:v>41982.370833333334</c:v>
                </c:pt>
                <c:pt idx="535">
                  <c:v>41982.371527777781</c:v>
                </c:pt>
                <c:pt idx="536">
                  <c:v>41982.37222222222</c:v>
                </c:pt>
                <c:pt idx="537">
                  <c:v>41982.372916666667</c:v>
                </c:pt>
                <c:pt idx="538">
                  <c:v>41982.373611111114</c:v>
                </c:pt>
                <c:pt idx="539">
                  <c:v>41982.374305555553</c:v>
                </c:pt>
                <c:pt idx="540">
                  <c:v>41982.375</c:v>
                </c:pt>
                <c:pt idx="541">
                  <c:v>41982.375694444447</c:v>
                </c:pt>
                <c:pt idx="542">
                  <c:v>41982.376388888886</c:v>
                </c:pt>
                <c:pt idx="543">
                  <c:v>41982.377083333333</c:v>
                </c:pt>
                <c:pt idx="544">
                  <c:v>41982.37777777778</c:v>
                </c:pt>
                <c:pt idx="545">
                  <c:v>41982.378472222219</c:v>
                </c:pt>
                <c:pt idx="546">
                  <c:v>41982.379166666666</c:v>
                </c:pt>
                <c:pt idx="547">
                  <c:v>41982.379861111112</c:v>
                </c:pt>
                <c:pt idx="548">
                  <c:v>41982.380555555559</c:v>
                </c:pt>
                <c:pt idx="549">
                  <c:v>41982.381249999999</c:v>
                </c:pt>
                <c:pt idx="550">
                  <c:v>41982.381944444445</c:v>
                </c:pt>
                <c:pt idx="551">
                  <c:v>41982.382638888892</c:v>
                </c:pt>
                <c:pt idx="552">
                  <c:v>41982.383333333331</c:v>
                </c:pt>
                <c:pt idx="553">
                  <c:v>41982.384027777778</c:v>
                </c:pt>
                <c:pt idx="554">
                  <c:v>41982.384722222225</c:v>
                </c:pt>
                <c:pt idx="555">
                  <c:v>41982.385416666664</c:v>
                </c:pt>
                <c:pt idx="556">
                  <c:v>41982.386111111111</c:v>
                </c:pt>
                <c:pt idx="557">
                  <c:v>41982.386805555558</c:v>
                </c:pt>
                <c:pt idx="558">
                  <c:v>41982.387499999997</c:v>
                </c:pt>
                <c:pt idx="559">
                  <c:v>41982.388194444444</c:v>
                </c:pt>
                <c:pt idx="560">
                  <c:v>41982.388888888891</c:v>
                </c:pt>
                <c:pt idx="561">
                  <c:v>41982.38958333333</c:v>
                </c:pt>
                <c:pt idx="562">
                  <c:v>41982.390277777777</c:v>
                </c:pt>
                <c:pt idx="563">
                  <c:v>41982.390972222223</c:v>
                </c:pt>
                <c:pt idx="564">
                  <c:v>41982.39166666667</c:v>
                </c:pt>
                <c:pt idx="565">
                  <c:v>41982.392361111109</c:v>
                </c:pt>
                <c:pt idx="566">
                  <c:v>41982.393055555556</c:v>
                </c:pt>
                <c:pt idx="567">
                  <c:v>41982.393750000003</c:v>
                </c:pt>
                <c:pt idx="568">
                  <c:v>41982.394444444442</c:v>
                </c:pt>
                <c:pt idx="569">
                  <c:v>41982.395138888889</c:v>
                </c:pt>
                <c:pt idx="570">
                  <c:v>41982.395833333336</c:v>
                </c:pt>
                <c:pt idx="571">
                  <c:v>41982.396527777775</c:v>
                </c:pt>
                <c:pt idx="572">
                  <c:v>41982.397222222222</c:v>
                </c:pt>
                <c:pt idx="573">
                  <c:v>41982.397916666669</c:v>
                </c:pt>
                <c:pt idx="574">
                  <c:v>41982.398611111108</c:v>
                </c:pt>
                <c:pt idx="575">
                  <c:v>41982.399305555555</c:v>
                </c:pt>
                <c:pt idx="576">
                  <c:v>41982.400000000001</c:v>
                </c:pt>
                <c:pt idx="577">
                  <c:v>41982.400694444441</c:v>
                </c:pt>
                <c:pt idx="578">
                  <c:v>41982.401388888888</c:v>
                </c:pt>
                <c:pt idx="579">
                  <c:v>41982.402083333334</c:v>
                </c:pt>
                <c:pt idx="580">
                  <c:v>41982.402777777781</c:v>
                </c:pt>
                <c:pt idx="581">
                  <c:v>41982.40347222222</c:v>
                </c:pt>
                <c:pt idx="582">
                  <c:v>41982.404166666667</c:v>
                </c:pt>
                <c:pt idx="583">
                  <c:v>41982.404861111114</c:v>
                </c:pt>
                <c:pt idx="584">
                  <c:v>41982.405555555553</c:v>
                </c:pt>
                <c:pt idx="585">
                  <c:v>41982.40625</c:v>
                </c:pt>
                <c:pt idx="586">
                  <c:v>41982.406944444447</c:v>
                </c:pt>
                <c:pt idx="587">
                  <c:v>41982.407638888886</c:v>
                </c:pt>
                <c:pt idx="588">
                  <c:v>41982.408333333333</c:v>
                </c:pt>
                <c:pt idx="589">
                  <c:v>41982.40902777778</c:v>
                </c:pt>
                <c:pt idx="590">
                  <c:v>41982.409722222219</c:v>
                </c:pt>
                <c:pt idx="591">
                  <c:v>41982.410416666666</c:v>
                </c:pt>
                <c:pt idx="592">
                  <c:v>41982.411111111112</c:v>
                </c:pt>
                <c:pt idx="593">
                  <c:v>41982.411805555559</c:v>
                </c:pt>
                <c:pt idx="594">
                  <c:v>41982.412499999999</c:v>
                </c:pt>
                <c:pt idx="595">
                  <c:v>41982.413194444445</c:v>
                </c:pt>
                <c:pt idx="596">
                  <c:v>41982.413888888892</c:v>
                </c:pt>
                <c:pt idx="597">
                  <c:v>41982.414583333331</c:v>
                </c:pt>
                <c:pt idx="598">
                  <c:v>41982.415277777778</c:v>
                </c:pt>
                <c:pt idx="599">
                  <c:v>41982.415972222225</c:v>
                </c:pt>
                <c:pt idx="600">
                  <c:v>41982.416666666664</c:v>
                </c:pt>
                <c:pt idx="601">
                  <c:v>41982.417361111111</c:v>
                </c:pt>
                <c:pt idx="602">
                  <c:v>41982.418055555558</c:v>
                </c:pt>
                <c:pt idx="603">
                  <c:v>41982.418749999997</c:v>
                </c:pt>
                <c:pt idx="604">
                  <c:v>41982.419444444444</c:v>
                </c:pt>
                <c:pt idx="605">
                  <c:v>41982.420138888891</c:v>
                </c:pt>
                <c:pt idx="606">
                  <c:v>41982.42083333333</c:v>
                </c:pt>
                <c:pt idx="607">
                  <c:v>41982.421527777777</c:v>
                </c:pt>
                <c:pt idx="608">
                  <c:v>41982.422222222223</c:v>
                </c:pt>
                <c:pt idx="609">
                  <c:v>41982.42291666667</c:v>
                </c:pt>
                <c:pt idx="610">
                  <c:v>41982.423611111109</c:v>
                </c:pt>
                <c:pt idx="611">
                  <c:v>41982.424305555556</c:v>
                </c:pt>
                <c:pt idx="612">
                  <c:v>41982.425000000003</c:v>
                </c:pt>
                <c:pt idx="613">
                  <c:v>41982.425694444442</c:v>
                </c:pt>
                <c:pt idx="614">
                  <c:v>41982.426388888889</c:v>
                </c:pt>
                <c:pt idx="615">
                  <c:v>41982.427083333336</c:v>
                </c:pt>
                <c:pt idx="616">
                  <c:v>41982.427777777775</c:v>
                </c:pt>
                <c:pt idx="617">
                  <c:v>41982.428472222222</c:v>
                </c:pt>
                <c:pt idx="618">
                  <c:v>41982.429166666669</c:v>
                </c:pt>
                <c:pt idx="619">
                  <c:v>41982.429861111108</c:v>
                </c:pt>
                <c:pt idx="620">
                  <c:v>41982.430555555555</c:v>
                </c:pt>
                <c:pt idx="621">
                  <c:v>41982.431250000001</c:v>
                </c:pt>
                <c:pt idx="622">
                  <c:v>41982.431944444441</c:v>
                </c:pt>
                <c:pt idx="623">
                  <c:v>41982.432638888888</c:v>
                </c:pt>
                <c:pt idx="624">
                  <c:v>41982.433333333334</c:v>
                </c:pt>
                <c:pt idx="625">
                  <c:v>41982.434027777781</c:v>
                </c:pt>
                <c:pt idx="626">
                  <c:v>41982.43472222222</c:v>
                </c:pt>
                <c:pt idx="627">
                  <c:v>41982.435416666667</c:v>
                </c:pt>
                <c:pt idx="628">
                  <c:v>41982.436111111114</c:v>
                </c:pt>
                <c:pt idx="629">
                  <c:v>41982.436805555553</c:v>
                </c:pt>
                <c:pt idx="630">
                  <c:v>41982.4375</c:v>
                </c:pt>
                <c:pt idx="631">
                  <c:v>41982.438194444447</c:v>
                </c:pt>
                <c:pt idx="632">
                  <c:v>41982.438888888886</c:v>
                </c:pt>
                <c:pt idx="633">
                  <c:v>41982.439583333333</c:v>
                </c:pt>
                <c:pt idx="634">
                  <c:v>41982.44027777778</c:v>
                </c:pt>
                <c:pt idx="635">
                  <c:v>41982.440972222219</c:v>
                </c:pt>
                <c:pt idx="636">
                  <c:v>41982.441666666666</c:v>
                </c:pt>
                <c:pt idx="637">
                  <c:v>41982.442361111112</c:v>
                </c:pt>
                <c:pt idx="638">
                  <c:v>41982.443055555559</c:v>
                </c:pt>
                <c:pt idx="639">
                  <c:v>41982.443749999999</c:v>
                </c:pt>
                <c:pt idx="640">
                  <c:v>41982.444444444445</c:v>
                </c:pt>
                <c:pt idx="641">
                  <c:v>41982.445138888892</c:v>
                </c:pt>
                <c:pt idx="642">
                  <c:v>41982.445833333331</c:v>
                </c:pt>
                <c:pt idx="643">
                  <c:v>41982.446527777778</c:v>
                </c:pt>
                <c:pt idx="644">
                  <c:v>41982.447222222225</c:v>
                </c:pt>
                <c:pt idx="645">
                  <c:v>41982.447916666664</c:v>
                </c:pt>
                <c:pt idx="646">
                  <c:v>41982.448611111111</c:v>
                </c:pt>
                <c:pt idx="647">
                  <c:v>41982.449305555558</c:v>
                </c:pt>
                <c:pt idx="648">
                  <c:v>41982.45</c:v>
                </c:pt>
                <c:pt idx="649">
                  <c:v>41982.450694444444</c:v>
                </c:pt>
                <c:pt idx="650">
                  <c:v>41982.451388888891</c:v>
                </c:pt>
                <c:pt idx="651">
                  <c:v>41982.45208333333</c:v>
                </c:pt>
                <c:pt idx="652">
                  <c:v>41982.452777777777</c:v>
                </c:pt>
                <c:pt idx="653">
                  <c:v>41982.453472222223</c:v>
                </c:pt>
                <c:pt idx="654">
                  <c:v>41982.45416666667</c:v>
                </c:pt>
                <c:pt idx="655">
                  <c:v>41982.454861111109</c:v>
                </c:pt>
                <c:pt idx="656">
                  <c:v>41982.455555555556</c:v>
                </c:pt>
                <c:pt idx="657">
                  <c:v>41982.456250000003</c:v>
                </c:pt>
                <c:pt idx="658">
                  <c:v>41982.456944444442</c:v>
                </c:pt>
                <c:pt idx="659">
                  <c:v>41982.457638888889</c:v>
                </c:pt>
                <c:pt idx="660">
                  <c:v>41982.458333333336</c:v>
                </c:pt>
                <c:pt idx="661">
                  <c:v>41982.459027777775</c:v>
                </c:pt>
                <c:pt idx="662">
                  <c:v>41982.459722222222</c:v>
                </c:pt>
                <c:pt idx="663">
                  <c:v>41982.460416666669</c:v>
                </c:pt>
                <c:pt idx="664">
                  <c:v>41982.461111111108</c:v>
                </c:pt>
                <c:pt idx="665">
                  <c:v>41982.461805555555</c:v>
                </c:pt>
                <c:pt idx="666">
                  <c:v>41982.462500000001</c:v>
                </c:pt>
                <c:pt idx="667">
                  <c:v>41982.463194444441</c:v>
                </c:pt>
                <c:pt idx="668">
                  <c:v>41982.463888888888</c:v>
                </c:pt>
                <c:pt idx="669">
                  <c:v>41982.464583333334</c:v>
                </c:pt>
                <c:pt idx="670">
                  <c:v>41982.465277777781</c:v>
                </c:pt>
                <c:pt idx="671">
                  <c:v>41982.46597222222</c:v>
                </c:pt>
                <c:pt idx="672">
                  <c:v>41982.466666666667</c:v>
                </c:pt>
                <c:pt idx="673">
                  <c:v>41982.467361111114</c:v>
                </c:pt>
                <c:pt idx="674">
                  <c:v>41982.468055555553</c:v>
                </c:pt>
                <c:pt idx="675">
                  <c:v>41982.46875</c:v>
                </c:pt>
                <c:pt idx="676">
                  <c:v>41982.469444444447</c:v>
                </c:pt>
                <c:pt idx="677">
                  <c:v>41982.470138888886</c:v>
                </c:pt>
                <c:pt idx="678">
                  <c:v>41982.470833333333</c:v>
                </c:pt>
                <c:pt idx="679">
                  <c:v>41982.47152777778</c:v>
                </c:pt>
                <c:pt idx="680">
                  <c:v>41982.472222222219</c:v>
                </c:pt>
                <c:pt idx="681">
                  <c:v>41982.472916666666</c:v>
                </c:pt>
                <c:pt idx="682">
                  <c:v>41982.473611111112</c:v>
                </c:pt>
                <c:pt idx="683">
                  <c:v>41982.474305555559</c:v>
                </c:pt>
                <c:pt idx="684">
                  <c:v>41982.474999999999</c:v>
                </c:pt>
                <c:pt idx="685">
                  <c:v>41982.475694444445</c:v>
                </c:pt>
                <c:pt idx="686">
                  <c:v>41982.476388888892</c:v>
                </c:pt>
                <c:pt idx="687">
                  <c:v>41982.477083333331</c:v>
                </c:pt>
                <c:pt idx="688">
                  <c:v>41982.477777777778</c:v>
                </c:pt>
                <c:pt idx="689">
                  <c:v>41982.478472222225</c:v>
                </c:pt>
                <c:pt idx="690">
                  <c:v>41982.479166666664</c:v>
                </c:pt>
                <c:pt idx="691">
                  <c:v>41982.479861111111</c:v>
                </c:pt>
                <c:pt idx="692">
                  <c:v>41982.480555555558</c:v>
                </c:pt>
                <c:pt idx="693">
                  <c:v>41982.481249999997</c:v>
                </c:pt>
                <c:pt idx="694">
                  <c:v>41982.481944444444</c:v>
                </c:pt>
                <c:pt idx="695">
                  <c:v>41982.482638888891</c:v>
                </c:pt>
                <c:pt idx="696">
                  <c:v>41982.48333333333</c:v>
                </c:pt>
                <c:pt idx="697">
                  <c:v>41982.484027777777</c:v>
                </c:pt>
                <c:pt idx="698">
                  <c:v>41982.484722222223</c:v>
                </c:pt>
                <c:pt idx="699">
                  <c:v>41982.48541666667</c:v>
                </c:pt>
                <c:pt idx="700">
                  <c:v>41982.486111111109</c:v>
                </c:pt>
                <c:pt idx="701">
                  <c:v>41982.486805555556</c:v>
                </c:pt>
                <c:pt idx="702">
                  <c:v>41982.487500000003</c:v>
                </c:pt>
                <c:pt idx="703">
                  <c:v>41982.488194444442</c:v>
                </c:pt>
                <c:pt idx="704">
                  <c:v>41982.488888888889</c:v>
                </c:pt>
                <c:pt idx="705">
                  <c:v>41982.489583333336</c:v>
                </c:pt>
                <c:pt idx="706">
                  <c:v>41982.490277777775</c:v>
                </c:pt>
                <c:pt idx="707">
                  <c:v>41982.490972222222</c:v>
                </c:pt>
                <c:pt idx="708">
                  <c:v>41982.491666666669</c:v>
                </c:pt>
                <c:pt idx="709">
                  <c:v>41982.492361111108</c:v>
                </c:pt>
                <c:pt idx="710">
                  <c:v>41982.493055555555</c:v>
                </c:pt>
                <c:pt idx="711">
                  <c:v>41982.493750000001</c:v>
                </c:pt>
                <c:pt idx="712">
                  <c:v>41982.494444444441</c:v>
                </c:pt>
                <c:pt idx="713">
                  <c:v>41982.495138888888</c:v>
                </c:pt>
                <c:pt idx="714">
                  <c:v>41982.495833333334</c:v>
                </c:pt>
                <c:pt idx="715">
                  <c:v>41982.496527777781</c:v>
                </c:pt>
                <c:pt idx="716">
                  <c:v>41982.49722222222</c:v>
                </c:pt>
                <c:pt idx="717">
                  <c:v>41982.497916666667</c:v>
                </c:pt>
                <c:pt idx="718">
                  <c:v>41982.498611111114</c:v>
                </c:pt>
                <c:pt idx="719">
                  <c:v>41982.499305555553</c:v>
                </c:pt>
                <c:pt idx="720">
                  <c:v>41982.5</c:v>
                </c:pt>
                <c:pt idx="721">
                  <c:v>41982.500694444447</c:v>
                </c:pt>
                <c:pt idx="722">
                  <c:v>41982.501388888886</c:v>
                </c:pt>
                <c:pt idx="723">
                  <c:v>41982.502083333333</c:v>
                </c:pt>
                <c:pt idx="724">
                  <c:v>41982.50277777778</c:v>
                </c:pt>
                <c:pt idx="725">
                  <c:v>41982.503472222219</c:v>
                </c:pt>
                <c:pt idx="726">
                  <c:v>41982.504166666666</c:v>
                </c:pt>
                <c:pt idx="727">
                  <c:v>41982.504861111112</c:v>
                </c:pt>
                <c:pt idx="728">
                  <c:v>41982.505555555559</c:v>
                </c:pt>
                <c:pt idx="729">
                  <c:v>41982.506249999999</c:v>
                </c:pt>
                <c:pt idx="730">
                  <c:v>41982.506944444445</c:v>
                </c:pt>
                <c:pt idx="731">
                  <c:v>41982.507638888892</c:v>
                </c:pt>
                <c:pt idx="732">
                  <c:v>41982.508333333331</c:v>
                </c:pt>
                <c:pt idx="733">
                  <c:v>41982.509027777778</c:v>
                </c:pt>
                <c:pt idx="734">
                  <c:v>41982.509722222225</c:v>
                </c:pt>
                <c:pt idx="735">
                  <c:v>41982.510416666664</c:v>
                </c:pt>
                <c:pt idx="736">
                  <c:v>41982.511111111111</c:v>
                </c:pt>
                <c:pt idx="737">
                  <c:v>41982.511805555558</c:v>
                </c:pt>
                <c:pt idx="738">
                  <c:v>41982.512499999997</c:v>
                </c:pt>
                <c:pt idx="739">
                  <c:v>41982.513194444444</c:v>
                </c:pt>
                <c:pt idx="740">
                  <c:v>41982.513888888891</c:v>
                </c:pt>
                <c:pt idx="741">
                  <c:v>41982.51458333333</c:v>
                </c:pt>
                <c:pt idx="742">
                  <c:v>41982.515277777777</c:v>
                </c:pt>
                <c:pt idx="743">
                  <c:v>41982.515972222223</c:v>
                </c:pt>
                <c:pt idx="744">
                  <c:v>41982.51666666667</c:v>
                </c:pt>
                <c:pt idx="745">
                  <c:v>41982.517361111109</c:v>
                </c:pt>
                <c:pt idx="746">
                  <c:v>41982.518055555556</c:v>
                </c:pt>
                <c:pt idx="747">
                  <c:v>41982.518750000003</c:v>
                </c:pt>
                <c:pt idx="748">
                  <c:v>41982.519444444442</c:v>
                </c:pt>
                <c:pt idx="749">
                  <c:v>41982.520138888889</c:v>
                </c:pt>
                <c:pt idx="750">
                  <c:v>41982.520833333336</c:v>
                </c:pt>
                <c:pt idx="751">
                  <c:v>41982.521527777775</c:v>
                </c:pt>
                <c:pt idx="752">
                  <c:v>41982.522222222222</c:v>
                </c:pt>
                <c:pt idx="753">
                  <c:v>41982.522916666669</c:v>
                </c:pt>
                <c:pt idx="754">
                  <c:v>41982.523611111108</c:v>
                </c:pt>
                <c:pt idx="755">
                  <c:v>41982.524305555555</c:v>
                </c:pt>
                <c:pt idx="756">
                  <c:v>41982.525000000001</c:v>
                </c:pt>
                <c:pt idx="757">
                  <c:v>41982.525694444441</c:v>
                </c:pt>
                <c:pt idx="758">
                  <c:v>41982.526388888888</c:v>
                </c:pt>
                <c:pt idx="759">
                  <c:v>41982.527083333334</c:v>
                </c:pt>
                <c:pt idx="760">
                  <c:v>41982.527777777781</c:v>
                </c:pt>
                <c:pt idx="761">
                  <c:v>41982.52847222222</c:v>
                </c:pt>
                <c:pt idx="762">
                  <c:v>41982.529166666667</c:v>
                </c:pt>
                <c:pt idx="763">
                  <c:v>41982.529861111114</c:v>
                </c:pt>
                <c:pt idx="764">
                  <c:v>41982.530555555553</c:v>
                </c:pt>
                <c:pt idx="765">
                  <c:v>41982.53125</c:v>
                </c:pt>
                <c:pt idx="766">
                  <c:v>41982.531944444447</c:v>
                </c:pt>
                <c:pt idx="767">
                  <c:v>41982.532638888886</c:v>
                </c:pt>
                <c:pt idx="768">
                  <c:v>41982.533333333333</c:v>
                </c:pt>
                <c:pt idx="769">
                  <c:v>41982.53402777778</c:v>
                </c:pt>
                <c:pt idx="770">
                  <c:v>41982.534722222219</c:v>
                </c:pt>
                <c:pt idx="771">
                  <c:v>41982.535416666666</c:v>
                </c:pt>
                <c:pt idx="772">
                  <c:v>41982.536111111112</c:v>
                </c:pt>
                <c:pt idx="773">
                  <c:v>41982.536805555559</c:v>
                </c:pt>
                <c:pt idx="774">
                  <c:v>41982.537499999999</c:v>
                </c:pt>
                <c:pt idx="775">
                  <c:v>41982.538194444445</c:v>
                </c:pt>
                <c:pt idx="776">
                  <c:v>41982.538888888892</c:v>
                </c:pt>
                <c:pt idx="777">
                  <c:v>41982.539583333331</c:v>
                </c:pt>
                <c:pt idx="778">
                  <c:v>41982.540277777778</c:v>
                </c:pt>
                <c:pt idx="779">
                  <c:v>41982.540972222225</c:v>
                </c:pt>
                <c:pt idx="780">
                  <c:v>41982.541666666664</c:v>
                </c:pt>
                <c:pt idx="781">
                  <c:v>41982.542361111111</c:v>
                </c:pt>
                <c:pt idx="782">
                  <c:v>41982.543055555558</c:v>
                </c:pt>
                <c:pt idx="783">
                  <c:v>41982.543749999997</c:v>
                </c:pt>
                <c:pt idx="784">
                  <c:v>41982.544444444444</c:v>
                </c:pt>
                <c:pt idx="785">
                  <c:v>41982.545138888891</c:v>
                </c:pt>
                <c:pt idx="786">
                  <c:v>41982.54583333333</c:v>
                </c:pt>
                <c:pt idx="787">
                  <c:v>41982.546527777777</c:v>
                </c:pt>
                <c:pt idx="788">
                  <c:v>41982.547222222223</c:v>
                </c:pt>
                <c:pt idx="789">
                  <c:v>41982.54791666667</c:v>
                </c:pt>
                <c:pt idx="790">
                  <c:v>41982.548611111109</c:v>
                </c:pt>
                <c:pt idx="791">
                  <c:v>41982.549305555556</c:v>
                </c:pt>
                <c:pt idx="792">
                  <c:v>41982.55</c:v>
                </c:pt>
                <c:pt idx="793">
                  <c:v>41982.550694444442</c:v>
                </c:pt>
                <c:pt idx="794">
                  <c:v>41982.551388888889</c:v>
                </c:pt>
                <c:pt idx="795">
                  <c:v>41982.552083333336</c:v>
                </c:pt>
                <c:pt idx="796">
                  <c:v>41982.552777777775</c:v>
                </c:pt>
                <c:pt idx="797">
                  <c:v>41982.553472222222</c:v>
                </c:pt>
                <c:pt idx="798">
                  <c:v>41982.554166666669</c:v>
                </c:pt>
                <c:pt idx="799">
                  <c:v>41982.554861111108</c:v>
                </c:pt>
                <c:pt idx="800">
                  <c:v>41982.555555555555</c:v>
                </c:pt>
                <c:pt idx="801">
                  <c:v>41982.556250000001</c:v>
                </c:pt>
                <c:pt idx="802">
                  <c:v>41982.556944444441</c:v>
                </c:pt>
                <c:pt idx="803">
                  <c:v>41982.557638888888</c:v>
                </c:pt>
                <c:pt idx="804">
                  <c:v>41982.558333333334</c:v>
                </c:pt>
                <c:pt idx="805">
                  <c:v>41982.559027777781</c:v>
                </c:pt>
                <c:pt idx="806">
                  <c:v>41982.55972222222</c:v>
                </c:pt>
                <c:pt idx="807">
                  <c:v>41982.560416666667</c:v>
                </c:pt>
                <c:pt idx="808">
                  <c:v>41982.561111111114</c:v>
                </c:pt>
                <c:pt idx="809">
                  <c:v>41982.561805555553</c:v>
                </c:pt>
                <c:pt idx="810">
                  <c:v>41982.5625</c:v>
                </c:pt>
                <c:pt idx="811">
                  <c:v>41982.563194444447</c:v>
                </c:pt>
                <c:pt idx="812">
                  <c:v>41982.563888888886</c:v>
                </c:pt>
                <c:pt idx="813">
                  <c:v>41982.564583333333</c:v>
                </c:pt>
                <c:pt idx="814">
                  <c:v>41982.56527777778</c:v>
                </c:pt>
                <c:pt idx="815">
                  <c:v>41982.565972222219</c:v>
                </c:pt>
                <c:pt idx="816">
                  <c:v>41982.566666666666</c:v>
                </c:pt>
                <c:pt idx="817">
                  <c:v>41982.567361111112</c:v>
                </c:pt>
                <c:pt idx="818">
                  <c:v>41982.568055555559</c:v>
                </c:pt>
                <c:pt idx="819">
                  <c:v>41982.568749999999</c:v>
                </c:pt>
                <c:pt idx="820">
                  <c:v>41982.569444444445</c:v>
                </c:pt>
                <c:pt idx="821">
                  <c:v>41982.570138888892</c:v>
                </c:pt>
                <c:pt idx="822">
                  <c:v>41982.570833333331</c:v>
                </c:pt>
                <c:pt idx="823">
                  <c:v>41982.571527777778</c:v>
                </c:pt>
                <c:pt idx="824">
                  <c:v>41982.572222222225</c:v>
                </c:pt>
                <c:pt idx="825">
                  <c:v>41982.572916666664</c:v>
                </c:pt>
                <c:pt idx="826">
                  <c:v>41982.573611111111</c:v>
                </c:pt>
                <c:pt idx="827">
                  <c:v>41982.574305555558</c:v>
                </c:pt>
                <c:pt idx="828">
                  <c:v>41982.574999999997</c:v>
                </c:pt>
                <c:pt idx="829">
                  <c:v>41982.575694444444</c:v>
                </c:pt>
                <c:pt idx="830">
                  <c:v>41982.576388888891</c:v>
                </c:pt>
                <c:pt idx="831">
                  <c:v>41982.57708333333</c:v>
                </c:pt>
                <c:pt idx="832">
                  <c:v>41982.577777777777</c:v>
                </c:pt>
                <c:pt idx="833">
                  <c:v>41982.578472222223</c:v>
                </c:pt>
                <c:pt idx="834">
                  <c:v>41982.57916666667</c:v>
                </c:pt>
                <c:pt idx="835">
                  <c:v>41982.579861111109</c:v>
                </c:pt>
                <c:pt idx="836">
                  <c:v>41982.580555555556</c:v>
                </c:pt>
                <c:pt idx="837">
                  <c:v>41982.581250000003</c:v>
                </c:pt>
                <c:pt idx="838">
                  <c:v>41982.581944444442</c:v>
                </c:pt>
                <c:pt idx="839">
                  <c:v>41982.582638888889</c:v>
                </c:pt>
                <c:pt idx="840">
                  <c:v>41982.583333333336</c:v>
                </c:pt>
                <c:pt idx="841">
                  <c:v>41982.584027777775</c:v>
                </c:pt>
                <c:pt idx="842">
                  <c:v>41982.584722222222</c:v>
                </c:pt>
                <c:pt idx="843">
                  <c:v>41982.585416666669</c:v>
                </c:pt>
                <c:pt idx="844">
                  <c:v>41982.586111111108</c:v>
                </c:pt>
                <c:pt idx="845">
                  <c:v>41982.586805555555</c:v>
                </c:pt>
                <c:pt idx="846">
                  <c:v>41982.587500000001</c:v>
                </c:pt>
                <c:pt idx="847">
                  <c:v>41982.588194444441</c:v>
                </c:pt>
                <c:pt idx="848">
                  <c:v>41982.588888888888</c:v>
                </c:pt>
                <c:pt idx="849">
                  <c:v>41982.589583333334</c:v>
                </c:pt>
                <c:pt idx="850">
                  <c:v>41982.590277777781</c:v>
                </c:pt>
                <c:pt idx="851">
                  <c:v>41982.59097222222</c:v>
                </c:pt>
                <c:pt idx="852">
                  <c:v>41982.591666666667</c:v>
                </c:pt>
                <c:pt idx="853">
                  <c:v>41982.592361111114</c:v>
                </c:pt>
                <c:pt idx="854">
                  <c:v>41982.593055555553</c:v>
                </c:pt>
                <c:pt idx="855">
                  <c:v>41982.59375</c:v>
                </c:pt>
                <c:pt idx="856">
                  <c:v>41982.594444444447</c:v>
                </c:pt>
                <c:pt idx="857">
                  <c:v>41982.595138888886</c:v>
                </c:pt>
                <c:pt idx="858">
                  <c:v>41982.595833333333</c:v>
                </c:pt>
                <c:pt idx="859">
                  <c:v>41982.59652777778</c:v>
                </c:pt>
                <c:pt idx="860">
                  <c:v>41982.597222222219</c:v>
                </c:pt>
                <c:pt idx="861">
                  <c:v>41982.597916666666</c:v>
                </c:pt>
                <c:pt idx="862">
                  <c:v>41982.598611111112</c:v>
                </c:pt>
                <c:pt idx="863">
                  <c:v>41982.599305555559</c:v>
                </c:pt>
                <c:pt idx="864">
                  <c:v>41982.6</c:v>
                </c:pt>
                <c:pt idx="865">
                  <c:v>41982.600694444445</c:v>
                </c:pt>
                <c:pt idx="866">
                  <c:v>41982.601388888892</c:v>
                </c:pt>
                <c:pt idx="867">
                  <c:v>41982.602083333331</c:v>
                </c:pt>
                <c:pt idx="868">
                  <c:v>41982.602777777778</c:v>
                </c:pt>
                <c:pt idx="869">
                  <c:v>41982.603472222225</c:v>
                </c:pt>
                <c:pt idx="870">
                  <c:v>41982.604166666664</c:v>
                </c:pt>
                <c:pt idx="871">
                  <c:v>41982.604861111111</c:v>
                </c:pt>
                <c:pt idx="872">
                  <c:v>41982.605555555558</c:v>
                </c:pt>
                <c:pt idx="873">
                  <c:v>41982.606249999997</c:v>
                </c:pt>
                <c:pt idx="874">
                  <c:v>41982.606944444444</c:v>
                </c:pt>
                <c:pt idx="875">
                  <c:v>41982.607638888891</c:v>
                </c:pt>
                <c:pt idx="876">
                  <c:v>41982.60833333333</c:v>
                </c:pt>
                <c:pt idx="877">
                  <c:v>41982.609027777777</c:v>
                </c:pt>
                <c:pt idx="878">
                  <c:v>41982.609722222223</c:v>
                </c:pt>
                <c:pt idx="879">
                  <c:v>41982.61041666667</c:v>
                </c:pt>
                <c:pt idx="880">
                  <c:v>41982.611111111109</c:v>
                </c:pt>
                <c:pt idx="881">
                  <c:v>41982.611805555556</c:v>
                </c:pt>
                <c:pt idx="882">
                  <c:v>41982.612500000003</c:v>
                </c:pt>
                <c:pt idx="883">
                  <c:v>41982.613194444442</c:v>
                </c:pt>
                <c:pt idx="884">
                  <c:v>41982.613888888889</c:v>
                </c:pt>
                <c:pt idx="885">
                  <c:v>41982.614583333336</c:v>
                </c:pt>
                <c:pt idx="886">
                  <c:v>41982.615277777775</c:v>
                </c:pt>
                <c:pt idx="887">
                  <c:v>41982.615972222222</c:v>
                </c:pt>
                <c:pt idx="888">
                  <c:v>41982.616666666669</c:v>
                </c:pt>
                <c:pt idx="889">
                  <c:v>41982.617361111108</c:v>
                </c:pt>
                <c:pt idx="890">
                  <c:v>41982.618055555555</c:v>
                </c:pt>
                <c:pt idx="891">
                  <c:v>41982.618750000001</c:v>
                </c:pt>
                <c:pt idx="892">
                  <c:v>41982.619444444441</c:v>
                </c:pt>
                <c:pt idx="893">
                  <c:v>41982.620138888888</c:v>
                </c:pt>
                <c:pt idx="894">
                  <c:v>41982.620833333334</c:v>
                </c:pt>
                <c:pt idx="895">
                  <c:v>41982.621527777781</c:v>
                </c:pt>
                <c:pt idx="896">
                  <c:v>41982.62222222222</c:v>
                </c:pt>
                <c:pt idx="897">
                  <c:v>41982.622916666667</c:v>
                </c:pt>
                <c:pt idx="898">
                  <c:v>41982.623611111114</c:v>
                </c:pt>
                <c:pt idx="899">
                  <c:v>41982.624305555553</c:v>
                </c:pt>
                <c:pt idx="900">
                  <c:v>41982.625</c:v>
                </c:pt>
                <c:pt idx="901">
                  <c:v>41982.625694444447</c:v>
                </c:pt>
                <c:pt idx="902">
                  <c:v>41982.626388888886</c:v>
                </c:pt>
                <c:pt idx="903">
                  <c:v>41982.627083333333</c:v>
                </c:pt>
                <c:pt idx="904">
                  <c:v>41982.62777777778</c:v>
                </c:pt>
                <c:pt idx="905">
                  <c:v>41982.628472222219</c:v>
                </c:pt>
                <c:pt idx="906">
                  <c:v>41982.629166666666</c:v>
                </c:pt>
                <c:pt idx="907">
                  <c:v>41982.629861111112</c:v>
                </c:pt>
                <c:pt idx="908">
                  <c:v>41982.630555555559</c:v>
                </c:pt>
                <c:pt idx="909">
                  <c:v>41982.631249999999</c:v>
                </c:pt>
                <c:pt idx="910">
                  <c:v>41982.631944444445</c:v>
                </c:pt>
                <c:pt idx="911">
                  <c:v>41982.632638888892</c:v>
                </c:pt>
                <c:pt idx="912">
                  <c:v>41982.633333333331</c:v>
                </c:pt>
                <c:pt idx="913">
                  <c:v>41982.634027777778</c:v>
                </c:pt>
                <c:pt idx="914">
                  <c:v>41982.634722222225</c:v>
                </c:pt>
                <c:pt idx="915">
                  <c:v>41982.635416666664</c:v>
                </c:pt>
                <c:pt idx="916">
                  <c:v>41982.636111111111</c:v>
                </c:pt>
                <c:pt idx="917">
                  <c:v>41982.636805555558</c:v>
                </c:pt>
                <c:pt idx="918">
                  <c:v>41982.637499999997</c:v>
                </c:pt>
                <c:pt idx="919">
                  <c:v>41982.638194444444</c:v>
                </c:pt>
                <c:pt idx="920">
                  <c:v>41982.638888888891</c:v>
                </c:pt>
                <c:pt idx="921">
                  <c:v>41982.63958333333</c:v>
                </c:pt>
                <c:pt idx="922">
                  <c:v>41982.640277777777</c:v>
                </c:pt>
                <c:pt idx="923">
                  <c:v>41982.640972222223</c:v>
                </c:pt>
                <c:pt idx="924">
                  <c:v>41982.64166666667</c:v>
                </c:pt>
                <c:pt idx="925">
                  <c:v>41982.642361111109</c:v>
                </c:pt>
                <c:pt idx="926">
                  <c:v>41982.643055555556</c:v>
                </c:pt>
                <c:pt idx="927">
                  <c:v>41982.643750000003</c:v>
                </c:pt>
                <c:pt idx="928">
                  <c:v>41982.644444444442</c:v>
                </c:pt>
                <c:pt idx="929">
                  <c:v>41982.645138888889</c:v>
                </c:pt>
                <c:pt idx="930">
                  <c:v>41982.645833333336</c:v>
                </c:pt>
                <c:pt idx="931">
                  <c:v>41982.646527777775</c:v>
                </c:pt>
                <c:pt idx="932">
                  <c:v>41982.647222222222</c:v>
                </c:pt>
                <c:pt idx="933">
                  <c:v>41982.647916666669</c:v>
                </c:pt>
                <c:pt idx="934">
                  <c:v>41982.648611111108</c:v>
                </c:pt>
                <c:pt idx="935">
                  <c:v>41982.649305555555</c:v>
                </c:pt>
                <c:pt idx="936">
                  <c:v>41982.65</c:v>
                </c:pt>
                <c:pt idx="937">
                  <c:v>41982.650694444441</c:v>
                </c:pt>
                <c:pt idx="938">
                  <c:v>41982.651388888888</c:v>
                </c:pt>
                <c:pt idx="939">
                  <c:v>41982.652083333334</c:v>
                </c:pt>
                <c:pt idx="940">
                  <c:v>41982.652777777781</c:v>
                </c:pt>
                <c:pt idx="941">
                  <c:v>41982.65347222222</c:v>
                </c:pt>
                <c:pt idx="942">
                  <c:v>41982.654166666667</c:v>
                </c:pt>
                <c:pt idx="943">
                  <c:v>41982.654861111114</c:v>
                </c:pt>
                <c:pt idx="944">
                  <c:v>41982.655555555553</c:v>
                </c:pt>
                <c:pt idx="945">
                  <c:v>41982.65625</c:v>
                </c:pt>
                <c:pt idx="946">
                  <c:v>41982.656944444447</c:v>
                </c:pt>
                <c:pt idx="947">
                  <c:v>41982.657638888886</c:v>
                </c:pt>
                <c:pt idx="948">
                  <c:v>41982.658333333333</c:v>
                </c:pt>
                <c:pt idx="949">
                  <c:v>41982.65902777778</c:v>
                </c:pt>
                <c:pt idx="950">
                  <c:v>41982.659722222219</c:v>
                </c:pt>
                <c:pt idx="951">
                  <c:v>41982.660416666666</c:v>
                </c:pt>
                <c:pt idx="952">
                  <c:v>41982.661111111112</c:v>
                </c:pt>
                <c:pt idx="953">
                  <c:v>41982.661805555559</c:v>
                </c:pt>
                <c:pt idx="954">
                  <c:v>41982.662499999999</c:v>
                </c:pt>
                <c:pt idx="955">
                  <c:v>41982.663194444445</c:v>
                </c:pt>
                <c:pt idx="956">
                  <c:v>41982.663888888892</c:v>
                </c:pt>
                <c:pt idx="957">
                  <c:v>41982.664583333331</c:v>
                </c:pt>
                <c:pt idx="958">
                  <c:v>41982.665277777778</c:v>
                </c:pt>
                <c:pt idx="959">
                  <c:v>41982.665972222225</c:v>
                </c:pt>
                <c:pt idx="960">
                  <c:v>41982.666666666664</c:v>
                </c:pt>
                <c:pt idx="961">
                  <c:v>41982.667361111111</c:v>
                </c:pt>
                <c:pt idx="962">
                  <c:v>41982.668055555558</c:v>
                </c:pt>
                <c:pt idx="963">
                  <c:v>41982.668749999997</c:v>
                </c:pt>
                <c:pt idx="964">
                  <c:v>41982.669444444444</c:v>
                </c:pt>
                <c:pt idx="965">
                  <c:v>41982.670138888891</c:v>
                </c:pt>
                <c:pt idx="966">
                  <c:v>41982.67083333333</c:v>
                </c:pt>
                <c:pt idx="967">
                  <c:v>41982.671527777777</c:v>
                </c:pt>
                <c:pt idx="968">
                  <c:v>41982.672222222223</c:v>
                </c:pt>
                <c:pt idx="969">
                  <c:v>41982.67291666667</c:v>
                </c:pt>
                <c:pt idx="970">
                  <c:v>41982.673611111109</c:v>
                </c:pt>
                <c:pt idx="971">
                  <c:v>41982.674305555556</c:v>
                </c:pt>
                <c:pt idx="972">
                  <c:v>41982.675000000003</c:v>
                </c:pt>
                <c:pt idx="973">
                  <c:v>41982.675694444442</c:v>
                </c:pt>
                <c:pt idx="974">
                  <c:v>41982.676388888889</c:v>
                </c:pt>
                <c:pt idx="975">
                  <c:v>41982.677083333336</c:v>
                </c:pt>
                <c:pt idx="976">
                  <c:v>41982.677777777775</c:v>
                </c:pt>
                <c:pt idx="977">
                  <c:v>41982.678472222222</c:v>
                </c:pt>
                <c:pt idx="978">
                  <c:v>41982.679166666669</c:v>
                </c:pt>
                <c:pt idx="979">
                  <c:v>41982.679861111108</c:v>
                </c:pt>
                <c:pt idx="980">
                  <c:v>41982.680555555555</c:v>
                </c:pt>
                <c:pt idx="981">
                  <c:v>41982.681250000001</c:v>
                </c:pt>
                <c:pt idx="982">
                  <c:v>41982.681944444441</c:v>
                </c:pt>
                <c:pt idx="983">
                  <c:v>41982.682638888888</c:v>
                </c:pt>
                <c:pt idx="984">
                  <c:v>41982.683333333334</c:v>
                </c:pt>
                <c:pt idx="985">
                  <c:v>41982.684027777781</c:v>
                </c:pt>
                <c:pt idx="986">
                  <c:v>41982.68472222222</c:v>
                </c:pt>
                <c:pt idx="987">
                  <c:v>41982.685416666667</c:v>
                </c:pt>
                <c:pt idx="988">
                  <c:v>41982.686111111114</c:v>
                </c:pt>
                <c:pt idx="989">
                  <c:v>41982.686805555553</c:v>
                </c:pt>
                <c:pt idx="990">
                  <c:v>41982.6875</c:v>
                </c:pt>
                <c:pt idx="991">
                  <c:v>41982.688194444447</c:v>
                </c:pt>
                <c:pt idx="992">
                  <c:v>41982.688888888886</c:v>
                </c:pt>
                <c:pt idx="993">
                  <c:v>41982.689583333333</c:v>
                </c:pt>
                <c:pt idx="994">
                  <c:v>41982.69027777778</c:v>
                </c:pt>
                <c:pt idx="995">
                  <c:v>41982.690972222219</c:v>
                </c:pt>
                <c:pt idx="996">
                  <c:v>41982.691666666666</c:v>
                </c:pt>
                <c:pt idx="997">
                  <c:v>41982.692361111112</c:v>
                </c:pt>
                <c:pt idx="998">
                  <c:v>41982.693055555559</c:v>
                </c:pt>
                <c:pt idx="999">
                  <c:v>41982.693749999999</c:v>
                </c:pt>
                <c:pt idx="1000">
                  <c:v>41982.694444444445</c:v>
                </c:pt>
                <c:pt idx="1001">
                  <c:v>41982.695138888892</c:v>
                </c:pt>
                <c:pt idx="1002">
                  <c:v>41982.695833333331</c:v>
                </c:pt>
                <c:pt idx="1003">
                  <c:v>41982.696527777778</c:v>
                </c:pt>
                <c:pt idx="1004">
                  <c:v>41982.697222222225</c:v>
                </c:pt>
                <c:pt idx="1005">
                  <c:v>41982.697916666664</c:v>
                </c:pt>
                <c:pt idx="1006">
                  <c:v>41982.698611111111</c:v>
                </c:pt>
                <c:pt idx="1007">
                  <c:v>41982.699305555558</c:v>
                </c:pt>
                <c:pt idx="1008">
                  <c:v>41982.7</c:v>
                </c:pt>
                <c:pt idx="1009">
                  <c:v>41982.700694444444</c:v>
                </c:pt>
                <c:pt idx="1010">
                  <c:v>41982.701388888891</c:v>
                </c:pt>
                <c:pt idx="1011">
                  <c:v>41982.70208333333</c:v>
                </c:pt>
                <c:pt idx="1012">
                  <c:v>41982.702777777777</c:v>
                </c:pt>
                <c:pt idx="1013">
                  <c:v>41982.703472222223</c:v>
                </c:pt>
                <c:pt idx="1014">
                  <c:v>41982.70416666667</c:v>
                </c:pt>
                <c:pt idx="1015">
                  <c:v>41982.704861111109</c:v>
                </c:pt>
                <c:pt idx="1016">
                  <c:v>41982.705555555556</c:v>
                </c:pt>
                <c:pt idx="1017">
                  <c:v>41982.706250000003</c:v>
                </c:pt>
                <c:pt idx="1018">
                  <c:v>41982.706944444442</c:v>
                </c:pt>
                <c:pt idx="1019">
                  <c:v>41982.707638888889</c:v>
                </c:pt>
                <c:pt idx="1020">
                  <c:v>41982.708333333336</c:v>
                </c:pt>
                <c:pt idx="1021">
                  <c:v>41982.709027777775</c:v>
                </c:pt>
                <c:pt idx="1022">
                  <c:v>41982.709722222222</c:v>
                </c:pt>
                <c:pt idx="1023">
                  <c:v>41982.710416666669</c:v>
                </c:pt>
                <c:pt idx="1024">
                  <c:v>41982.711111111108</c:v>
                </c:pt>
                <c:pt idx="1025">
                  <c:v>41982.711805555555</c:v>
                </c:pt>
                <c:pt idx="1026">
                  <c:v>41982.712500000001</c:v>
                </c:pt>
                <c:pt idx="1027">
                  <c:v>41982.713194444441</c:v>
                </c:pt>
                <c:pt idx="1028">
                  <c:v>41982.713888888888</c:v>
                </c:pt>
                <c:pt idx="1029">
                  <c:v>41982.714583333334</c:v>
                </c:pt>
                <c:pt idx="1030">
                  <c:v>41982.715277777781</c:v>
                </c:pt>
                <c:pt idx="1031">
                  <c:v>41982.71597222222</c:v>
                </c:pt>
                <c:pt idx="1032">
                  <c:v>41982.716666666667</c:v>
                </c:pt>
                <c:pt idx="1033">
                  <c:v>41982.717361111114</c:v>
                </c:pt>
                <c:pt idx="1034">
                  <c:v>41982.718055555553</c:v>
                </c:pt>
                <c:pt idx="1035">
                  <c:v>41982.71875</c:v>
                </c:pt>
                <c:pt idx="1036">
                  <c:v>41982.719444444447</c:v>
                </c:pt>
                <c:pt idx="1037">
                  <c:v>41982.720138888886</c:v>
                </c:pt>
                <c:pt idx="1038">
                  <c:v>41982.720833333333</c:v>
                </c:pt>
                <c:pt idx="1039">
                  <c:v>41982.72152777778</c:v>
                </c:pt>
                <c:pt idx="1040">
                  <c:v>41982.722222222219</c:v>
                </c:pt>
                <c:pt idx="1041">
                  <c:v>41982.722916666666</c:v>
                </c:pt>
                <c:pt idx="1042">
                  <c:v>41982.723611111112</c:v>
                </c:pt>
                <c:pt idx="1043">
                  <c:v>41982.724305555559</c:v>
                </c:pt>
                <c:pt idx="1044">
                  <c:v>41982.724999999999</c:v>
                </c:pt>
                <c:pt idx="1045">
                  <c:v>41982.725694444445</c:v>
                </c:pt>
                <c:pt idx="1046">
                  <c:v>41982.726388888892</c:v>
                </c:pt>
                <c:pt idx="1047">
                  <c:v>41982.727083333331</c:v>
                </c:pt>
                <c:pt idx="1048">
                  <c:v>41982.727777777778</c:v>
                </c:pt>
                <c:pt idx="1049">
                  <c:v>41982.728472222225</c:v>
                </c:pt>
                <c:pt idx="1050">
                  <c:v>41982.729166666664</c:v>
                </c:pt>
                <c:pt idx="1051">
                  <c:v>41982.729861111111</c:v>
                </c:pt>
                <c:pt idx="1052">
                  <c:v>41982.730555555558</c:v>
                </c:pt>
                <c:pt idx="1053">
                  <c:v>41982.731249999997</c:v>
                </c:pt>
                <c:pt idx="1054">
                  <c:v>41982.731944444444</c:v>
                </c:pt>
                <c:pt idx="1055">
                  <c:v>41982.732638888891</c:v>
                </c:pt>
                <c:pt idx="1056">
                  <c:v>41982.73333333333</c:v>
                </c:pt>
                <c:pt idx="1057">
                  <c:v>41982.734027777777</c:v>
                </c:pt>
                <c:pt idx="1058">
                  <c:v>41982.734722222223</c:v>
                </c:pt>
                <c:pt idx="1059">
                  <c:v>41982.73541666667</c:v>
                </c:pt>
                <c:pt idx="1060">
                  <c:v>41982.736111111109</c:v>
                </c:pt>
                <c:pt idx="1061">
                  <c:v>41982.736805555556</c:v>
                </c:pt>
                <c:pt idx="1062">
                  <c:v>41982.737500000003</c:v>
                </c:pt>
                <c:pt idx="1063">
                  <c:v>41982.738194444442</c:v>
                </c:pt>
                <c:pt idx="1064">
                  <c:v>41982.738888888889</c:v>
                </c:pt>
                <c:pt idx="1065">
                  <c:v>41982.739583333336</c:v>
                </c:pt>
                <c:pt idx="1066">
                  <c:v>41982.740277777775</c:v>
                </c:pt>
                <c:pt idx="1067">
                  <c:v>41982.740972222222</c:v>
                </c:pt>
                <c:pt idx="1068">
                  <c:v>41982.741666666669</c:v>
                </c:pt>
                <c:pt idx="1069">
                  <c:v>41982.742361111108</c:v>
                </c:pt>
                <c:pt idx="1070">
                  <c:v>41982.743055555555</c:v>
                </c:pt>
                <c:pt idx="1071">
                  <c:v>41982.743750000001</c:v>
                </c:pt>
                <c:pt idx="1072">
                  <c:v>41982.744444444441</c:v>
                </c:pt>
                <c:pt idx="1073">
                  <c:v>41982.745138888888</c:v>
                </c:pt>
                <c:pt idx="1074">
                  <c:v>41982.745833333334</c:v>
                </c:pt>
                <c:pt idx="1075">
                  <c:v>41982.746527777781</c:v>
                </c:pt>
                <c:pt idx="1076">
                  <c:v>41982.74722222222</c:v>
                </c:pt>
                <c:pt idx="1077">
                  <c:v>41982.747916666667</c:v>
                </c:pt>
                <c:pt idx="1078">
                  <c:v>41982.748611111114</c:v>
                </c:pt>
                <c:pt idx="1079">
                  <c:v>41982.749305555553</c:v>
                </c:pt>
                <c:pt idx="1080">
                  <c:v>41982.75</c:v>
                </c:pt>
                <c:pt idx="1081">
                  <c:v>41982.750694444447</c:v>
                </c:pt>
                <c:pt idx="1082">
                  <c:v>41982.751388888886</c:v>
                </c:pt>
                <c:pt idx="1083">
                  <c:v>41982.752083333333</c:v>
                </c:pt>
                <c:pt idx="1084">
                  <c:v>41982.75277777778</c:v>
                </c:pt>
                <c:pt idx="1085">
                  <c:v>41982.753472222219</c:v>
                </c:pt>
                <c:pt idx="1086">
                  <c:v>41982.754166666666</c:v>
                </c:pt>
                <c:pt idx="1087">
                  <c:v>41982.754861111112</c:v>
                </c:pt>
                <c:pt idx="1088">
                  <c:v>41982.755555555559</c:v>
                </c:pt>
                <c:pt idx="1089">
                  <c:v>41982.756249999999</c:v>
                </c:pt>
                <c:pt idx="1090">
                  <c:v>41982.756944444445</c:v>
                </c:pt>
                <c:pt idx="1091">
                  <c:v>41982.757638888892</c:v>
                </c:pt>
                <c:pt idx="1092">
                  <c:v>41982.758333333331</c:v>
                </c:pt>
                <c:pt idx="1093">
                  <c:v>41982.759027777778</c:v>
                </c:pt>
                <c:pt idx="1094">
                  <c:v>41982.759722222225</c:v>
                </c:pt>
                <c:pt idx="1095">
                  <c:v>41982.760416666664</c:v>
                </c:pt>
                <c:pt idx="1096">
                  <c:v>41982.761111111111</c:v>
                </c:pt>
                <c:pt idx="1097">
                  <c:v>41982.761805555558</c:v>
                </c:pt>
                <c:pt idx="1098">
                  <c:v>41982.762499999997</c:v>
                </c:pt>
                <c:pt idx="1099">
                  <c:v>41982.763194444444</c:v>
                </c:pt>
                <c:pt idx="1100">
                  <c:v>41982.763888888891</c:v>
                </c:pt>
                <c:pt idx="1101">
                  <c:v>41982.76458333333</c:v>
                </c:pt>
                <c:pt idx="1102">
                  <c:v>41982.765277777777</c:v>
                </c:pt>
                <c:pt idx="1103">
                  <c:v>41982.765972222223</c:v>
                </c:pt>
                <c:pt idx="1104">
                  <c:v>41982.76666666667</c:v>
                </c:pt>
                <c:pt idx="1105">
                  <c:v>41982.767361111109</c:v>
                </c:pt>
                <c:pt idx="1106">
                  <c:v>41982.768055555556</c:v>
                </c:pt>
                <c:pt idx="1107">
                  <c:v>41982.768750000003</c:v>
                </c:pt>
                <c:pt idx="1108">
                  <c:v>41982.769444444442</c:v>
                </c:pt>
                <c:pt idx="1109">
                  <c:v>41982.770138888889</c:v>
                </c:pt>
                <c:pt idx="1110">
                  <c:v>41982.770833333336</c:v>
                </c:pt>
                <c:pt idx="1111">
                  <c:v>41982.771527777775</c:v>
                </c:pt>
                <c:pt idx="1112">
                  <c:v>41982.772222222222</c:v>
                </c:pt>
                <c:pt idx="1113">
                  <c:v>41982.772916666669</c:v>
                </c:pt>
                <c:pt idx="1114">
                  <c:v>41982.773611111108</c:v>
                </c:pt>
                <c:pt idx="1115">
                  <c:v>41982.774305555555</c:v>
                </c:pt>
                <c:pt idx="1116">
                  <c:v>41982.775000000001</c:v>
                </c:pt>
                <c:pt idx="1117">
                  <c:v>41982.775694444441</c:v>
                </c:pt>
                <c:pt idx="1118">
                  <c:v>41982.776388888888</c:v>
                </c:pt>
                <c:pt idx="1119">
                  <c:v>41982.777083333334</c:v>
                </c:pt>
                <c:pt idx="1120">
                  <c:v>41982.777777777781</c:v>
                </c:pt>
                <c:pt idx="1121">
                  <c:v>41982.77847222222</c:v>
                </c:pt>
                <c:pt idx="1122">
                  <c:v>41982.779166666667</c:v>
                </c:pt>
                <c:pt idx="1123">
                  <c:v>41982.779861111114</c:v>
                </c:pt>
                <c:pt idx="1124">
                  <c:v>41982.780555555553</c:v>
                </c:pt>
                <c:pt idx="1125">
                  <c:v>41982.78125</c:v>
                </c:pt>
                <c:pt idx="1126">
                  <c:v>41982.781944444447</c:v>
                </c:pt>
                <c:pt idx="1127">
                  <c:v>41982.782638888886</c:v>
                </c:pt>
                <c:pt idx="1128">
                  <c:v>41982.783333333333</c:v>
                </c:pt>
                <c:pt idx="1129">
                  <c:v>41982.78402777778</c:v>
                </c:pt>
                <c:pt idx="1130">
                  <c:v>41982.784722222219</c:v>
                </c:pt>
                <c:pt idx="1131">
                  <c:v>41982.785416666666</c:v>
                </c:pt>
                <c:pt idx="1132">
                  <c:v>41982.786111111112</c:v>
                </c:pt>
                <c:pt idx="1133">
                  <c:v>41982.786805555559</c:v>
                </c:pt>
                <c:pt idx="1134">
                  <c:v>41982.787499999999</c:v>
                </c:pt>
                <c:pt idx="1135">
                  <c:v>41982.788194444445</c:v>
                </c:pt>
                <c:pt idx="1136">
                  <c:v>41982.788888888892</c:v>
                </c:pt>
                <c:pt idx="1137">
                  <c:v>41982.789583333331</c:v>
                </c:pt>
                <c:pt idx="1138">
                  <c:v>41982.790277777778</c:v>
                </c:pt>
                <c:pt idx="1139">
                  <c:v>41982.790972222225</c:v>
                </c:pt>
                <c:pt idx="1140">
                  <c:v>41982.791666666664</c:v>
                </c:pt>
                <c:pt idx="1141">
                  <c:v>41982.792361111111</c:v>
                </c:pt>
                <c:pt idx="1142">
                  <c:v>41982.793055555558</c:v>
                </c:pt>
                <c:pt idx="1143">
                  <c:v>41982.793749999997</c:v>
                </c:pt>
                <c:pt idx="1144">
                  <c:v>41982.794444444444</c:v>
                </c:pt>
                <c:pt idx="1145">
                  <c:v>41982.795138888891</c:v>
                </c:pt>
                <c:pt idx="1146">
                  <c:v>41982.79583333333</c:v>
                </c:pt>
                <c:pt idx="1147">
                  <c:v>41982.796527777777</c:v>
                </c:pt>
                <c:pt idx="1148">
                  <c:v>41982.797222222223</c:v>
                </c:pt>
                <c:pt idx="1149">
                  <c:v>41982.79791666667</c:v>
                </c:pt>
                <c:pt idx="1150">
                  <c:v>41982.798611111109</c:v>
                </c:pt>
                <c:pt idx="1151">
                  <c:v>41982.799305555556</c:v>
                </c:pt>
                <c:pt idx="1152">
                  <c:v>41982.8</c:v>
                </c:pt>
                <c:pt idx="1153">
                  <c:v>41982.800694444442</c:v>
                </c:pt>
                <c:pt idx="1154">
                  <c:v>41982.801388888889</c:v>
                </c:pt>
                <c:pt idx="1155">
                  <c:v>41982.802083333336</c:v>
                </c:pt>
                <c:pt idx="1156">
                  <c:v>41982.802777777775</c:v>
                </c:pt>
                <c:pt idx="1157">
                  <c:v>41982.803472222222</c:v>
                </c:pt>
                <c:pt idx="1158">
                  <c:v>41982.804166666669</c:v>
                </c:pt>
                <c:pt idx="1159">
                  <c:v>41982.804861111108</c:v>
                </c:pt>
                <c:pt idx="1160">
                  <c:v>41982.805555555555</c:v>
                </c:pt>
                <c:pt idx="1161">
                  <c:v>41982.806250000001</c:v>
                </c:pt>
                <c:pt idx="1162">
                  <c:v>41982.806944444441</c:v>
                </c:pt>
                <c:pt idx="1163">
                  <c:v>41982.807638888888</c:v>
                </c:pt>
                <c:pt idx="1164">
                  <c:v>41982.808333333334</c:v>
                </c:pt>
                <c:pt idx="1165">
                  <c:v>41982.809027777781</c:v>
                </c:pt>
                <c:pt idx="1166">
                  <c:v>41982.80972222222</c:v>
                </c:pt>
                <c:pt idx="1167">
                  <c:v>41982.810416666667</c:v>
                </c:pt>
                <c:pt idx="1168">
                  <c:v>41982.811111111114</c:v>
                </c:pt>
                <c:pt idx="1169">
                  <c:v>41982.811805555553</c:v>
                </c:pt>
                <c:pt idx="1170">
                  <c:v>41982.8125</c:v>
                </c:pt>
                <c:pt idx="1171">
                  <c:v>41982.813194444447</c:v>
                </c:pt>
                <c:pt idx="1172">
                  <c:v>41982.813888888886</c:v>
                </c:pt>
                <c:pt idx="1173">
                  <c:v>41982.814583333333</c:v>
                </c:pt>
                <c:pt idx="1174">
                  <c:v>41982.81527777778</c:v>
                </c:pt>
                <c:pt idx="1175">
                  <c:v>41982.815972222219</c:v>
                </c:pt>
                <c:pt idx="1176">
                  <c:v>41982.816666666666</c:v>
                </c:pt>
                <c:pt idx="1177">
                  <c:v>41982.817361111112</c:v>
                </c:pt>
                <c:pt idx="1178">
                  <c:v>41982.818055555559</c:v>
                </c:pt>
                <c:pt idx="1179">
                  <c:v>41982.818749999999</c:v>
                </c:pt>
                <c:pt idx="1180">
                  <c:v>41982.819444444445</c:v>
                </c:pt>
                <c:pt idx="1181">
                  <c:v>41982.820138888892</c:v>
                </c:pt>
                <c:pt idx="1182">
                  <c:v>41982.820833333331</c:v>
                </c:pt>
                <c:pt idx="1183">
                  <c:v>41982.821527777778</c:v>
                </c:pt>
                <c:pt idx="1184">
                  <c:v>41982.822222222225</c:v>
                </c:pt>
                <c:pt idx="1185">
                  <c:v>41982.822916666664</c:v>
                </c:pt>
                <c:pt idx="1186">
                  <c:v>41982.823611111111</c:v>
                </c:pt>
                <c:pt idx="1187">
                  <c:v>41982.824305555558</c:v>
                </c:pt>
                <c:pt idx="1188">
                  <c:v>41982.824999999997</c:v>
                </c:pt>
                <c:pt idx="1189">
                  <c:v>41982.825694444444</c:v>
                </c:pt>
                <c:pt idx="1190">
                  <c:v>41982.826388888891</c:v>
                </c:pt>
                <c:pt idx="1191">
                  <c:v>41982.82708333333</c:v>
                </c:pt>
                <c:pt idx="1192">
                  <c:v>41982.827777777777</c:v>
                </c:pt>
                <c:pt idx="1193">
                  <c:v>41982.828472222223</c:v>
                </c:pt>
                <c:pt idx="1194">
                  <c:v>41982.82916666667</c:v>
                </c:pt>
                <c:pt idx="1195">
                  <c:v>41982.829861111109</c:v>
                </c:pt>
                <c:pt idx="1196">
                  <c:v>41982.830555555556</c:v>
                </c:pt>
                <c:pt idx="1197">
                  <c:v>41982.831250000003</c:v>
                </c:pt>
                <c:pt idx="1198">
                  <c:v>41982.831944444442</c:v>
                </c:pt>
                <c:pt idx="1199">
                  <c:v>41982.832638888889</c:v>
                </c:pt>
                <c:pt idx="1200">
                  <c:v>41982.833333333336</c:v>
                </c:pt>
                <c:pt idx="1201">
                  <c:v>41982.834027777775</c:v>
                </c:pt>
                <c:pt idx="1202">
                  <c:v>41982.834722222222</c:v>
                </c:pt>
                <c:pt idx="1203">
                  <c:v>41982.835416666669</c:v>
                </c:pt>
                <c:pt idx="1204">
                  <c:v>41982.836111111108</c:v>
                </c:pt>
                <c:pt idx="1205">
                  <c:v>41982.836805555555</c:v>
                </c:pt>
                <c:pt idx="1206">
                  <c:v>41982.837500000001</c:v>
                </c:pt>
                <c:pt idx="1207">
                  <c:v>41982.838194444441</c:v>
                </c:pt>
                <c:pt idx="1208">
                  <c:v>41982.838888888888</c:v>
                </c:pt>
                <c:pt idx="1209">
                  <c:v>41982.839583333334</c:v>
                </c:pt>
                <c:pt idx="1210">
                  <c:v>41982.840277777781</c:v>
                </c:pt>
                <c:pt idx="1211">
                  <c:v>41982.84097222222</c:v>
                </c:pt>
                <c:pt idx="1212">
                  <c:v>41982.841666666667</c:v>
                </c:pt>
                <c:pt idx="1213">
                  <c:v>41982.842361111114</c:v>
                </c:pt>
                <c:pt idx="1214">
                  <c:v>41982.843055555553</c:v>
                </c:pt>
                <c:pt idx="1215">
                  <c:v>41982.84375</c:v>
                </c:pt>
                <c:pt idx="1216">
                  <c:v>41982.844444444447</c:v>
                </c:pt>
                <c:pt idx="1217">
                  <c:v>41982.845138888886</c:v>
                </c:pt>
                <c:pt idx="1218">
                  <c:v>41982.845833333333</c:v>
                </c:pt>
                <c:pt idx="1219">
                  <c:v>41982.84652777778</c:v>
                </c:pt>
                <c:pt idx="1220">
                  <c:v>41982.847222222219</c:v>
                </c:pt>
                <c:pt idx="1221">
                  <c:v>41982.847916666666</c:v>
                </c:pt>
                <c:pt idx="1222">
                  <c:v>41982.848611111112</c:v>
                </c:pt>
                <c:pt idx="1223">
                  <c:v>41982.849305555559</c:v>
                </c:pt>
                <c:pt idx="1224">
                  <c:v>41982.85</c:v>
                </c:pt>
                <c:pt idx="1225">
                  <c:v>41982.850694444445</c:v>
                </c:pt>
                <c:pt idx="1226">
                  <c:v>41982.851388888892</c:v>
                </c:pt>
                <c:pt idx="1227">
                  <c:v>41982.852083333331</c:v>
                </c:pt>
                <c:pt idx="1228">
                  <c:v>41982.852777777778</c:v>
                </c:pt>
                <c:pt idx="1229">
                  <c:v>41982.853472222225</c:v>
                </c:pt>
                <c:pt idx="1230">
                  <c:v>41982.854166666664</c:v>
                </c:pt>
                <c:pt idx="1231">
                  <c:v>41982.854861111111</c:v>
                </c:pt>
                <c:pt idx="1232">
                  <c:v>41982.855555555558</c:v>
                </c:pt>
                <c:pt idx="1233">
                  <c:v>41982.856249999997</c:v>
                </c:pt>
                <c:pt idx="1234">
                  <c:v>41982.856944444444</c:v>
                </c:pt>
                <c:pt idx="1235">
                  <c:v>41982.857638888891</c:v>
                </c:pt>
                <c:pt idx="1236">
                  <c:v>41982.85833333333</c:v>
                </c:pt>
                <c:pt idx="1237">
                  <c:v>41982.859027777777</c:v>
                </c:pt>
                <c:pt idx="1238">
                  <c:v>41982.859722222223</c:v>
                </c:pt>
                <c:pt idx="1239">
                  <c:v>41982.86041666667</c:v>
                </c:pt>
                <c:pt idx="1240">
                  <c:v>41982.861111111109</c:v>
                </c:pt>
                <c:pt idx="1241">
                  <c:v>41982.861805555556</c:v>
                </c:pt>
                <c:pt idx="1242">
                  <c:v>41982.862500000003</c:v>
                </c:pt>
                <c:pt idx="1243">
                  <c:v>41982.863194444442</c:v>
                </c:pt>
                <c:pt idx="1244">
                  <c:v>41982.863888888889</c:v>
                </c:pt>
                <c:pt idx="1245">
                  <c:v>41982.864583333336</c:v>
                </c:pt>
                <c:pt idx="1246">
                  <c:v>41982.865277777775</c:v>
                </c:pt>
                <c:pt idx="1247">
                  <c:v>41982.865972222222</c:v>
                </c:pt>
                <c:pt idx="1248">
                  <c:v>41982.866666666669</c:v>
                </c:pt>
                <c:pt idx="1249">
                  <c:v>41982.867361111108</c:v>
                </c:pt>
                <c:pt idx="1250">
                  <c:v>41982.868055555555</c:v>
                </c:pt>
                <c:pt idx="1251">
                  <c:v>41982.868750000001</c:v>
                </c:pt>
                <c:pt idx="1252">
                  <c:v>41982.869444444441</c:v>
                </c:pt>
                <c:pt idx="1253">
                  <c:v>41982.870138888888</c:v>
                </c:pt>
                <c:pt idx="1254">
                  <c:v>41982.870833333334</c:v>
                </c:pt>
                <c:pt idx="1255">
                  <c:v>41982.871527777781</c:v>
                </c:pt>
                <c:pt idx="1256">
                  <c:v>41982.87222222222</c:v>
                </c:pt>
                <c:pt idx="1257">
                  <c:v>41982.872916666667</c:v>
                </c:pt>
                <c:pt idx="1258">
                  <c:v>41982.873611111114</c:v>
                </c:pt>
                <c:pt idx="1259">
                  <c:v>41982.874305555553</c:v>
                </c:pt>
                <c:pt idx="1260">
                  <c:v>41982.875</c:v>
                </c:pt>
                <c:pt idx="1261">
                  <c:v>41982.875694444447</c:v>
                </c:pt>
                <c:pt idx="1262">
                  <c:v>41982.876388888886</c:v>
                </c:pt>
                <c:pt idx="1263">
                  <c:v>41982.877083333333</c:v>
                </c:pt>
                <c:pt idx="1264">
                  <c:v>41982.87777777778</c:v>
                </c:pt>
                <c:pt idx="1265">
                  <c:v>41982.878472222219</c:v>
                </c:pt>
                <c:pt idx="1266">
                  <c:v>41982.879166666666</c:v>
                </c:pt>
                <c:pt idx="1267">
                  <c:v>41982.879861111112</c:v>
                </c:pt>
                <c:pt idx="1268">
                  <c:v>41982.880555555559</c:v>
                </c:pt>
                <c:pt idx="1269">
                  <c:v>41982.881249999999</c:v>
                </c:pt>
                <c:pt idx="1270">
                  <c:v>41982.881944444445</c:v>
                </c:pt>
                <c:pt idx="1271">
                  <c:v>41982.882638888892</c:v>
                </c:pt>
                <c:pt idx="1272">
                  <c:v>41982.883333333331</c:v>
                </c:pt>
                <c:pt idx="1273">
                  <c:v>41982.884027777778</c:v>
                </c:pt>
                <c:pt idx="1274">
                  <c:v>41982.884722222225</c:v>
                </c:pt>
                <c:pt idx="1275">
                  <c:v>41982.885416666664</c:v>
                </c:pt>
                <c:pt idx="1276">
                  <c:v>41982.886111111111</c:v>
                </c:pt>
                <c:pt idx="1277">
                  <c:v>41982.886805555558</c:v>
                </c:pt>
                <c:pt idx="1278">
                  <c:v>41982.887499999997</c:v>
                </c:pt>
                <c:pt idx="1279">
                  <c:v>41982.888194444444</c:v>
                </c:pt>
                <c:pt idx="1280">
                  <c:v>41982.888888888891</c:v>
                </c:pt>
                <c:pt idx="1281">
                  <c:v>41982.88958333333</c:v>
                </c:pt>
                <c:pt idx="1282">
                  <c:v>41982.890277777777</c:v>
                </c:pt>
                <c:pt idx="1283">
                  <c:v>41982.890972222223</c:v>
                </c:pt>
                <c:pt idx="1284">
                  <c:v>41982.89166666667</c:v>
                </c:pt>
                <c:pt idx="1285">
                  <c:v>41982.892361111109</c:v>
                </c:pt>
                <c:pt idx="1286">
                  <c:v>41982.893055555556</c:v>
                </c:pt>
                <c:pt idx="1287">
                  <c:v>41982.893750000003</c:v>
                </c:pt>
                <c:pt idx="1288">
                  <c:v>41982.894444444442</c:v>
                </c:pt>
                <c:pt idx="1289">
                  <c:v>41982.895138888889</c:v>
                </c:pt>
                <c:pt idx="1290">
                  <c:v>41982.895833333336</c:v>
                </c:pt>
                <c:pt idx="1291">
                  <c:v>41982.896527777775</c:v>
                </c:pt>
                <c:pt idx="1292">
                  <c:v>41982.897222222222</c:v>
                </c:pt>
                <c:pt idx="1293">
                  <c:v>41982.897916666669</c:v>
                </c:pt>
                <c:pt idx="1294">
                  <c:v>41982.898611111108</c:v>
                </c:pt>
                <c:pt idx="1295">
                  <c:v>41982.899305555555</c:v>
                </c:pt>
                <c:pt idx="1296">
                  <c:v>41982.9</c:v>
                </c:pt>
                <c:pt idx="1297">
                  <c:v>41982.900694444441</c:v>
                </c:pt>
                <c:pt idx="1298">
                  <c:v>41982.901388888888</c:v>
                </c:pt>
                <c:pt idx="1299">
                  <c:v>41982.902083333334</c:v>
                </c:pt>
                <c:pt idx="1300">
                  <c:v>41982.902777777781</c:v>
                </c:pt>
                <c:pt idx="1301">
                  <c:v>41982.90347222222</c:v>
                </c:pt>
                <c:pt idx="1302">
                  <c:v>41982.904166666667</c:v>
                </c:pt>
                <c:pt idx="1303">
                  <c:v>41982.904861111114</c:v>
                </c:pt>
                <c:pt idx="1304">
                  <c:v>41982.905555555553</c:v>
                </c:pt>
                <c:pt idx="1305">
                  <c:v>41982.90625</c:v>
                </c:pt>
                <c:pt idx="1306">
                  <c:v>41982.906944444447</c:v>
                </c:pt>
                <c:pt idx="1307">
                  <c:v>41982.907638888886</c:v>
                </c:pt>
                <c:pt idx="1308">
                  <c:v>41982.908333333333</c:v>
                </c:pt>
                <c:pt idx="1309">
                  <c:v>41982.90902777778</c:v>
                </c:pt>
                <c:pt idx="1310">
                  <c:v>41982.909722222219</c:v>
                </c:pt>
                <c:pt idx="1311">
                  <c:v>41982.910416666666</c:v>
                </c:pt>
                <c:pt idx="1312">
                  <c:v>41982.911111111112</c:v>
                </c:pt>
                <c:pt idx="1313">
                  <c:v>41982.911805555559</c:v>
                </c:pt>
                <c:pt idx="1314">
                  <c:v>41982.912499999999</c:v>
                </c:pt>
                <c:pt idx="1315">
                  <c:v>41982.913194444445</c:v>
                </c:pt>
                <c:pt idx="1316">
                  <c:v>41982.913888888892</c:v>
                </c:pt>
                <c:pt idx="1317">
                  <c:v>41982.914583333331</c:v>
                </c:pt>
                <c:pt idx="1318">
                  <c:v>41982.915277777778</c:v>
                </c:pt>
                <c:pt idx="1319">
                  <c:v>41982.915972222225</c:v>
                </c:pt>
                <c:pt idx="1320">
                  <c:v>41982.916666666664</c:v>
                </c:pt>
                <c:pt idx="1321">
                  <c:v>41982.917361111111</c:v>
                </c:pt>
                <c:pt idx="1322">
                  <c:v>41982.918055555558</c:v>
                </c:pt>
                <c:pt idx="1323">
                  <c:v>41982.918749999997</c:v>
                </c:pt>
                <c:pt idx="1324">
                  <c:v>41982.919444444444</c:v>
                </c:pt>
                <c:pt idx="1325">
                  <c:v>41982.920138888891</c:v>
                </c:pt>
                <c:pt idx="1326">
                  <c:v>41982.92083333333</c:v>
                </c:pt>
                <c:pt idx="1327">
                  <c:v>41982.921527777777</c:v>
                </c:pt>
                <c:pt idx="1328">
                  <c:v>41982.922222222223</c:v>
                </c:pt>
                <c:pt idx="1329">
                  <c:v>41982.92291666667</c:v>
                </c:pt>
                <c:pt idx="1330">
                  <c:v>41982.923611111109</c:v>
                </c:pt>
                <c:pt idx="1331">
                  <c:v>41982.924305555556</c:v>
                </c:pt>
                <c:pt idx="1332">
                  <c:v>41982.925000000003</c:v>
                </c:pt>
                <c:pt idx="1333">
                  <c:v>41982.925694444442</c:v>
                </c:pt>
                <c:pt idx="1334">
                  <c:v>41982.926388888889</c:v>
                </c:pt>
                <c:pt idx="1335">
                  <c:v>41982.927083333336</c:v>
                </c:pt>
                <c:pt idx="1336">
                  <c:v>41982.927777777775</c:v>
                </c:pt>
                <c:pt idx="1337">
                  <c:v>41982.928472222222</c:v>
                </c:pt>
                <c:pt idx="1338">
                  <c:v>41982.929166666669</c:v>
                </c:pt>
                <c:pt idx="1339">
                  <c:v>41982.929861111108</c:v>
                </c:pt>
                <c:pt idx="1340">
                  <c:v>41982.930555555555</c:v>
                </c:pt>
                <c:pt idx="1341">
                  <c:v>41982.931250000001</c:v>
                </c:pt>
                <c:pt idx="1342">
                  <c:v>41982.931944444441</c:v>
                </c:pt>
                <c:pt idx="1343">
                  <c:v>41982.932638888888</c:v>
                </c:pt>
                <c:pt idx="1344">
                  <c:v>41982.933333333334</c:v>
                </c:pt>
                <c:pt idx="1345">
                  <c:v>41982.934027777781</c:v>
                </c:pt>
                <c:pt idx="1346">
                  <c:v>41982.93472222222</c:v>
                </c:pt>
                <c:pt idx="1347">
                  <c:v>41982.935416666667</c:v>
                </c:pt>
                <c:pt idx="1348">
                  <c:v>41982.936111111114</c:v>
                </c:pt>
                <c:pt idx="1349">
                  <c:v>41982.936805555553</c:v>
                </c:pt>
                <c:pt idx="1350">
                  <c:v>41982.9375</c:v>
                </c:pt>
                <c:pt idx="1351">
                  <c:v>41982.938194444447</c:v>
                </c:pt>
                <c:pt idx="1352">
                  <c:v>41982.938888888886</c:v>
                </c:pt>
                <c:pt idx="1353">
                  <c:v>41982.939583333333</c:v>
                </c:pt>
                <c:pt idx="1354">
                  <c:v>41982.94027777778</c:v>
                </c:pt>
                <c:pt idx="1355">
                  <c:v>41982.940972222219</c:v>
                </c:pt>
                <c:pt idx="1356">
                  <c:v>41982.941666666666</c:v>
                </c:pt>
                <c:pt idx="1357">
                  <c:v>41982.942361111112</c:v>
                </c:pt>
                <c:pt idx="1358">
                  <c:v>41982.943055555559</c:v>
                </c:pt>
                <c:pt idx="1359">
                  <c:v>41982.943749999999</c:v>
                </c:pt>
                <c:pt idx="1360">
                  <c:v>41982.944444444445</c:v>
                </c:pt>
                <c:pt idx="1361">
                  <c:v>41982.945138888892</c:v>
                </c:pt>
                <c:pt idx="1362">
                  <c:v>41982.945833333331</c:v>
                </c:pt>
                <c:pt idx="1363">
                  <c:v>41982.946527777778</c:v>
                </c:pt>
                <c:pt idx="1364">
                  <c:v>41982.947222222225</c:v>
                </c:pt>
                <c:pt idx="1365">
                  <c:v>41982.947916666664</c:v>
                </c:pt>
                <c:pt idx="1366">
                  <c:v>41982.948611111111</c:v>
                </c:pt>
                <c:pt idx="1367">
                  <c:v>41982.949305555558</c:v>
                </c:pt>
                <c:pt idx="1368">
                  <c:v>41982.95</c:v>
                </c:pt>
                <c:pt idx="1369">
                  <c:v>41982.950694444444</c:v>
                </c:pt>
                <c:pt idx="1370">
                  <c:v>41982.951388888891</c:v>
                </c:pt>
                <c:pt idx="1371">
                  <c:v>41982.95208333333</c:v>
                </c:pt>
                <c:pt idx="1372">
                  <c:v>41982.952777777777</c:v>
                </c:pt>
                <c:pt idx="1373">
                  <c:v>41982.953472222223</c:v>
                </c:pt>
                <c:pt idx="1374">
                  <c:v>41982.95416666667</c:v>
                </c:pt>
                <c:pt idx="1375">
                  <c:v>41982.954861111109</c:v>
                </c:pt>
                <c:pt idx="1376">
                  <c:v>41982.955555555556</c:v>
                </c:pt>
                <c:pt idx="1377">
                  <c:v>41982.956250000003</c:v>
                </c:pt>
                <c:pt idx="1378">
                  <c:v>41982.956944444442</c:v>
                </c:pt>
                <c:pt idx="1379">
                  <c:v>41982.957638888889</c:v>
                </c:pt>
                <c:pt idx="1380">
                  <c:v>41982.958333333336</c:v>
                </c:pt>
                <c:pt idx="1381">
                  <c:v>41982.959027777775</c:v>
                </c:pt>
                <c:pt idx="1382">
                  <c:v>41982.959722222222</c:v>
                </c:pt>
                <c:pt idx="1383">
                  <c:v>41982.960416666669</c:v>
                </c:pt>
                <c:pt idx="1384">
                  <c:v>41982.961111111108</c:v>
                </c:pt>
                <c:pt idx="1385">
                  <c:v>41982.961805555555</c:v>
                </c:pt>
                <c:pt idx="1386">
                  <c:v>41982.962500000001</c:v>
                </c:pt>
                <c:pt idx="1387">
                  <c:v>41982.963194444441</c:v>
                </c:pt>
                <c:pt idx="1388">
                  <c:v>41982.963888888888</c:v>
                </c:pt>
                <c:pt idx="1389">
                  <c:v>41982.964583333334</c:v>
                </c:pt>
                <c:pt idx="1390">
                  <c:v>41982.965277777781</c:v>
                </c:pt>
                <c:pt idx="1391">
                  <c:v>41982.96597222222</c:v>
                </c:pt>
                <c:pt idx="1392">
                  <c:v>41982.966666666667</c:v>
                </c:pt>
                <c:pt idx="1393">
                  <c:v>41982.967361111114</c:v>
                </c:pt>
                <c:pt idx="1394">
                  <c:v>41982.968055555553</c:v>
                </c:pt>
                <c:pt idx="1395">
                  <c:v>41982.96875</c:v>
                </c:pt>
                <c:pt idx="1396">
                  <c:v>41982.969444444447</c:v>
                </c:pt>
                <c:pt idx="1397">
                  <c:v>41982.970138888886</c:v>
                </c:pt>
                <c:pt idx="1398">
                  <c:v>41982.970833333333</c:v>
                </c:pt>
                <c:pt idx="1399">
                  <c:v>41982.97152777778</c:v>
                </c:pt>
                <c:pt idx="1400">
                  <c:v>41982.972222222219</c:v>
                </c:pt>
                <c:pt idx="1401">
                  <c:v>41982.972916666666</c:v>
                </c:pt>
                <c:pt idx="1402">
                  <c:v>41982.973611111112</c:v>
                </c:pt>
                <c:pt idx="1403">
                  <c:v>41982.974305555559</c:v>
                </c:pt>
                <c:pt idx="1404">
                  <c:v>41982.974999999999</c:v>
                </c:pt>
                <c:pt idx="1405">
                  <c:v>41982.975694444445</c:v>
                </c:pt>
                <c:pt idx="1406">
                  <c:v>41982.976388888892</c:v>
                </c:pt>
                <c:pt idx="1407">
                  <c:v>41982.977083333331</c:v>
                </c:pt>
                <c:pt idx="1408">
                  <c:v>41982.977777777778</c:v>
                </c:pt>
                <c:pt idx="1409">
                  <c:v>41982.978472222225</c:v>
                </c:pt>
                <c:pt idx="1410">
                  <c:v>41982.979166666664</c:v>
                </c:pt>
                <c:pt idx="1411">
                  <c:v>41982.979861111111</c:v>
                </c:pt>
                <c:pt idx="1412">
                  <c:v>41982.980555555558</c:v>
                </c:pt>
                <c:pt idx="1413">
                  <c:v>41982.981249999997</c:v>
                </c:pt>
                <c:pt idx="1414">
                  <c:v>41982.981944444444</c:v>
                </c:pt>
                <c:pt idx="1415">
                  <c:v>41982.982638888891</c:v>
                </c:pt>
                <c:pt idx="1416">
                  <c:v>41982.98333333333</c:v>
                </c:pt>
                <c:pt idx="1417">
                  <c:v>41982.984027777777</c:v>
                </c:pt>
                <c:pt idx="1418">
                  <c:v>41982.984722222223</c:v>
                </c:pt>
                <c:pt idx="1419">
                  <c:v>41982.98541666667</c:v>
                </c:pt>
                <c:pt idx="1420">
                  <c:v>41982.986111111109</c:v>
                </c:pt>
                <c:pt idx="1421">
                  <c:v>41982.986805555556</c:v>
                </c:pt>
                <c:pt idx="1422">
                  <c:v>41982.987500000003</c:v>
                </c:pt>
                <c:pt idx="1423">
                  <c:v>41982.988194444442</c:v>
                </c:pt>
                <c:pt idx="1424">
                  <c:v>41982.988888888889</c:v>
                </c:pt>
                <c:pt idx="1425">
                  <c:v>41982.989583333336</c:v>
                </c:pt>
                <c:pt idx="1426">
                  <c:v>41982.990277777775</c:v>
                </c:pt>
                <c:pt idx="1427">
                  <c:v>41982.990972222222</c:v>
                </c:pt>
                <c:pt idx="1428">
                  <c:v>41982.991666666669</c:v>
                </c:pt>
                <c:pt idx="1429">
                  <c:v>41982.992361111108</c:v>
                </c:pt>
                <c:pt idx="1430">
                  <c:v>41982.993055555555</c:v>
                </c:pt>
                <c:pt idx="1431">
                  <c:v>41982.993750000001</c:v>
                </c:pt>
                <c:pt idx="1432">
                  <c:v>41982.994444444441</c:v>
                </c:pt>
                <c:pt idx="1433">
                  <c:v>41982.995138888888</c:v>
                </c:pt>
                <c:pt idx="1434">
                  <c:v>41982.995833333334</c:v>
                </c:pt>
                <c:pt idx="1435">
                  <c:v>41982.996527777781</c:v>
                </c:pt>
                <c:pt idx="1436">
                  <c:v>41982.99722222222</c:v>
                </c:pt>
                <c:pt idx="1437">
                  <c:v>41982.997916666667</c:v>
                </c:pt>
                <c:pt idx="1438">
                  <c:v>41982.998611111114</c:v>
                </c:pt>
                <c:pt idx="1439">
                  <c:v>41982.999305555553</c:v>
                </c:pt>
                <c:pt idx="1440">
                  <c:v>41983</c:v>
                </c:pt>
                <c:pt idx="1441">
                  <c:v>41983.000694444447</c:v>
                </c:pt>
                <c:pt idx="1442">
                  <c:v>41983.001388888886</c:v>
                </c:pt>
                <c:pt idx="1443">
                  <c:v>41983.002083333333</c:v>
                </c:pt>
                <c:pt idx="1444">
                  <c:v>41983.00277777778</c:v>
                </c:pt>
                <c:pt idx="1445">
                  <c:v>41983.003472222219</c:v>
                </c:pt>
                <c:pt idx="1446">
                  <c:v>41983.004166666666</c:v>
                </c:pt>
                <c:pt idx="1447">
                  <c:v>41983.004861111112</c:v>
                </c:pt>
                <c:pt idx="1448">
                  <c:v>41983.005555555559</c:v>
                </c:pt>
                <c:pt idx="1449">
                  <c:v>41983.006249999999</c:v>
                </c:pt>
                <c:pt idx="1450">
                  <c:v>41983.006944444445</c:v>
                </c:pt>
                <c:pt idx="1451">
                  <c:v>41983.007638888892</c:v>
                </c:pt>
                <c:pt idx="1452">
                  <c:v>41983.008333333331</c:v>
                </c:pt>
                <c:pt idx="1453">
                  <c:v>41983.009027777778</c:v>
                </c:pt>
                <c:pt idx="1454">
                  <c:v>41983.009722222225</c:v>
                </c:pt>
                <c:pt idx="1455">
                  <c:v>41983.010416666664</c:v>
                </c:pt>
                <c:pt idx="1456">
                  <c:v>41983.011111111111</c:v>
                </c:pt>
                <c:pt idx="1457">
                  <c:v>41983.011805555558</c:v>
                </c:pt>
                <c:pt idx="1458">
                  <c:v>41983.012499999997</c:v>
                </c:pt>
                <c:pt idx="1459">
                  <c:v>41983.013194444444</c:v>
                </c:pt>
                <c:pt idx="1460">
                  <c:v>41983.013888888891</c:v>
                </c:pt>
                <c:pt idx="1461">
                  <c:v>41983.01458333333</c:v>
                </c:pt>
                <c:pt idx="1462">
                  <c:v>41983.015277777777</c:v>
                </c:pt>
                <c:pt idx="1463">
                  <c:v>41983.015972222223</c:v>
                </c:pt>
                <c:pt idx="1464">
                  <c:v>41983.01666666667</c:v>
                </c:pt>
                <c:pt idx="1465">
                  <c:v>41983.017361111109</c:v>
                </c:pt>
                <c:pt idx="1466">
                  <c:v>41983.018055555556</c:v>
                </c:pt>
                <c:pt idx="1467">
                  <c:v>41983.018750000003</c:v>
                </c:pt>
                <c:pt idx="1468">
                  <c:v>41983.019444444442</c:v>
                </c:pt>
                <c:pt idx="1469">
                  <c:v>41983.020138888889</c:v>
                </c:pt>
                <c:pt idx="1470">
                  <c:v>41983.020833333336</c:v>
                </c:pt>
                <c:pt idx="1471">
                  <c:v>41983.021527777775</c:v>
                </c:pt>
                <c:pt idx="1472">
                  <c:v>41983.022222222222</c:v>
                </c:pt>
                <c:pt idx="1473">
                  <c:v>41983.022916666669</c:v>
                </c:pt>
                <c:pt idx="1474">
                  <c:v>41983.023611111108</c:v>
                </c:pt>
                <c:pt idx="1475">
                  <c:v>41983.024305555555</c:v>
                </c:pt>
                <c:pt idx="1476">
                  <c:v>41983.025000000001</c:v>
                </c:pt>
                <c:pt idx="1477">
                  <c:v>41983.025694444441</c:v>
                </c:pt>
                <c:pt idx="1478">
                  <c:v>41983.026388888888</c:v>
                </c:pt>
                <c:pt idx="1479">
                  <c:v>41983.027083333334</c:v>
                </c:pt>
                <c:pt idx="1480">
                  <c:v>41983.027777777781</c:v>
                </c:pt>
                <c:pt idx="1481">
                  <c:v>41983.02847222222</c:v>
                </c:pt>
                <c:pt idx="1482">
                  <c:v>41983.029166666667</c:v>
                </c:pt>
                <c:pt idx="1483">
                  <c:v>41983.029861111114</c:v>
                </c:pt>
                <c:pt idx="1484">
                  <c:v>41983.030555555553</c:v>
                </c:pt>
                <c:pt idx="1485">
                  <c:v>41983.03125</c:v>
                </c:pt>
                <c:pt idx="1486">
                  <c:v>41983.031944444447</c:v>
                </c:pt>
                <c:pt idx="1487">
                  <c:v>41983.032638888886</c:v>
                </c:pt>
                <c:pt idx="1488">
                  <c:v>41983.033333333333</c:v>
                </c:pt>
                <c:pt idx="1489">
                  <c:v>41983.03402777778</c:v>
                </c:pt>
                <c:pt idx="1490">
                  <c:v>41983.034722222219</c:v>
                </c:pt>
                <c:pt idx="1491">
                  <c:v>41983.035416666666</c:v>
                </c:pt>
                <c:pt idx="1492">
                  <c:v>41983.036111111112</c:v>
                </c:pt>
                <c:pt idx="1493">
                  <c:v>41983.036805555559</c:v>
                </c:pt>
                <c:pt idx="1494">
                  <c:v>41983.037499999999</c:v>
                </c:pt>
                <c:pt idx="1495">
                  <c:v>41983.038194444445</c:v>
                </c:pt>
                <c:pt idx="1496">
                  <c:v>41983.038888888892</c:v>
                </c:pt>
                <c:pt idx="1497">
                  <c:v>41983.039583333331</c:v>
                </c:pt>
                <c:pt idx="1498">
                  <c:v>41983.040277777778</c:v>
                </c:pt>
                <c:pt idx="1499">
                  <c:v>41983.040972222225</c:v>
                </c:pt>
                <c:pt idx="1500">
                  <c:v>41983.041666666664</c:v>
                </c:pt>
                <c:pt idx="1501">
                  <c:v>41983.042361111111</c:v>
                </c:pt>
                <c:pt idx="1502">
                  <c:v>41983.043055555558</c:v>
                </c:pt>
                <c:pt idx="1503">
                  <c:v>41983.043749999997</c:v>
                </c:pt>
                <c:pt idx="1504">
                  <c:v>41983.044444444444</c:v>
                </c:pt>
                <c:pt idx="1505">
                  <c:v>41983.045138888891</c:v>
                </c:pt>
                <c:pt idx="1506">
                  <c:v>41983.04583333333</c:v>
                </c:pt>
                <c:pt idx="1507">
                  <c:v>41983.046527777777</c:v>
                </c:pt>
                <c:pt idx="1508">
                  <c:v>41983.047222222223</c:v>
                </c:pt>
                <c:pt idx="1509">
                  <c:v>41983.04791666667</c:v>
                </c:pt>
                <c:pt idx="1510">
                  <c:v>41983.048611111109</c:v>
                </c:pt>
                <c:pt idx="1511">
                  <c:v>41983.049305555556</c:v>
                </c:pt>
                <c:pt idx="1512">
                  <c:v>41983.05</c:v>
                </c:pt>
                <c:pt idx="1513">
                  <c:v>41983.050694444442</c:v>
                </c:pt>
                <c:pt idx="1514">
                  <c:v>41983.051388888889</c:v>
                </c:pt>
                <c:pt idx="1515">
                  <c:v>41983.052083333336</c:v>
                </c:pt>
                <c:pt idx="1516">
                  <c:v>41983.052777777775</c:v>
                </c:pt>
                <c:pt idx="1517">
                  <c:v>41983.053472222222</c:v>
                </c:pt>
                <c:pt idx="1518">
                  <c:v>41983.054166666669</c:v>
                </c:pt>
                <c:pt idx="1519">
                  <c:v>41983.054861111108</c:v>
                </c:pt>
                <c:pt idx="1520">
                  <c:v>41983.055555555555</c:v>
                </c:pt>
                <c:pt idx="1521">
                  <c:v>41983.056250000001</c:v>
                </c:pt>
                <c:pt idx="1522">
                  <c:v>41983.056944444441</c:v>
                </c:pt>
                <c:pt idx="1523">
                  <c:v>41983.057638888888</c:v>
                </c:pt>
                <c:pt idx="1524">
                  <c:v>41983.058333333334</c:v>
                </c:pt>
                <c:pt idx="1525">
                  <c:v>41983.059027777781</c:v>
                </c:pt>
                <c:pt idx="1526">
                  <c:v>41983.05972222222</c:v>
                </c:pt>
                <c:pt idx="1527">
                  <c:v>41983.060416666667</c:v>
                </c:pt>
                <c:pt idx="1528">
                  <c:v>41983.061111111114</c:v>
                </c:pt>
                <c:pt idx="1529">
                  <c:v>41983.061805555553</c:v>
                </c:pt>
                <c:pt idx="1530">
                  <c:v>41983.0625</c:v>
                </c:pt>
                <c:pt idx="1531">
                  <c:v>41983.063194444447</c:v>
                </c:pt>
                <c:pt idx="1532">
                  <c:v>41983.063888888886</c:v>
                </c:pt>
                <c:pt idx="1533">
                  <c:v>41983.064583333333</c:v>
                </c:pt>
                <c:pt idx="1534">
                  <c:v>41983.06527777778</c:v>
                </c:pt>
                <c:pt idx="1535">
                  <c:v>41983.065972222219</c:v>
                </c:pt>
                <c:pt idx="1536">
                  <c:v>41983.066666666666</c:v>
                </c:pt>
                <c:pt idx="1537">
                  <c:v>41983.067361111112</c:v>
                </c:pt>
                <c:pt idx="1538">
                  <c:v>41983.068055555559</c:v>
                </c:pt>
                <c:pt idx="1539">
                  <c:v>41983.068749999999</c:v>
                </c:pt>
                <c:pt idx="1540">
                  <c:v>41983.069444444445</c:v>
                </c:pt>
                <c:pt idx="1541">
                  <c:v>41983.070138888892</c:v>
                </c:pt>
                <c:pt idx="1542">
                  <c:v>41983.070833333331</c:v>
                </c:pt>
                <c:pt idx="1543">
                  <c:v>41983.071527777778</c:v>
                </c:pt>
                <c:pt idx="1544">
                  <c:v>41983.072222222225</c:v>
                </c:pt>
                <c:pt idx="1545">
                  <c:v>41983.072916666664</c:v>
                </c:pt>
                <c:pt idx="1546">
                  <c:v>41983.073611111111</c:v>
                </c:pt>
                <c:pt idx="1547">
                  <c:v>41983.074305555558</c:v>
                </c:pt>
                <c:pt idx="1548">
                  <c:v>41983.074999999997</c:v>
                </c:pt>
                <c:pt idx="1549">
                  <c:v>41983.075694444444</c:v>
                </c:pt>
                <c:pt idx="1550">
                  <c:v>41983.076388888891</c:v>
                </c:pt>
                <c:pt idx="1551">
                  <c:v>41983.07708333333</c:v>
                </c:pt>
                <c:pt idx="1552">
                  <c:v>41983.077777777777</c:v>
                </c:pt>
                <c:pt idx="1553">
                  <c:v>41983.078472222223</c:v>
                </c:pt>
                <c:pt idx="1554">
                  <c:v>41983.07916666667</c:v>
                </c:pt>
                <c:pt idx="1555">
                  <c:v>41983.079861111109</c:v>
                </c:pt>
                <c:pt idx="1556">
                  <c:v>41983.080555555556</c:v>
                </c:pt>
                <c:pt idx="1557">
                  <c:v>41983.081250000003</c:v>
                </c:pt>
                <c:pt idx="1558">
                  <c:v>41983.081944444442</c:v>
                </c:pt>
                <c:pt idx="1559">
                  <c:v>41983.082638888889</c:v>
                </c:pt>
                <c:pt idx="1560">
                  <c:v>41983.083333333336</c:v>
                </c:pt>
                <c:pt idx="1561">
                  <c:v>41983.084027777775</c:v>
                </c:pt>
                <c:pt idx="1562">
                  <c:v>41983.084722222222</c:v>
                </c:pt>
                <c:pt idx="1563">
                  <c:v>41983.085416666669</c:v>
                </c:pt>
                <c:pt idx="1564">
                  <c:v>41983.086111111108</c:v>
                </c:pt>
                <c:pt idx="1565">
                  <c:v>41983.086805555555</c:v>
                </c:pt>
                <c:pt idx="1566">
                  <c:v>41983.087500000001</c:v>
                </c:pt>
                <c:pt idx="1567">
                  <c:v>41983.088194444441</c:v>
                </c:pt>
                <c:pt idx="1568">
                  <c:v>41983.088888888888</c:v>
                </c:pt>
                <c:pt idx="1569">
                  <c:v>41983.089583333334</c:v>
                </c:pt>
                <c:pt idx="1570">
                  <c:v>41983.090277777781</c:v>
                </c:pt>
                <c:pt idx="1571">
                  <c:v>41983.09097222222</c:v>
                </c:pt>
                <c:pt idx="1572">
                  <c:v>41983.091666666667</c:v>
                </c:pt>
                <c:pt idx="1573">
                  <c:v>41983.092361111114</c:v>
                </c:pt>
                <c:pt idx="1574">
                  <c:v>41983.093055555553</c:v>
                </c:pt>
                <c:pt idx="1575">
                  <c:v>41983.09375</c:v>
                </c:pt>
                <c:pt idx="1576">
                  <c:v>41983.094444444447</c:v>
                </c:pt>
                <c:pt idx="1577">
                  <c:v>41983.095138888886</c:v>
                </c:pt>
                <c:pt idx="1578">
                  <c:v>41983.095833333333</c:v>
                </c:pt>
                <c:pt idx="1579">
                  <c:v>41983.09652777778</c:v>
                </c:pt>
                <c:pt idx="1580">
                  <c:v>41983.097222222219</c:v>
                </c:pt>
                <c:pt idx="1581">
                  <c:v>41983.097916666666</c:v>
                </c:pt>
                <c:pt idx="1582">
                  <c:v>41983.098611111112</c:v>
                </c:pt>
                <c:pt idx="1583">
                  <c:v>41983.099305555559</c:v>
                </c:pt>
                <c:pt idx="1584">
                  <c:v>41983.1</c:v>
                </c:pt>
                <c:pt idx="1585">
                  <c:v>41983.100694444445</c:v>
                </c:pt>
                <c:pt idx="1586">
                  <c:v>41983.101388888892</c:v>
                </c:pt>
                <c:pt idx="1587">
                  <c:v>41983.102083333331</c:v>
                </c:pt>
                <c:pt idx="1588">
                  <c:v>41983.102777777778</c:v>
                </c:pt>
                <c:pt idx="1589">
                  <c:v>41983.103472222225</c:v>
                </c:pt>
                <c:pt idx="1590">
                  <c:v>41983.104166666664</c:v>
                </c:pt>
                <c:pt idx="1591">
                  <c:v>41983.104861111111</c:v>
                </c:pt>
                <c:pt idx="1592">
                  <c:v>41983.105555555558</c:v>
                </c:pt>
                <c:pt idx="1593">
                  <c:v>41983.106249999997</c:v>
                </c:pt>
                <c:pt idx="1594">
                  <c:v>41983.106944444444</c:v>
                </c:pt>
                <c:pt idx="1595">
                  <c:v>41983.107638888891</c:v>
                </c:pt>
                <c:pt idx="1596">
                  <c:v>41983.10833333333</c:v>
                </c:pt>
                <c:pt idx="1597">
                  <c:v>41983.109027777777</c:v>
                </c:pt>
                <c:pt idx="1598">
                  <c:v>41983.109722222223</c:v>
                </c:pt>
                <c:pt idx="1599">
                  <c:v>41983.11041666667</c:v>
                </c:pt>
                <c:pt idx="1600">
                  <c:v>41983.111111111109</c:v>
                </c:pt>
                <c:pt idx="1601">
                  <c:v>41983.111805555556</c:v>
                </c:pt>
                <c:pt idx="1602">
                  <c:v>41983.112500000003</c:v>
                </c:pt>
                <c:pt idx="1603">
                  <c:v>41983.113194444442</c:v>
                </c:pt>
                <c:pt idx="1604">
                  <c:v>41983.113888888889</c:v>
                </c:pt>
                <c:pt idx="1605">
                  <c:v>41983.114583333336</c:v>
                </c:pt>
                <c:pt idx="1606">
                  <c:v>41983.115277777775</c:v>
                </c:pt>
                <c:pt idx="1607">
                  <c:v>41983.115972222222</c:v>
                </c:pt>
                <c:pt idx="1608">
                  <c:v>41983.116666666669</c:v>
                </c:pt>
                <c:pt idx="1609">
                  <c:v>41983.117361111108</c:v>
                </c:pt>
                <c:pt idx="1610">
                  <c:v>41983.118055555555</c:v>
                </c:pt>
                <c:pt idx="1611">
                  <c:v>41983.118750000001</c:v>
                </c:pt>
                <c:pt idx="1612">
                  <c:v>41983.119444444441</c:v>
                </c:pt>
                <c:pt idx="1613">
                  <c:v>41983.120138888888</c:v>
                </c:pt>
                <c:pt idx="1614">
                  <c:v>41983.120833333334</c:v>
                </c:pt>
                <c:pt idx="1615">
                  <c:v>41983.121527777781</c:v>
                </c:pt>
                <c:pt idx="1616">
                  <c:v>41983.12222222222</c:v>
                </c:pt>
                <c:pt idx="1617">
                  <c:v>41983.122916666667</c:v>
                </c:pt>
                <c:pt idx="1618">
                  <c:v>41983.123611111114</c:v>
                </c:pt>
                <c:pt idx="1619">
                  <c:v>41983.124305555553</c:v>
                </c:pt>
                <c:pt idx="1620">
                  <c:v>41983.125</c:v>
                </c:pt>
                <c:pt idx="1621">
                  <c:v>41983.125694444447</c:v>
                </c:pt>
                <c:pt idx="1622">
                  <c:v>41983.126388888886</c:v>
                </c:pt>
                <c:pt idx="1623">
                  <c:v>41983.127083333333</c:v>
                </c:pt>
                <c:pt idx="1624">
                  <c:v>41983.12777777778</c:v>
                </c:pt>
                <c:pt idx="1625">
                  <c:v>41983.128472222219</c:v>
                </c:pt>
                <c:pt idx="1626">
                  <c:v>41983.129166666666</c:v>
                </c:pt>
                <c:pt idx="1627">
                  <c:v>41983.129861111112</c:v>
                </c:pt>
                <c:pt idx="1628">
                  <c:v>41983.130555555559</c:v>
                </c:pt>
                <c:pt idx="1629">
                  <c:v>41983.131249999999</c:v>
                </c:pt>
                <c:pt idx="1630">
                  <c:v>41983.131944444445</c:v>
                </c:pt>
                <c:pt idx="1631">
                  <c:v>41983.132638888892</c:v>
                </c:pt>
                <c:pt idx="1632">
                  <c:v>41983.133333333331</c:v>
                </c:pt>
                <c:pt idx="1633">
                  <c:v>41983.134027777778</c:v>
                </c:pt>
                <c:pt idx="1634">
                  <c:v>41983.134722222225</c:v>
                </c:pt>
                <c:pt idx="1635">
                  <c:v>41983.135416666664</c:v>
                </c:pt>
                <c:pt idx="1636">
                  <c:v>41983.136111111111</c:v>
                </c:pt>
                <c:pt idx="1637">
                  <c:v>41983.136805555558</c:v>
                </c:pt>
                <c:pt idx="1638">
                  <c:v>41983.137499999997</c:v>
                </c:pt>
                <c:pt idx="1639">
                  <c:v>41983.138194444444</c:v>
                </c:pt>
                <c:pt idx="1640">
                  <c:v>41983.138888888891</c:v>
                </c:pt>
                <c:pt idx="1641">
                  <c:v>41983.13958333333</c:v>
                </c:pt>
                <c:pt idx="1642">
                  <c:v>41983.140277777777</c:v>
                </c:pt>
                <c:pt idx="1643">
                  <c:v>41983.140972222223</c:v>
                </c:pt>
                <c:pt idx="1644">
                  <c:v>41983.14166666667</c:v>
                </c:pt>
                <c:pt idx="1645">
                  <c:v>41983.142361111109</c:v>
                </c:pt>
                <c:pt idx="1646">
                  <c:v>41983.143055555556</c:v>
                </c:pt>
                <c:pt idx="1647">
                  <c:v>41983.143750000003</c:v>
                </c:pt>
                <c:pt idx="1648">
                  <c:v>41983.144444444442</c:v>
                </c:pt>
                <c:pt idx="1649">
                  <c:v>41983.145138888889</c:v>
                </c:pt>
                <c:pt idx="1650">
                  <c:v>41983.145833333336</c:v>
                </c:pt>
                <c:pt idx="1651">
                  <c:v>41983.146527777775</c:v>
                </c:pt>
                <c:pt idx="1652">
                  <c:v>41983.147222222222</c:v>
                </c:pt>
                <c:pt idx="1653">
                  <c:v>41983.147916666669</c:v>
                </c:pt>
                <c:pt idx="1654">
                  <c:v>41983.148611111108</c:v>
                </c:pt>
                <c:pt idx="1655">
                  <c:v>41983.149305555555</c:v>
                </c:pt>
                <c:pt idx="1656">
                  <c:v>41983.15</c:v>
                </c:pt>
                <c:pt idx="1657">
                  <c:v>41983.150694444441</c:v>
                </c:pt>
                <c:pt idx="1658">
                  <c:v>41983.151388888888</c:v>
                </c:pt>
                <c:pt idx="1659">
                  <c:v>41983.152083333334</c:v>
                </c:pt>
                <c:pt idx="1660">
                  <c:v>41983.152777777781</c:v>
                </c:pt>
                <c:pt idx="1661">
                  <c:v>41983.15347222222</c:v>
                </c:pt>
                <c:pt idx="1662">
                  <c:v>41983.154166666667</c:v>
                </c:pt>
                <c:pt idx="1663">
                  <c:v>41983.154861111114</c:v>
                </c:pt>
                <c:pt idx="1664">
                  <c:v>41983.155555555553</c:v>
                </c:pt>
                <c:pt idx="1665">
                  <c:v>41983.15625</c:v>
                </c:pt>
                <c:pt idx="1666">
                  <c:v>41983.156944444447</c:v>
                </c:pt>
                <c:pt idx="1667">
                  <c:v>41983.157638888886</c:v>
                </c:pt>
                <c:pt idx="1668">
                  <c:v>41983.158333333333</c:v>
                </c:pt>
                <c:pt idx="1669">
                  <c:v>41983.15902777778</c:v>
                </c:pt>
                <c:pt idx="1670">
                  <c:v>41983.159722222219</c:v>
                </c:pt>
                <c:pt idx="1671">
                  <c:v>41983.160416666666</c:v>
                </c:pt>
                <c:pt idx="1672">
                  <c:v>41983.161111111112</c:v>
                </c:pt>
                <c:pt idx="1673">
                  <c:v>41983.161805555559</c:v>
                </c:pt>
                <c:pt idx="1674">
                  <c:v>41983.162499999999</c:v>
                </c:pt>
                <c:pt idx="1675">
                  <c:v>41983.163194444445</c:v>
                </c:pt>
                <c:pt idx="1676">
                  <c:v>41983.163888888892</c:v>
                </c:pt>
                <c:pt idx="1677">
                  <c:v>41983.164583333331</c:v>
                </c:pt>
                <c:pt idx="1678">
                  <c:v>41983.165277777778</c:v>
                </c:pt>
                <c:pt idx="1679">
                  <c:v>41983.165972222225</c:v>
                </c:pt>
                <c:pt idx="1680">
                  <c:v>41983.166666666664</c:v>
                </c:pt>
                <c:pt idx="1681">
                  <c:v>41983.167361111111</c:v>
                </c:pt>
                <c:pt idx="1682">
                  <c:v>41983.168055555558</c:v>
                </c:pt>
                <c:pt idx="1683">
                  <c:v>41983.168749999997</c:v>
                </c:pt>
                <c:pt idx="1684">
                  <c:v>41983.169444444444</c:v>
                </c:pt>
                <c:pt idx="1685">
                  <c:v>41983.170138888891</c:v>
                </c:pt>
                <c:pt idx="1686">
                  <c:v>41983.17083333333</c:v>
                </c:pt>
                <c:pt idx="1687">
                  <c:v>41983.171527777777</c:v>
                </c:pt>
                <c:pt idx="1688">
                  <c:v>41983.172222222223</c:v>
                </c:pt>
                <c:pt idx="1689">
                  <c:v>41983.17291666667</c:v>
                </c:pt>
                <c:pt idx="1690">
                  <c:v>41983.173611111109</c:v>
                </c:pt>
                <c:pt idx="1691">
                  <c:v>41983.174305555556</c:v>
                </c:pt>
                <c:pt idx="1692">
                  <c:v>41983.175000000003</c:v>
                </c:pt>
                <c:pt idx="1693">
                  <c:v>41983.175694444442</c:v>
                </c:pt>
                <c:pt idx="1694">
                  <c:v>41983.176388888889</c:v>
                </c:pt>
                <c:pt idx="1695">
                  <c:v>41983.177083333336</c:v>
                </c:pt>
                <c:pt idx="1696">
                  <c:v>41983.177777777775</c:v>
                </c:pt>
                <c:pt idx="1697">
                  <c:v>41983.178472222222</c:v>
                </c:pt>
                <c:pt idx="1698">
                  <c:v>41983.179166666669</c:v>
                </c:pt>
                <c:pt idx="1699">
                  <c:v>41983.179861111108</c:v>
                </c:pt>
                <c:pt idx="1700">
                  <c:v>41983.180555555555</c:v>
                </c:pt>
                <c:pt idx="1701">
                  <c:v>41983.181250000001</c:v>
                </c:pt>
                <c:pt idx="1702">
                  <c:v>41983.181944444441</c:v>
                </c:pt>
                <c:pt idx="1703">
                  <c:v>41983.182638888888</c:v>
                </c:pt>
                <c:pt idx="1704">
                  <c:v>41983.183333333334</c:v>
                </c:pt>
                <c:pt idx="1705">
                  <c:v>41983.184027777781</c:v>
                </c:pt>
                <c:pt idx="1706">
                  <c:v>41983.18472222222</c:v>
                </c:pt>
                <c:pt idx="1707">
                  <c:v>41983.185416666667</c:v>
                </c:pt>
                <c:pt idx="1708">
                  <c:v>41983.186111111114</c:v>
                </c:pt>
                <c:pt idx="1709">
                  <c:v>41983.186805555553</c:v>
                </c:pt>
                <c:pt idx="1710">
                  <c:v>41983.1875</c:v>
                </c:pt>
                <c:pt idx="1711">
                  <c:v>41983.188194444447</c:v>
                </c:pt>
                <c:pt idx="1712">
                  <c:v>41983.188888888886</c:v>
                </c:pt>
                <c:pt idx="1713">
                  <c:v>41983.189583333333</c:v>
                </c:pt>
                <c:pt idx="1714">
                  <c:v>41983.19027777778</c:v>
                </c:pt>
                <c:pt idx="1715">
                  <c:v>41983.190972222219</c:v>
                </c:pt>
                <c:pt idx="1716">
                  <c:v>41983.191666666666</c:v>
                </c:pt>
                <c:pt idx="1717">
                  <c:v>41983.192361111112</c:v>
                </c:pt>
                <c:pt idx="1718">
                  <c:v>41983.193055555559</c:v>
                </c:pt>
                <c:pt idx="1719">
                  <c:v>41983.193749999999</c:v>
                </c:pt>
                <c:pt idx="1720">
                  <c:v>41983.194444444445</c:v>
                </c:pt>
                <c:pt idx="1721">
                  <c:v>41983.195138888892</c:v>
                </c:pt>
                <c:pt idx="1722">
                  <c:v>41983.195833333331</c:v>
                </c:pt>
                <c:pt idx="1723">
                  <c:v>41983.196527777778</c:v>
                </c:pt>
                <c:pt idx="1724">
                  <c:v>41983.197222222225</c:v>
                </c:pt>
                <c:pt idx="1725">
                  <c:v>41983.197916666664</c:v>
                </c:pt>
                <c:pt idx="1726">
                  <c:v>41983.198611111111</c:v>
                </c:pt>
                <c:pt idx="1727">
                  <c:v>41983.199305555558</c:v>
                </c:pt>
                <c:pt idx="1728">
                  <c:v>41983.199999999997</c:v>
                </c:pt>
                <c:pt idx="1729">
                  <c:v>41983.200694444444</c:v>
                </c:pt>
                <c:pt idx="1730">
                  <c:v>41983.201388888891</c:v>
                </c:pt>
                <c:pt idx="1731">
                  <c:v>41983.20208333333</c:v>
                </c:pt>
                <c:pt idx="1732">
                  <c:v>41983.202777777777</c:v>
                </c:pt>
                <c:pt idx="1733">
                  <c:v>41983.203472222223</c:v>
                </c:pt>
                <c:pt idx="1734">
                  <c:v>41983.20416666667</c:v>
                </c:pt>
                <c:pt idx="1735">
                  <c:v>41983.204861111109</c:v>
                </c:pt>
                <c:pt idx="1736">
                  <c:v>41983.205555555556</c:v>
                </c:pt>
                <c:pt idx="1737">
                  <c:v>41983.206250000003</c:v>
                </c:pt>
                <c:pt idx="1738">
                  <c:v>41983.206944444442</c:v>
                </c:pt>
                <c:pt idx="1739">
                  <c:v>41983.207638888889</c:v>
                </c:pt>
                <c:pt idx="1740">
                  <c:v>41983.208333333336</c:v>
                </c:pt>
                <c:pt idx="1741">
                  <c:v>41983.209027777775</c:v>
                </c:pt>
                <c:pt idx="1742">
                  <c:v>41983.209722222222</c:v>
                </c:pt>
                <c:pt idx="1743">
                  <c:v>41983.210416666669</c:v>
                </c:pt>
                <c:pt idx="1744">
                  <c:v>41983.211111111108</c:v>
                </c:pt>
                <c:pt idx="1745">
                  <c:v>41983.211805555555</c:v>
                </c:pt>
                <c:pt idx="1746">
                  <c:v>41983.212500000001</c:v>
                </c:pt>
                <c:pt idx="1747">
                  <c:v>41983.213194444441</c:v>
                </c:pt>
                <c:pt idx="1748">
                  <c:v>41983.213888888888</c:v>
                </c:pt>
                <c:pt idx="1749">
                  <c:v>41983.214583333334</c:v>
                </c:pt>
                <c:pt idx="1750">
                  <c:v>41983.215277777781</c:v>
                </c:pt>
                <c:pt idx="1751">
                  <c:v>41983.21597222222</c:v>
                </c:pt>
                <c:pt idx="1752">
                  <c:v>41983.216666666667</c:v>
                </c:pt>
                <c:pt idx="1753">
                  <c:v>41983.217361111114</c:v>
                </c:pt>
                <c:pt idx="1754">
                  <c:v>41983.218055555553</c:v>
                </c:pt>
                <c:pt idx="1755">
                  <c:v>41983.21875</c:v>
                </c:pt>
                <c:pt idx="1756">
                  <c:v>41983.219444444447</c:v>
                </c:pt>
                <c:pt idx="1757">
                  <c:v>41983.220138888886</c:v>
                </c:pt>
                <c:pt idx="1758">
                  <c:v>41983.220833333333</c:v>
                </c:pt>
                <c:pt idx="1759">
                  <c:v>41983.22152777778</c:v>
                </c:pt>
                <c:pt idx="1760">
                  <c:v>41983.222222222219</c:v>
                </c:pt>
                <c:pt idx="1761">
                  <c:v>41983.222916666666</c:v>
                </c:pt>
                <c:pt idx="1762">
                  <c:v>41983.223611111112</c:v>
                </c:pt>
                <c:pt idx="1763">
                  <c:v>41983.224305555559</c:v>
                </c:pt>
                <c:pt idx="1764">
                  <c:v>41983.224999999999</c:v>
                </c:pt>
                <c:pt idx="1765">
                  <c:v>41983.225694444445</c:v>
                </c:pt>
                <c:pt idx="1766">
                  <c:v>41983.226388888892</c:v>
                </c:pt>
                <c:pt idx="1767">
                  <c:v>41983.227083333331</c:v>
                </c:pt>
                <c:pt idx="1768">
                  <c:v>41983.227777777778</c:v>
                </c:pt>
                <c:pt idx="1769">
                  <c:v>41983.228472222225</c:v>
                </c:pt>
                <c:pt idx="1770">
                  <c:v>41983.229166666664</c:v>
                </c:pt>
                <c:pt idx="1771">
                  <c:v>41983.229861111111</c:v>
                </c:pt>
                <c:pt idx="1772">
                  <c:v>41983.230555555558</c:v>
                </c:pt>
                <c:pt idx="1773">
                  <c:v>41983.231249999997</c:v>
                </c:pt>
                <c:pt idx="1774">
                  <c:v>41983.231944444444</c:v>
                </c:pt>
                <c:pt idx="1775">
                  <c:v>41983.232638888891</c:v>
                </c:pt>
                <c:pt idx="1776">
                  <c:v>41983.23333333333</c:v>
                </c:pt>
                <c:pt idx="1777">
                  <c:v>41983.234027777777</c:v>
                </c:pt>
                <c:pt idx="1778">
                  <c:v>41983.234722222223</c:v>
                </c:pt>
                <c:pt idx="1779">
                  <c:v>41983.23541666667</c:v>
                </c:pt>
                <c:pt idx="1780">
                  <c:v>41983.236111111109</c:v>
                </c:pt>
                <c:pt idx="1781">
                  <c:v>41983.236805555556</c:v>
                </c:pt>
                <c:pt idx="1782">
                  <c:v>41983.237500000003</c:v>
                </c:pt>
                <c:pt idx="1783">
                  <c:v>41983.238194444442</c:v>
                </c:pt>
                <c:pt idx="1784">
                  <c:v>41983.238888888889</c:v>
                </c:pt>
                <c:pt idx="1785">
                  <c:v>41983.239583333336</c:v>
                </c:pt>
                <c:pt idx="1786">
                  <c:v>41983.240277777775</c:v>
                </c:pt>
                <c:pt idx="1787">
                  <c:v>41983.240972222222</c:v>
                </c:pt>
                <c:pt idx="1788">
                  <c:v>41983.241666666669</c:v>
                </c:pt>
                <c:pt idx="1789">
                  <c:v>41983.242361111108</c:v>
                </c:pt>
                <c:pt idx="1790">
                  <c:v>41983.243055555555</c:v>
                </c:pt>
                <c:pt idx="1791">
                  <c:v>41983.243750000001</c:v>
                </c:pt>
                <c:pt idx="1792">
                  <c:v>41983.244444444441</c:v>
                </c:pt>
                <c:pt idx="1793">
                  <c:v>41983.245138888888</c:v>
                </c:pt>
                <c:pt idx="1794">
                  <c:v>41983.245833333334</c:v>
                </c:pt>
                <c:pt idx="1795">
                  <c:v>41983.246527777781</c:v>
                </c:pt>
                <c:pt idx="1796">
                  <c:v>41983.24722222222</c:v>
                </c:pt>
                <c:pt idx="1797">
                  <c:v>41983.247916666667</c:v>
                </c:pt>
                <c:pt idx="1798">
                  <c:v>41983.248611111114</c:v>
                </c:pt>
                <c:pt idx="1799">
                  <c:v>41983.249305555553</c:v>
                </c:pt>
                <c:pt idx="1800">
                  <c:v>41983.25</c:v>
                </c:pt>
                <c:pt idx="1801">
                  <c:v>41983.250694444447</c:v>
                </c:pt>
                <c:pt idx="1802">
                  <c:v>41983.251388888886</c:v>
                </c:pt>
                <c:pt idx="1803">
                  <c:v>41983.252083333333</c:v>
                </c:pt>
                <c:pt idx="1804">
                  <c:v>41983.25277777778</c:v>
                </c:pt>
                <c:pt idx="1805">
                  <c:v>41983.253472222219</c:v>
                </c:pt>
                <c:pt idx="1806">
                  <c:v>41983.254166666666</c:v>
                </c:pt>
                <c:pt idx="1807">
                  <c:v>41983.254861111112</c:v>
                </c:pt>
                <c:pt idx="1808">
                  <c:v>41983.255555555559</c:v>
                </c:pt>
                <c:pt idx="1809">
                  <c:v>41983.256249999999</c:v>
                </c:pt>
                <c:pt idx="1810">
                  <c:v>41983.256944444445</c:v>
                </c:pt>
                <c:pt idx="1811">
                  <c:v>41983.257638888892</c:v>
                </c:pt>
                <c:pt idx="1812">
                  <c:v>41983.258333333331</c:v>
                </c:pt>
                <c:pt idx="1813">
                  <c:v>41983.259027777778</c:v>
                </c:pt>
                <c:pt idx="1814">
                  <c:v>41983.259722222225</c:v>
                </c:pt>
                <c:pt idx="1815">
                  <c:v>41983.260416666664</c:v>
                </c:pt>
                <c:pt idx="1816">
                  <c:v>41983.261111111111</c:v>
                </c:pt>
                <c:pt idx="1817">
                  <c:v>41983.261805555558</c:v>
                </c:pt>
                <c:pt idx="1818">
                  <c:v>41983.262499999997</c:v>
                </c:pt>
                <c:pt idx="1819">
                  <c:v>41983.263194444444</c:v>
                </c:pt>
                <c:pt idx="1820">
                  <c:v>41983.263888888891</c:v>
                </c:pt>
                <c:pt idx="1821">
                  <c:v>41983.26458333333</c:v>
                </c:pt>
                <c:pt idx="1822">
                  <c:v>41983.265277777777</c:v>
                </c:pt>
                <c:pt idx="1823">
                  <c:v>41983.265972222223</c:v>
                </c:pt>
                <c:pt idx="1824">
                  <c:v>41983.26666666667</c:v>
                </c:pt>
                <c:pt idx="1825">
                  <c:v>41983.267361111109</c:v>
                </c:pt>
                <c:pt idx="1826">
                  <c:v>41983.268055555556</c:v>
                </c:pt>
                <c:pt idx="1827">
                  <c:v>41983.268750000003</c:v>
                </c:pt>
                <c:pt idx="1828">
                  <c:v>41983.269444444442</c:v>
                </c:pt>
                <c:pt idx="1829">
                  <c:v>41983.270138888889</c:v>
                </c:pt>
                <c:pt idx="1830">
                  <c:v>41983.270833333336</c:v>
                </c:pt>
                <c:pt idx="1831">
                  <c:v>41983.271527777775</c:v>
                </c:pt>
                <c:pt idx="1832">
                  <c:v>41983.272222222222</c:v>
                </c:pt>
                <c:pt idx="1833">
                  <c:v>41983.272916666669</c:v>
                </c:pt>
                <c:pt idx="1834">
                  <c:v>41983.273611111108</c:v>
                </c:pt>
                <c:pt idx="1835">
                  <c:v>41983.274305555555</c:v>
                </c:pt>
                <c:pt idx="1836">
                  <c:v>41983.275000000001</c:v>
                </c:pt>
                <c:pt idx="1837">
                  <c:v>41983.275694444441</c:v>
                </c:pt>
                <c:pt idx="1838">
                  <c:v>41983.276388888888</c:v>
                </c:pt>
                <c:pt idx="1839">
                  <c:v>41983.277083333334</c:v>
                </c:pt>
                <c:pt idx="1840">
                  <c:v>41983.277777777781</c:v>
                </c:pt>
                <c:pt idx="1841">
                  <c:v>41983.27847222222</c:v>
                </c:pt>
                <c:pt idx="1842">
                  <c:v>41983.279166666667</c:v>
                </c:pt>
                <c:pt idx="1843">
                  <c:v>41983.279861111114</c:v>
                </c:pt>
                <c:pt idx="1844">
                  <c:v>41983.280555555553</c:v>
                </c:pt>
                <c:pt idx="1845">
                  <c:v>41983.28125</c:v>
                </c:pt>
                <c:pt idx="1846">
                  <c:v>41983.281944444447</c:v>
                </c:pt>
                <c:pt idx="1847">
                  <c:v>41983.282638888886</c:v>
                </c:pt>
                <c:pt idx="1848">
                  <c:v>41983.283333333333</c:v>
                </c:pt>
                <c:pt idx="1849">
                  <c:v>41983.28402777778</c:v>
                </c:pt>
                <c:pt idx="1850">
                  <c:v>41983.284722222219</c:v>
                </c:pt>
                <c:pt idx="1851">
                  <c:v>41983.285416666666</c:v>
                </c:pt>
                <c:pt idx="1852">
                  <c:v>41983.286111111112</c:v>
                </c:pt>
                <c:pt idx="1853">
                  <c:v>41983.286805555559</c:v>
                </c:pt>
                <c:pt idx="1854">
                  <c:v>41983.287499999999</c:v>
                </c:pt>
                <c:pt idx="1855">
                  <c:v>41983.288194444445</c:v>
                </c:pt>
                <c:pt idx="1856">
                  <c:v>41983.288888888892</c:v>
                </c:pt>
                <c:pt idx="1857">
                  <c:v>41983.289583333331</c:v>
                </c:pt>
                <c:pt idx="1858">
                  <c:v>41983.290277777778</c:v>
                </c:pt>
                <c:pt idx="1859">
                  <c:v>41983.290972222225</c:v>
                </c:pt>
                <c:pt idx="1860">
                  <c:v>41983.291666666664</c:v>
                </c:pt>
                <c:pt idx="1861">
                  <c:v>41983.292361111111</c:v>
                </c:pt>
                <c:pt idx="1862">
                  <c:v>41983.293055555558</c:v>
                </c:pt>
                <c:pt idx="1863">
                  <c:v>41983.293749999997</c:v>
                </c:pt>
                <c:pt idx="1864">
                  <c:v>41983.294444444444</c:v>
                </c:pt>
                <c:pt idx="1865">
                  <c:v>41983.295138888891</c:v>
                </c:pt>
                <c:pt idx="1866">
                  <c:v>41983.29583333333</c:v>
                </c:pt>
                <c:pt idx="1867">
                  <c:v>41983.296527777777</c:v>
                </c:pt>
                <c:pt idx="1868">
                  <c:v>41983.297222222223</c:v>
                </c:pt>
                <c:pt idx="1869">
                  <c:v>41983.29791666667</c:v>
                </c:pt>
                <c:pt idx="1870">
                  <c:v>41983.298611111109</c:v>
                </c:pt>
                <c:pt idx="1871">
                  <c:v>41983.299305555556</c:v>
                </c:pt>
                <c:pt idx="1872">
                  <c:v>41983.3</c:v>
                </c:pt>
                <c:pt idx="1873">
                  <c:v>41983.300694444442</c:v>
                </c:pt>
                <c:pt idx="1874">
                  <c:v>41983.301388888889</c:v>
                </c:pt>
                <c:pt idx="1875">
                  <c:v>41983.302083333336</c:v>
                </c:pt>
                <c:pt idx="1876">
                  <c:v>41983.302777777775</c:v>
                </c:pt>
                <c:pt idx="1877">
                  <c:v>41983.303472222222</c:v>
                </c:pt>
                <c:pt idx="1878">
                  <c:v>41983.304166666669</c:v>
                </c:pt>
                <c:pt idx="1879">
                  <c:v>41983.304861111108</c:v>
                </c:pt>
                <c:pt idx="1880">
                  <c:v>41983.305555555555</c:v>
                </c:pt>
                <c:pt idx="1881">
                  <c:v>41983.306250000001</c:v>
                </c:pt>
                <c:pt idx="1882">
                  <c:v>41983.306944444441</c:v>
                </c:pt>
                <c:pt idx="1883">
                  <c:v>41983.307638888888</c:v>
                </c:pt>
                <c:pt idx="1884">
                  <c:v>41983.308333333334</c:v>
                </c:pt>
                <c:pt idx="1885">
                  <c:v>41983.309027777781</c:v>
                </c:pt>
                <c:pt idx="1886">
                  <c:v>41983.30972222222</c:v>
                </c:pt>
                <c:pt idx="1887">
                  <c:v>41983.310416666667</c:v>
                </c:pt>
                <c:pt idx="1888">
                  <c:v>41983.311111111114</c:v>
                </c:pt>
                <c:pt idx="1889">
                  <c:v>41983.311805555553</c:v>
                </c:pt>
                <c:pt idx="1890">
                  <c:v>41983.3125</c:v>
                </c:pt>
                <c:pt idx="1891">
                  <c:v>41983.313194444447</c:v>
                </c:pt>
                <c:pt idx="1892">
                  <c:v>41983.313888888886</c:v>
                </c:pt>
                <c:pt idx="1893">
                  <c:v>41983.314583333333</c:v>
                </c:pt>
                <c:pt idx="1894">
                  <c:v>41983.31527777778</c:v>
                </c:pt>
                <c:pt idx="1895">
                  <c:v>41983.315972222219</c:v>
                </c:pt>
                <c:pt idx="1896">
                  <c:v>41983.316666666666</c:v>
                </c:pt>
                <c:pt idx="1897">
                  <c:v>41983.317361111112</c:v>
                </c:pt>
                <c:pt idx="1898">
                  <c:v>41983.318055555559</c:v>
                </c:pt>
                <c:pt idx="1899">
                  <c:v>41983.318749999999</c:v>
                </c:pt>
                <c:pt idx="1900">
                  <c:v>41983.319444444445</c:v>
                </c:pt>
                <c:pt idx="1901">
                  <c:v>41983.320138888892</c:v>
                </c:pt>
                <c:pt idx="1902">
                  <c:v>41983.320833333331</c:v>
                </c:pt>
                <c:pt idx="1903">
                  <c:v>41983.321527777778</c:v>
                </c:pt>
                <c:pt idx="1904">
                  <c:v>41983.322222222225</c:v>
                </c:pt>
                <c:pt idx="1905">
                  <c:v>41983.322916666664</c:v>
                </c:pt>
                <c:pt idx="1906">
                  <c:v>41983.323611111111</c:v>
                </c:pt>
                <c:pt idx="1907">
                  <c:v>41983.324305555558</c:v>
                </c:pt>
                <c:pt idx="1908">
                  <c:v>41983.324999999997</c:v>
                </c:pt>
                <c:pt idx="1909">
                  <c:v>41983.325694444444</c:v>
                </c:pt>
                <c:pt idx="1910">
                  <c:v>41983.326388888891</c:v>
                </c:pt>
                <c:pt idx="1911">
                  <c:v>41983.32708333333</c:v>
                </c:pt>
                <c:pt idx="1912">
                  <c:v>41983.327777777777</c:v>
                </c:pt>
                <c:pt idx="1913">
                  <c:v>41983.328472222223</c:v>
                </c:pt>
                <c:pt idx="1914">
                  <c:v>41983.32916666667</c:v>
                </c:pt>
                <c:pt idx="1915">
                  <c:v>41983.329861111109</c:v>
                </c:pt>
                <c:pt idx="1916">
                  <c:v>41983.330555555556</c:v>
                </c:pt>
                <c:pt idx="1917">
                  <c:v>41983.331250000003</c:v>
                </c:pt>
                <c:pt idx="1918">
                  <c:v>41983.331944444442</c:v>
                </c:pt>
                <c:pt idx="1919">
                  <c:v>41983.332638888889</c:v>
                </c:pt>
                <c:pt idx="1920">
                  <c:v>41983.333333333336</c:v>
                </c:pt>
                <c:pt idx="1921">
                  <c:v>41983.334027777775</c:v>
                </c:pt>
                <c:pt idx="1922">
                  <c:v>41983.334722222222</c:v>
                </c:pt>
                <c:pt idx="1923">
                  <c:v>41983.335416666669</c:v>
                </c:pt>
                <c:pt idx="1924">
                  <c:v>41983.336111111108</c:v>
                </c:pt>
                <c:pt idx="1925">
                  <c:v>41983.336805555555</c:v>
                </c:pt>
                <c:pt idx="1926">
                  <c:v>41983.337500000001</c:v>
                </c:pt>
                <c:pt idx="1927">
                  <c:v>41983.338194444441</c:v>
                </c:pt>
                <c:pt idx="1928">
                  <c:v>41983.338888888888</c:v>
                </c:pt>
                <c:pt idx="1929">
                  <c:v>41983.339583333334</c:v>
                </c:pt>
                <c:pt idx="1930">
                  <c:v>41983.340277777781</c:v>
                </c:pt>
                <c:pt idx="1931">
                  <c:v>41983.34097222222</c:v>
                </c:pt>
                <c:pt idx="1932">
                  <c:v>41983.341666666667</c:v>
                </c:pt>
                <c:pt idx="1933">
                  <c:v>41983.342361111114</c:v>
                </c:pt>
                <c:pt idx="1934">
                  <c:v>41983.343055555553</c:v>
                </c:pt>
                <c:pt idx="1935">
                  <c:v>41983.34375</c:v>
                </c:pt>
                <c:pt idx="1936">
                  <c:v>41983.344444444447</c:v>
                </c:pt>
                <c:pt idx="1937">
                  <c:v>41983.345138888886</c:v>
                </c:pt>
                <c:pt idx="1938">
                  <c:v>41983.345833333333</c:v>
                </c:pt>
                <c:pt idx="1939">
                  <c:v>41983.34652777778</c:v>
                </c:pt>
                <c:pt idx="1940">
                  <c:v>41983.347222222219</c:v>
                </c:pt>
                <c:pt idx="1941">
                  <c:v>41983.347916666666</c:v>
                </c:pt>
                <c:pt idx="1942">
                  <c:v>41983.348611111112</c:v>
                </c:pt>
                <c:pt idx="1943">
                  <c:v>41983.349305555559</c:v>
                </c:pt>
                <c:pt idx="1944">
                  <c:v>41983.35</c:v>
                </c:pt>
                <c:pt idx="1945">
                  <c:v>41983.350694444445</c:v>
                </c:pt>
                <c:pt idx="1946">
                  <c:v>41983.351388888892</c:v>
                </c:pt>
                <c:pt idx="1947">
                  <c:v>41983.352083333331</c:v>
                </c:pt>
                <c:pt idx="1948">
                  <c:v>41983.352777777778</c:v>
                </c:pt>
                <c:pt idx="1949">
                  <c:v>41983.353472222225</c:v>
                </c:pt>
                <c:pt idx="1950">
                  <c:v>41983.354166666664</c:v>
                </c:pt>
                <c:pt idx="1951">
                  <c:v>41983.354861111111</c:v>
                </c:pt>
                <c:pt idx="1952">
                  <c:v>41983.355555555558</c:v>
                </c:pt>
                <c:pt idx="1953">
                  <c:v>41983.356249999997</c:v>
                </c:pt>
                <c:pt idx="1954">
                  <c:v>41983.356944444444</c:v>
                </c:pt>
                <c:pt idx="1955">
                  <c:v>41983.357638888891</c:v>
                </c:pt>
                <c:pt idx="1956">
                  <c:v>41983.35833333333</c:v>
                </c:pt>
                <c:pt idx="1957">
                  <c:v>41983.359027777777</c:v>
                </c:pt>
                <c:pt idx="1958">
                  <c:v>41983.359722222223</c:v>
                </c:pt>
                <c:pt idx="1959">
                  <c:v>41983.36041666667</c:v>
                </c:pt>
                <c:pt idx="1960">
                  <c:v>41983.361111111109</c:v>
                </c:pt>
                <c:pt idx="1961">
                  <c:v>41983.361805555556</c:v>
                </c:pt>
                <c:pt idx="1962">
                  <c:v>41983.362500000003</c:v>
                </c:pt>
                <c:pt idx="1963">
                  <c:v>41983.363194444442</c:v>
                </c:pt>
                <c:pt idx="1964">
                  <c:v>41983.363888888889</c:v>
                </c:pt>
                <c:pt idx="1965">
                  <c:v>41983.364583333336</c:v>
                </c:pt>
                <c:pt idx="1966">
                  <c:v>41983.365277777775</c:v>
                </c:pt>
                <c:pt idx="1967">
                  <c:v>41983.365972222222</c:v>
                </c:pt>
                <c:pt idx="1968">
                  <c:v>41983.366666666669</c:v>
                </c:pt>
                <c:pt idx="1969">
                  <c:v>41983.367361111108</c:v>
                </c:pt>
                <c:pt idx="1970">
                  <c:v>41983.368055555555</c:v>
                </c:pt>
                <c:pt idx="1971">
                  <c:v>41983.368750000001</c:v>
                </c:pt>
                <c:pt idx="1972">
                  <c:v>41983.369444444441</c:v>
                </c:pt>
                <c:pt idx="1973">
                  <c:v>41983.370138888888</c:v>
                </c:pt>
                <c:pt idx="1974">
                  <c:v>41983.370833333334</c:v>
                </c:pt>
                <c:pt idx="1975">
                  <c:v>41983.371527777781</c:v>
                </c:pt>
                <c:pt idx="1976">
                  <c:v>41983.37222222222</c:v>
                </c:pt>
                <c:pt idx="1977">
                  <c:v>41983.372916666667</c:v>
                </c:pt>
                <c:pt idx="1978">
                  <c:v>41983.373611111114</c:v>
                </c:pt>
                <c:pt idx="1979">
                  <c:v>41983.374305555553</c:v>
                </c:pt>
                <c:pt idx="1980">
                  <c:v>41983.375</c:v>
                </c:pt>
                <c:pt idx="1981">
                  <c:v>41983.375694444447</c:v>
                </c:pt>
                <c:pt idx="1982">
                  <c:v>41983.376388888886</c:v>
                </c:pt>
                <c:pt idx="1983">
                  <c:v>41983.377083333333</c:v>
                </c:pt>
                <c:pt idx="1984">
                  <c:v>41983.37777777778</c:v>
                </c:pt>
                <c:pt idx="1985">
                  <c:v>41983.378472222219</c:v>
                </c:pt>
                <c:pt idx="1986">
                  <c:v>41983.379166666666</c:v>
                </c:pt>
                <c:pt idx="1987">
                  <c:v>41983.379861111112</c:v>
                </c:pt>
                <c:pt idx="1988">
                  <c:v>41983.380555555559</c:v>
                </c:pt>
                <c:pt idx="1989">
                  <c:v>41983.381249999999</c:v>
                </c:pt>
                <c:pt idx="1990">
                  <c:v>41983.381944444445</c:v>
                </c:pt>
                <c:pt idx="1991">
                  <c:v>41983.382638888892</c:v>
                </c:pt>
                <c:pt idx="1992">
                  <c:v>41983.383333333331</c:v>
                </c:pt>
                <c:pt idx="1993">
                  <c:v>41983.384027777778</c:v>
                </c:pt>
                <c:pt idx="1994">
                  <c:v>41983.384722222225</c:v>
                </c:pt>
                <c:pt idx="1995">
                  <c:v>41983.385416666664</c:v>
                </c:pt>
                <c:pt idx="1996">
                  <c:v>41983.386111111111</c:v>
                </c:pt>
                <c:pt idx="1997">
                  <c:v>41983.386805555558</c:v>
                </c:pt>
                <c:pt idx="1998">
                  <c:v>41983.387499999997</c:v>
                </c:pt>
                <c:pt idx="1999">
                  <c:v>41983.388194444444</c:v>
                </c:pt>
                <c:pt idx="2000">
                  <c:v>41983.388888888891</c:v>
                </c:pt>
                <c:pt idx="2001">
                  <c:v>41983.38958333333</c:v>
                </c:pt>
                <c:pt idx="2002">
                  <c:v>41983.390277777777</c:v>
                </c:pt>
                <c:pt idx="2003">
                  <c:v>41983.390972222223</c:v>
                </c:pt>
                <c:pt idx="2004">
                  <c:v>41983.39166666667</c:v>
                </c:pt>
                <c:pt idx="2005">
                  <c:v>41983.392361111109</c:v>
                </c:pt>
                <c:pt idx="2006">
                  <c:v>41983.393055555556</c:v>
                </c:pt>
                <c:pt idx="2007">
                  <c:v>41983.393750000003</c:v>
                </c:pt>
                <c:pt idx="2008">
                  <c:v>41983.394444444442</c:v>
                </c:pt>
                <c:pt idx="2009">
                  <c:v>41983.395138888889</c:v>
                </c:pt>
                <c:pt idx="2010">
                  <c:v>41983.395833333336</c:v>
                </c:pt>
                <c:pt idx="2011">
                  <c:v>41983.396527777775</c:v>
                </c:pt>
                <c:pt idx="2012">
                  <c:v>41983.397222222222</c:v>
                </c:pt>
                <c:pt idx="2013">
                  <c:v>41983.397916666669</c:v>
                </c:pt>
                <c:pt idx="2014">
                  <c:v>41983.398611111108</c:v>
                </c:pt>
                <c:pt idx="2015">
                  <c:v>41983.399305555555</c:v>
                </c:pt>
                <c:pt idx="2016">
                  <c:v>41983.4</c:v>
                </c:pt>
                <c:pt idx="2017">
                  <c:v>41983.400694444441</c:v>
                </c:pt>
                <c:pt idx="2018">
                  <c:v>41983.401388888888</c:v>
                </c:pt>
                <c:pt idx="2019">
                  <c:v>41983.402083333334</c:v>
                </c:pt>
                <c:pt idx="2020">
                  <c:v>41983.402777777781</c:v>
                </c:pt>
                <c:pt idx="2021">
                  <c:v>41983.40347222222</c:v>
                </c:pt>
                <c:pt idx="2022">
                  <c:v>41983.404166666667</c:v>
                </c:pt>
                <c:pt idx="2023">
                  <c:v>41983.404861111114</c:v>
                </c:pt>
                <c:pt idx="2024">
                  <c:v>41983.405555555553</c:v>
                </c:pt>
                <c:pt idx="2025">
                  <c:v>41983.40625</c:v>
                </c:pt>
                <c:pt idx="2026">
                  <c:v>41983.406944444447</c:v>
                </c:pt>
                <c:pt idx="2027">
                  <c:v>41983.407638888886</c:v>
                </c:pt>
                <c:pt idx="2028">
                  <c:v>41983.408333333333</c:v>
                </c:pt>
                <c:pt idx="2029">
                  <c:v>41983.40902777778</c:v>
                </c:pt>
                <c:pt idx="2030">
                  <c:v>41983.409722222219</c:v>
                </c:pt>
                <c:pt idx="2031">
                  <c:v>41983.410416666666</c:v>
                </c:pt>
                <c:pt idx="2032">
                  <c:v>41983.411111111112</c:v>
                </c:pt>
                <c:pt idx="2033">
                  <c:v>41983.411805555559</c:v>
                </c:pt>
                <c:pt idx="2034">
                  <c:v>41983.412499999999</c:v>
                </c:pt>
                <c:pt idx="2035">
                  <c:v>41983.413194444445</c:v>
                </c:pt>
                <c:pt idx="2036">
                  <c:v>41983.413888888892</c:v>
                </c:pt>
                <c:pt idx="2037">
                  <c:v>41983.414583333331</c:v>
                </c:pt>
                <c:pt idx="2038">
                  <c:v>41983.415277777778</c:v>
                </c:pt>
                <c:pt idx="2039">
                  <c:v>41983.415972222225</c:v>
                </c:pt>
                <c:pt idx="2040">
                  <c:v>41983.416666666664</c:v>
                </c:pt>
                <c:pt idx="2041">
                  <c:v>41983.417361111111</c:v>
                </c:pt>
                <c:pt idx="2042">
                  <c:v>41983.418055555558</c:v>
                </c:pt>
                <c:pt idx="2043">
                  <c:v>41983.418749999997</c:v>
                </c:pt>
                <c:pt idx="2044">
                  <c:v>41983.419444444444</c:v>
                </c:pt>
                <c:pt idx="2045">
                  <c:v>41983.420138888891</c:v>
                </c:pt>
                <c:pt idx="2046">
                  <c:v>41983.42083333333</c:v>
                </c:pt>
                <c:pt idx="2047">
                  <c:v>41983.421527777777</c:v>
                </c:pt>
                <c:pt idx="2048">
                  <c:v>41983.422222222223</c:v>
                </c:pt>
                <c:pt idx="2049">
                  <c:v>41983.42291666667</c:v>
                </c:pt>
                <c:pt idx="2050">
                  <c:v>41983.423611111109</c:v>
                </c:pt>
                <c:pt idx="2051">
                  <c:v>41983.424305555556</c:v>
                </c:pt>
                <c:pt idx="2052">
                  <c:v>41983.425000000003</c:v>
                </c:pt>
                <c:pt idx="2053">
                  <c:v>41983.425694444442</c:v>
                </c:pt>
                <c:pt idx="2054">
                  <c:v>41983.426388888889</c:v>
                </c:pt>
                <c:pt idx="2055">
                  <c:v>41983.427083333336</c:v>
                </c:pt>
                <c:pt idx="2056">
                  <c:v>41983.427777777775</c:v>
                </c:pt>
                <c:pt idx="2057">
                  <c:v>41983.428472222222</c:v>
                </c:pt>
                <c:pt idx="2058">
                  <c:v>41983.429166666669</c:v>
                </c:pt>
                <c:pt idx="2059">
                  <c:v>41983.429861111108</c:v>
                </c:pt>
                <c:pt idx="2060">
                  <c:v>41983.430555555555</c:v>
                </c:pt>
                <c:pt idx="2061">
                  <c:v>41983.431250000001</c:v>
                </c:pt>
                <c:pt idx="2062">
                  <c:v>41983.431944444441</c:v>
                </c:pt>
                <c:pt idx="2063">
                  <c:v>41983.432638888888</c:v>
                </c:pt>
                <c:pt idx="2064">
                  <c:v>41983.433333333334</c:v>
                </c:pt>
                <c:pt idx="2065">
                  <c:v>41983.434027777781</c:v>
                </c:pt>
                <c:pt idx="2066">
                  <c:v>41983.43472222222</c:v>
                </c:pt>
                <c:pt idx="2067">
                  <c:v>41983.435416666667</c:v>
                </c:pt>
                <c:pt idx="2068">
                  <c:v>41983.436111111114</c:v>
                </c:pt>
                <c:pt idx="2069">
                  <c:v>41983.436805555553</c:v>
                </c:pt>
                <c:pt idx="2070">
                  <c:v>41983.4375</c:v>
                </c:pt>
                <c:pt idx="2071">
                  <c:v>41983.438194444447</c:v>
                </c:pt>
                <c:pt idx="2072">
                  <c:v>41983.438888888886</c:v>
                </c:pt>
                <c:pt idx="2073">
                  <c:v>41983.439583333333</c:v>
                </c:pt>
                <c:pt idx="2074">
                  <c:v>41983.44027777778</c:v>
                </c:pt>
                <c:pt idx="2075">
                  <c:v>41983.440972222219</c:v>
                </c:pt>
                <c:pt idx="2076">
                  <c:v>41983.441666666666</c:v>
                </c:pt>
                <c:pt idx="2077">
                  <c:v>41983.442361111112</c:v>
                </c:pt>
                <c:pt idx="2078">
                  <c:v>41983.443055555559</c:v>
                </c:pt>
                <c:pt idx="2079">
                  <c:v>41983.443749999999</c:v>
                </c:pt>
                <c:pt idx="2080">
                  <c:v>41983.444444444445</c:v>
                </c:pt>
                <c:pt idx="2081">
                  <c:v>41983.445138888892</c:v>
                </c:pt>
                <c:pt idx="2082">
                  <c:v>41983.445833333331</c:v>
                </c:pt>
                <c:pt idx="2083">
                  <c:v>41983.446527777778</c:v>
                </c:pt>
                <c:pt idx="2084">
                  <c:v>41983.447222222225</c:v>
                </c:pt>
                <c:pt idx="2085">
                  <c:v>41983.447916666664</c:v>
                </c:pt>
                <c:pt idx="2086">
                  <c:v>41983.448611111111</c:v>
                </c:pt>
                <c:pt idx="2087">
                  <c:v>41983.449305555558</c:v>
                </c:pt>
                <c:pt idx="2088">
                  <c:v>41983.45</c:v>
                </c:pt>
                <c:pt idx="2089">
                  <c:v>41983.450694444444</c:v>
                </c:pt>
                <c:pt idx="2090">
                  <c:v>41983.451388888891</c:v>
                </c:pt>
                <c:pt idx="2091">
                  <c:v>41983.45208333333</c:v>
                </c:pt>
                <c:pt idx="2092">
                  <c:v>41983.452777777777</c:v>
                </c:pt>
                <c:pt idx="2093">
                  <c:v>41983.453472222223</c:v>
                </c:pt>
                <c:pt idx="2094">
                  <c:v>41983.45416666667</c:v>
                </c:pt>
                <c:pt idx="2095">
                  <c:v>41983.454861111109</c:v>
                </c:pt>
                <c:pt idx="2096">
                  <c:v>41983.455555555556</c:v>
                </c:pt>
                <c:pt idx="2097">
                  <c:v>41983.456250000003</c:v>
                </c:pt>
                <c:pt idx="2098">
                  <c:v>41983.456944444442</c:v>
                </c:pt>
                <c:pt idx="2099">
                  <c:v>41983.457638888889</c:v>
                </c:pt>
                <c:pt idx="2100">
                  <c:v>41983.458333333336</c:v>
                </c:pt>
                <c:pt idx="2101">
                  <c:v>41983.459027777775</c:v>
                </c:pt>
                <c:pt idx="2102">
                  <c:v>41983.459722222222</c:v>
                </c:pt>
                <c:pt idx="2103">
                  <c:v>41983.460416666669</c:v>
                </c:pt>
                <c:pt idx="2104">
                  <c:v>41983.461111111108</c:v>
                </c:pt>
                <c:pt idx="2105">
                  <c:v>41983.461805555555</c:v>
                </c:pt>
                <c:pt idx="2106">
                  <c:v>41983.462500000001</c:v>
                </c:pt>
                <c:pt idx="2107">
                  <c:v>41983.463194444441</c:v>
                </c:pt>
                <c:pt idx="2108">
                  <c:v>41983.463888888888</c:v>
                </c:pt>
                <c:pt idx="2109">
                  <c:v>41983.464583333334</c:v>
                </c:pt>
                <c:pt idx="2110">
                  <c:v>41983.465277777781</c:v>
                </c:pt>
                <c:pt idx="2111">
                  <c:v>41983.46597222222</c:v>
                </c:pt>
                <c:pt idx="2112">
                  <c:v>41983.466666666667</c:v>
                </c:pt>
                <c:pt idx="2113">
                  <c:v>41983.467361111114</c:v>
                </c:pt>
                <c:pt idx="2114">
                  <c:v>41983.468055555553</c:v>
                </c:pt>
                <c:pt idx="2115">
                  <c:v>41983.46875</c:v>
                </c:pt>
                <c:pt idx="2116">
                  <c:v>41983.469444444447</c:v>
                </c:pt>
                <c:pt idx="2117">
                  <c:v>41983.470138888886</c:v>
                </c:pt>
                <c:pt idx="2118">
                  <c:v>41983.470833333333</c:v>
                </c:pt>
                <c:pt idx="2119">
                  <c:v>41983.47152777778</c:v>
                </c:pt>
                <c:pt idx="2120">
                  <c:v>41983.472222222219</c:v>
                </c:pt>
                <c:pt idx="2121">
                  <c:v>41983.472916666666</c:v>
                </c:pt>
                <c:pt idx="2122">
                  <c:v>41983.473611111112</c:v>
                </c:pt>
                <c:pt idx="2123">
                  <c:v>41983.474305555559</c:v>
                </c:pt>
                <c:pt idx="2124">
                  <c:v>41983.474999999999</c:v>
                </c:pt>
                <c:pt idx="2125">
                  <c:v>41983.475694444445</c:v>
                </c:pt>
                <c:pt idx="2126">
                  <c:v>41983.476388888892</c:v>
                </c:pt>
                <c:pt idx="2127">
                  <c:v>41983.477083333331</c:v>
                </c:pt>
                <c:pt idx="2128">
                  <c:v>41983.477777777778</c:v>
                </c:pt>
                <c:pt idx="2129">
                  <c:v>41983.478472222225</c:v>
                </c:pt>
                <c:pt idx="2130">
                  <c:v>41983.479166666664</c:v>
                </c:pt>
                <c:pt idx="2131">
                  <c:v>41983.479861111111</c:v>
                </c:pt>
                <c:pt idx="2132">
                  <c:v>41983.480555555558</c:v>
                </c:pt>
                <c:pt idx="2133">
                  <c:v>41983.481249999997</c:v>
                </c:pt>
                <c:pt idx="2134">
                  <c:v>41983.481944444444</c:v>
                </c:pt>
                <c:pt idx="2135">
                  <c:v>41983.482638888891</c:v>
                </c:pt>
                <c:pt idx="2136">
                  <c:v>41983.48333333333</c:v>
                </c:pt>
                <c:pt idx="2137">
                  <c:v>41983.484027777777</c:v>
                </c:pt>
                <c:pt idx="2138">
                  <c:v>41983.484722222223</c:v>
                </c:pt>
                <c:pt idx="2139">
                  <c:v>41983.48541666667</c:v>
                </c:pt>
                <c:pt idx="2140">
                  <c:v>41983.486111111109</c:v>
                </c:pt>
                <c:pt idx="2141">
                  <c:v>41983.486805555556</c:v>
                </c:pt>
                <c:pt idx="2142">
                  <c:v>41983.487500000003</c:v>
                </c:pt>
                <c:pt idx="2143">
                  <c:v>41983.488194444442</c:v>
                </c:pt>
                <c:pt idx="2144">
                  <c:v>41983.488888888889</c:v>
                </c:pt>
                <c:pt idx="2145">
                  <c:v>41983.489583333336</c:v>
                </c:pt>
                <c:pt idx="2146">
                  <c:v>41983.490277777775</c:v>
                </c:pt>
                <c:pt idx="2147">
                  <c:v>41983.490972222222</c:v>
                </c:pt>
                <c:pt idx="2148">
                  <c:v>41983.491666666669</c:v>
                </c:pt>
                <c:pt idx="2149">
                  <c:v>41983.492361111108</c:v>
                </c:pt>
                <c:pt idx="2150">
                  <c:v>41983.493055555555</c:v>
                </c:pt>
                <c:pt idx="2151">
                  <c:v>41983.493750000001</c:v>
                </c:pt>
                <c:pt idx="2152">
                  <c:v>41983.494444444441</c:v>
                </c:pt>
                <c:pt idx="2153">
                  <c:v>41983.495138888888</c:v>
                </c:pt>
                <c:pt idx="2154">
                  <c:v>41983.495833333334</c:v>
                </c:pt>
                <c:pt idx="2155">
                  <c:v>41983.496527777781</c:v>
                </c:pt>
                <c:pt idx="2156">
                  <c:v>41983.49722222222</c:v>
                </c:pt>
                <c:pt idx="2157">
                  <c:v>41983.497916666667</c:v>
                </c:pt>
                <c:pt idx="2158">
                  <c:v>41983.498611111114</c:v>
                </c:pt>
                <c:pt idx="2159">
                  <c:v>41983.499305555553</c:v>
                </c:pt>
                <c:pt idx="2160">
                  <c:v>41983.5</c:v>
                </c:pt>
                <c:pt idx="2161">
                  <c:v>41983.500694444447</c:v>
                </c:pt>
                <c:pt idx="2162">
                  <c:v>41983.501388888886</c:v>
                </c:pt>
                <c:pt idx="2163">
                  <c:v>41983.502083333333</c:v>
                </c:pt>
                <c:pt idx="2164">
                  <c:v>41983.50277777778</c:v>
                </c:pt>
                <c:pt idx="2165">
                  <c:v>41983.503472222219</c:v>
                </c:pt>
                <c:pt idx="2166">
                  <c:v>41983.504166666666</c:v>
                </c:pt>
                <c:pt idx="2167">
                  <c:v>41983.504861111112</c:v>
                </c:pt>
                <c:pt idx="2168">
                  <c:v>41983.505555555559</c:v>
                </c:pt>
                <c:pt idx="2169">
                  <c:v>41983.506249999999</c:v>
                </c:pt>
                <c:pt idx="2170">
                  <c:v>41983.506944444445</c:v>
                </c:pt>
                <c:pt idx="2171">
                  <c:v>41983.507638888892</c:v>
                </c:pt>
                <c:pt idx="2172">
                  <c:v>41983.508333333331</c:v>
                </c:pt>
                <c:pt idx="2173">
                  <c:v>41983.509027777778</c:v>
                </c:pt>
                <c:pt idx="2174">
                  <c:v>41983.509722222225</c:v>
                </c:pt>
                <c:pt idx="2175">
                  <c:v>41983.510416666664</c:v>
                </c:pt>
                <c:pt idx="2176">
                  <c:v>41983.511111111111</c:v>
                </c:pt>
                <c:pt idx="2177">
                  <c:v>41983.511805555558</c:v>
                </c:pt>
                <c:pt idx="2178">
                  <c:v>41983.512499999997</c:v>
                </c:pt>
                <c:pt idx="2179">
                  <c:v>41983.513194444444</c:v>
                </c:pt>
                <c:pt idx="2180">
                  <c:v>41983.513888888891</c:v>
                </c:pt>
                <c:pt idx="2181">
                  <c:v>41983.51458333333</c:v>
                </c:pt>
                <c:pt idx="2182">
                  <c:v>41983.515277777777</c:v>
                </c:pt>
                <c:pt idx="2183">
                  <c:v>41983.515972222223</c:v>
                </c:pt>
                <c:pt idx="2184">
                  <c:v>41983.51666666667</c:v>
                </c:pt>
                <c:pt idx="2185">
                  <c:v>41983.517361111109</c:v>
                </c:pt>
                <c:pt idx="2186">
                  <c:v>41983.518055555556</c:v>
                </c:pt>
                <c:pt idx="2187">
                  <c:v>41983.518750000003</c:v>
                </c:pt>
                <c:pt idx="2188">
                  <c:v>41983.519444444442</c:v>
                </c:pt>
                <c:pt idx="2189">
                  <c:v>41983.520138888889</c:v>
                </c:pt>
                <c:pt idx="2190">
                  <c:v>41983.520833333336</c:v>
                </c:pt>
                <c:pt idx="2191">
                  <c:v>41983.521527777775</c:v>
                </c:pt>
                <c:pt idx="2192">
                  <c:v>41983.522222222222</c:v>
                </c:pt>
                <c:pt idx="2193">
                  <c:v>41983.522916666669</c:v>
                </c:pt>
                <c:pt idx="2194">
                  <c:v>41983.523611111108</c:v>
                </c:pt>
                <c:pt idx="2195">
                  <c:v>41983.524305555555</c:v>
                </c:pt>
                <c:pt idx="2196">
                  <c:v>41983.525000000001</c:v>
                </c:pt>
                <c:pt idx="2197">
                  <c:v>41983.525694444441</c:v>
                </c:pt>
                <c:pt idx="2198">
                  <c:v>41983.526388888888</c:v>
                </c:pt>
                <c:pt idx="2199">
                  <c:v>41983.527083333334</c:v>
                </c:pt>
                <c:pt idx="2200">
                  <c:v>41983.527777777781</c:v>
                </c:pt>
                <c:pt idx="2201">
                  <c:v>41983.52847222222</c:v>
                </c:pt>
                <c:pt idx="2202">
                  <c:v>41983.529166666667</c:v>
                </c:pt>
                <c:pt idx="2203">
                  <c:v>41983.529861111114</c:v>
                </c:pt>
                <c:pt idx="2204">
                  <c:v>41983.530555555553</c:v>
                </c:pt>
                <c:pt idx="2205">
                  <c:v>41983.53125</c:v>
                </c:pt>
                <c:pt idx="2206">
                  <c:v>41983.531944444447</c:v>
                </c:pt>
                <c:pt idx="2207">
                  <c:v>41983.532638888886</c:v>
                </c:pt>
                <c:pt idx="2208">
                  <c:v>41983.533333333333</c:v>
                </c:pt>
                <c:pt idx="2209">
                  <c:v>41983.53402777778</c:v>
                </c:pt>
                <c:pt idx="2210">
                  <c:v>41983.534722222219</c:v>
                </c:pt>
                <c:pt idx="2211">
                  <c:v>41983.535416666666</c:v>
                </c:pt>
                <c:pt idx="2212">
                  <c:v>41983.536111111112</c:v>
                </c:pt>
                <c:pt idx="2213">
                  <c:v>41983.536805555559</c:v>
                </c:pt>
                <c:pt idx="2214">
                  <c:v>41983.537499999999</c:v>
                </c:pt>
                <c:pt idx="2215">
                  <c:v>41983.538194444445</c:v>
                </c:pt>
                <c:pt idx="2216">
                  <c:v>41983.538888888892</c:v>
                </c:pt>
                <c:pt idx="2217">
                  <c:v>41983.539583333331</c:v>
                </c:pt>
                <c:pt idx="2218">
                  <c:v>41983.540277777778</c:v>
                </c:pt>
                <c:pt idx="2219">
                  <c:v>41983.540972222225</c:v>
                </c:pt>
                <c:pt idx="2220">
                  <c:v>41983.541666666664</c:v>
                </c:pt>
                <c:pt idx="2221">
                  <c:v>41983.542361111111</c:v>
                </c:pt>
                <c:pt idx="2222">
                  <c:v>41983.543055555558</c:v>
                </c:pt>
                <c:pt idx="2223">
                  <c:v>41983.543749999997</c:v>
                </c:pt>
                <c:pt idx="2224">
                  <c:v>41983.544444444444</c:v>
                </c:pt>
                <c:pt idx="2225">
                  <c:v>41983.545138888891</c:v>
                </c:pt>
                <c:pt idx="2226">
                  <c:v>41983.54583333333</c:v>
                </c:pt>
                <c:pt idx="2227">
                  <c:v>41983.546527777777</c:v>
                </c:pt>
                <c:pt idx="2228">
                  <c:v>41983.547222222223</c:v>
                </c:pt>
                <c:pt idx="2229">
                  <c:v>41983.54791666667</c:v>
                </c:pt>
                <c:pt idx="2230">
                  <c:v>41983.548611111109</c:v>
                </c:pt>
                <c:pt idx="2231">
                  <c:v>41983.549305555556</c:v>
                </c:pt>
                <c:pt idx="2232">
                  <c:v>41983.55</c:v>
                </c:pt>
                <c:pt idx="2233">
                  <c:v>41983.550694444442</c:v>
                </c:pt>
                <c:pt idx="2234">
                  <c:v>41983.551388888889</c:v>
                </c:pt>
                <c:pt idx="2235">
                  <c:v>41983.552083333336</c:v>
                </c:pt>
                <c:pt idx="2236">
                  <c:v>41983.552777777775</c:v>
                </c:pt>
                <c:pt idx="2237">
                  <c:v>41983.553472222222</c:v>
                </c:pt>
                <c:pt idx="2238">
                  <c:v>41983.554166666669</c:v>
                </c:pt>
                <c:pt idx="2239">
                  <c:v>41983.554861111108</c:v>
                </c:pt>
                <c:pt idx="2240">
                  <c:v>41983.555555555555</c:v>
                </c:pt>
                <c:pt idx="2241">
                  <c:v>41983.556250000001</c:v>
                </c:pt>
                <c:pt idx="2242">
                  <c:v>41983.556944444441</c:v>
                </c:pt>
                <c:pt idx="2243">
                  <c:v>41983.557638888888</c:v>
                </c:pt>
                <c:pt idx="2244">
                  <c:v>41983.558333333334</c:v>
                </c:pt>
                <c:pt idx="2245">
                  <c:v>41983.559027777781</c:v>
                </c:pt>
                <c:pt idx="2246">
                  <c:v>41983.55972222222</c:v>
                </c:pt>
                <c:pt idx="2247">
                  <c:v>41983.560416666667</c:v>
                </c:pt>
                <c:pt idx="2248">
                  <c:v>41983.561111111114</c:v>
                </c:pt>
                <c:pt idx="2249">
                  <c:v>41983.561805555553</c:v>
                </c:pt>
                <c:pt idx="2250">
                  <c:v>41983.5625</c:v>
                </c:pt>
                <c:pt idx="2251">
                  <c:v>41983.563194444447</c:v>
                </c:pt>
                <c:pt idx="2252">
                  <c:v>41983.563888888886</c:v>
                </c:pt>
                <c:pt idx="2253">
                  <c:v>41983.564583333333</c:v>
                </c:pt>
                <c:pt idx="2254">
                  <c:v>41983.56527777778</c:v>
                </c:pt>
                <c:pt idx="2255">
                  <c:v>41983.565972222219</c:v>
                </c:pt>
                <c:pt idx="2256">
                  <c:v>41983.566666666666</c:v>
                </c:pt>
                <c:pt idx="2257">
                  <c:v>41983.567361111112</c:v>
                </c:pt>
                <c:pt idx="2258">
                  <c:v>41983.568055555559</c:v>
                </c:pt>
                <c:pt idx="2259">
                  <c:v>41983.568749999999</c:v>
                </c:pt>
                <c:pt idx="2260">
                  <c:v>41983.569444444445</c:v>
                </c:pt>
                <c:pt idx="2261">
                  <c:v>41983.570138888892</c:v>
                </c:pt>
                <c:pt idx="2262">
                  <c:v>41983.570833333331</c:v>
                </c:pt>
                <c:pt idx="2263">
                  <c:v>41983.571527777778</c:v>
                </c:pt>
                <c:pt idx="2264">
                  <c:v>41983.572222222225</c:v>
                </c:pt>
                <c:pt idx="2265">
                  <c:v>41983.572916666664</c:v>
                </c:pt>
                <c:pt idx="2266">
                  <c:v>41983.573611111111</c:v>
                </c:pt>
                <c:pt idx="2267">
                  <c:v>41983.574305555558</c:v>
                </c:pt>
                <c:pt idx="2268">
                  <c:v>41983.574999999997</c:v>
                </c:pt>
                <c:pt idx="2269">
                  <c:v>41983.575694444444</c:v>
                </c:pt>
                <c:pt idx="2270">
                  <c:v>41983.576388888891</c:v>
                </c:pt>
                <c:pt idx="2271">
                  <c:v>41983.57708333333</c:v>
                </c:pt>
                <c:pt idx="2272">
                  <c:v>41983.577777777777</c:v>
                </c:pt>
                <c:pt idx="2273">
                  <c:v>41983.578472222223</c:v>
                </c:pt>
                <c:pt idx="2274">
                  <c:v>41983.57916666667</c:v>
                </c:pt>
                <c:pt idx="2275">
                  <c:v>41983.579861111109</c:v>
                </c:pt>
                <c:pt idx="2276">
                  <c:v>41983.580555555556</c:v>
                </c:pt>
                <c:pt idx="2277">
                  <c:v>41983.581250000003</c:v>
                </c:pt>
                <c:pt idx="2278">
                  <c:v>41983.581944444442</c:v>
                </c:pt>
                <c:pt idx="2279">
                  <c:v>41983.582638888889</c:v>
                </c:pt>
                <c:pt idx="2280">
                  <c:v>41983.583333333336</c:v>
                </c:pt>
                <c:pt idx="2281">
                  <c:v>41983.584027777775</c:v>
                </c:pt>
                <c:pt idx="2282">
                  <c:v>41983.584722222222</c:v>
                </c:pt>
                <c:pt idx="2283">
                  <c:v>41983.585416666669</c:v>
                </c:pt>
                <c:pt idx="2284">
                  <c:v>41983.586111111108</c:v>
                </c:pt>
                <c:pt idx="2285">
                  <c:v>41983.586805555555</c:v>
                </c:pt>
                <c:pt idx="2286">
                  <c:v>41983.587500000001</c:v>
                </c:pt>
                <c:pt idx="2287">
                  <c:v>41983.588194444441</c:v>
                </c:pt>
                <c:pt idx="2288">
                  <c:v>41983.588888888888</c:v>
                </c:pt>
                <c:pt idx="2289">
                  <c:v>41983.589583333334</c:v>
                </c:pt>
                <c:pt idx="2290">
                  <c:v>41983.590277777781</c:v>
                </c:pt>
                <c:pt idx="2291">
                  <c:v>41983.59097222222</c:v>
                </c:pt>
                <c:pt idx="2292">
                  <c:v>41983.591666666667</c:v>
                </c:pt>
                <c:pt idx="2293">
                  <c:v>41983.592361111114</c:v>
                </c:pt>
                <c:pt idx="2294">
                  <c:v>41983.593055555553</c:v>
                </c:pt>
                <c:pt idx="2295">
                  <c:v>41983.59375</c:v>
                </c:pt>
                <c:pt idx="2296">
                  <c:v>41983.594444444447</c:v>
                </c:pt>
                <c:pt idx="2297">
                  <c:v>41983.595138888886</c:v>
                </c:pt>
                <c:pt idx="2298">
                  <c:v>41983.595833333333</c:v>
                </c:pt>
                <c:pt idx="2299">
                  <c:v>41983.59652777778</c:v>
                </c:pt>
                <c:pt idx="2300">
                  <c:v>41983.597222222219</c:v>
                </c:pt>
                <c:pt idx="2301">
                  <c:v>41983.597916666666</c:v>
                </c:pt>
                <c:pt idx="2302">
                  <c:v>41983.598611111112</c:v>
                </c:pt>
                <c:pt idx="2303">
                  <c:v>41983.599305555559</c:v>
                </c:pt>
                <c:pt idx="2304">
                  <c:v>41983.6</c:v>
                </c:pt>
                <c:pt idx="2305">
                  <c:v>41983.600694444445</c:v>
                </c:pt>
                <c:pt idx="2306">
                  <c:v>41983.601388888892</c:v>
                </c:pt>
                <c:pt idx="2307">
                  <c:v>41983.602083333331</c:v>
                </c:pt>
                <c:pt idx="2308">
                  <c:v>41983.602777777778</c:v>
                </c:pt>
                <c:pt idx="2309">
                  <c:v>41983.603472222225</c:v>
                </c:pt>
                <c:pt idx="2310">
                  <c:v>41983.604166666664</c:v>
                </c:pt>
                <c:pt idx="2311">
                  <c:v>41983.604861111111</c:v>
                </c:pt>
                <c:pt idx="2312">
                  <c:v>41983.605555555558</c:v>
                </c:pt>
                <c:pt idx="2313">
                  <c:v>41983.606249999997</c:v>
                </c:pt>
                <c:pt idx="2314">
                  <c:v>41983.606944444444</c:v>
                </c:pt>
                <c:pt idx="2315">
                  <c:v>41983.607638888891</c:v>
                </c:pt>
                <c:pt idx="2316">
                  <c:v>41983.60833333333</c:v>
                </c:pt>
                <c:pt idx="2317">
                  <c:v>41983.609027777777</c:v>
                </c:pt>
                <c:pt idx="2318">
                  <c:v>41983.609722222223</c:v>
                </c:pt>
                <c:pt idx="2319">
                  <c:v>41983.61041666667</c:v>
                </c:pt>
                <c:pt idx="2320">
                  <c:v>41983.611111111109</c:v>
                </c:pt>
                <c:pt idx="2321">
                  <c:v>41983.611805555556</c:v>
                </c:pt>
                <c:pt idx="2322">
                  <c:v>41983.612500000003</c:v>
                </c:pt>
                <c:pt idx="2323">
                  <c:v>41983.613194444442</c:v>
                </c:pt>
                <c:pt idx="2324">
                  <c:v>41983.613888888889</c:v>
                </c:pt>
                <c:pt idx="2325">
                  <c:v>41983.614583333336</c:v>
                </c:pt>
                <c:pt idx="2326">
                  <c:v>41983.615277777775</c:v>
                </c:pt>
                <c:pt idx="2327">
                  <c:v>41983.615972222222</c:v>
                </c:pt>
                <c:pt idx="2328">
                  <c:v>41983.616666666669</c:v>
                </c:pt>
                <c:pt idx="2329">
                  <c:v>41983.617361111108</c:v>
                </c:pt>
                <c:pt idx="2330">
                  <c:v>41983.618055555555</c:v>
                </c:pt>
                <c:pt idx="2331">
                  <c:v>41983.618750000001</c:v>
                </c:pt>
                <c:pt idx="2332">
                  <c:v>41983.619444444441</c:v>
                </c:pt>
                <c:pt idx="2333">
                  <c:v>41983.620138888888</c:v>
                </c:pt>
                <c:pt idx="2334">
                  <c:v>41983.620833333334</c:v>
                </c:pt>
                <c:pt idx="2335">
                  <c:v>41983.621527777781</c:v>
                </c:pt>
                <c:pt idx="2336">
                  <c:v>41983.62222222222</c:v>
                </c:pt>
                <c:pt idx="2337">
                  <c:v>41983.622916666667</c:v>
                </c:pt>
                <c:pt idx="2338">
                  <c:v>41983.623611111114</c:v>
                </c:pt>
                <c:pt idx="2339">
                  <c:v>41983.624305555553</c:v>
                </c:pt>
                <c:pt idx="2340">
                  <c:v>41983.625</c:v>
                </c:pt>
                <c:pt idx="2341">
                  <c:v>41983.625694444447</c:v>
                </c:pt>
                <c:pt idx="2342">
                  <c:v>41983.626388888886</c:v>
                </c:pt>
                <c:pt idx="2343">
                  <c:v>41983.627083333333</c:v>
                </c:pt>
                <c:pt idx="2344">
                  <c:v>41983.62777777778</c:v>
                </c:pt>
                <c:pt idx="2345">
                  <c:v>41983.628472222219</c:v>
                </c:pt>
                <c:pt idx="2346">
                  <c:v>41983.629166666666</c:v>
                </c:pt>
                <c:pt idx="2347">
                  <c:v>41983.629861111112</c:v>
                </c:pt>
                <c:pt idx="2348">
                  <c:v>41983.630555555559</c:v>
                </c:pt>
                <c:pt idx="2349">
                  <c:v>41983.631249999999</c:v>
                </c:pt>
                <c:pt idx="2350">
                  <c:v>41983.631944444445</c:v>
                </c:pt>
                <c:pt idx="2351">
                  <c:v>41983.632638888892</c:v>
                </c:pt>
                <c:pt idx="2352">
                  <c:v>41983.633333333331</c:v>
                </c:pt>
                <c:pt idx="2353">
                  <c:v>41983.634027777778</c:v>
                </c:pt>
                <c:pt idx="2354">
                  <c:v>41983.634722222225</c:v>
                </c:pt>
                <c:pt idx="2355">
                  <c:v>41983.635416666664</c:v>
                </c:pt>
                <c:pt idx="2356">
                  <c:v>41983.636111111111</c:v>
                </c:pt>
                <c:pt idx="2357">
                  <c:v>41983.636805555558</c:v>
                </c:pt>
                <c:pt idx="2358">
                  <c:v>41983.637499999997</c:v>
                </c:pt>
                <c:pt idx="2359">
                  <c:v>41983.638194444444</c:v>
                </c:pt>
                <c:pt idx="2360">
                  <c:v>41983.638888888891</c:v>
                </c:pt>
                <c:pt idx="2361">
                  <c:v>41983.63958333333</c:v>
                </c:pt>
                <c:pt idx="2362">
                  <c:v>41983.640277777777</c:v>
                </c:pt>
                <c:pt idx="2363">
                  <c:v>41983.640972222223</c:v>
                </c:pt>
                <c:pt idx="2364">
                  <c:v>41983.64166666667</c:v>
                </c:pt>
                <c:pt idx="2365">
                  <c:v>41983.642361111109</c:v>
                </c:pt>
                <c:pt idx="2366">
                  <c:v>41983.643055555556</c:v>
                </c:pt>
                <c:pt idx="2367">
                  <c:v>41983.643750000003</c:v>
                </c:pt>
                <c:pt idx="2368">
                  <c:v>41983.644444444442</c:v>
                </c:pt>
                <c:pt idx="2369">
                  <c:v>41983.645138888889</c:v>
                </c:pt>
                <c:pt idx="2370">
                  <c:v>41983.645833333336</c:v>
                </c:pt>
                <c:pt idx="2371">
                  <c:v>41983.646527777775</c:v>
                </c:pt>
                <c:pt idx="2372">
                  <c:v>41983.647222222222</c:v>
                </c:pt>
                <c:pt idx="2373">
                  <c:v>41983.647916666669</c:v>
                </c:pt>
                <c:pt idx="2374">
                  <c:v>41983.648611111108</c:v>
                </c:pt>
                <c:pt idx="2375">
                  <c:v>41983.649305555555</c:v>
                </c:pt>
                <c:pt idx="2376">
                  <c:v>41983.65</c:v>
                </c:pt>
                <c:pt idx="2377">
                  <c:v>41983.650694444441</c:v>
                </c:pt>
                <c:pt idx="2378">
                  <c:v>41983.651388888888</c:v>
                </c:pt>
                <c:pt idx="2379">
                  <c:v>41983.652083333334</c:v>
                </c:pt>
                <c:pt idx="2380">
                  <c:v>41983.652777777781</c:v>
                </c:pt>
                <c:pt idx="2381">
                  <c:v>41983.65347222222</c:v>
                </c:pt>
                <c:pt idx="2382">
                  <c:v>41983.654166666667</c:v>
                </c:pt>
                <c:pt idx="2383">
                  <c:v>41983.654861111114</c:v>
                </c:pt>
                <c:pt idx="2384">
                  <c:v>41983.655555555553</c:v>
                </c:pt>
                <c:pt idx="2385">
                  <c:v>41983.65625</c:v>
                </c:pt>
                <c:pt idx="2386">
                  <c:v>41983.656944444447</c:v>
                </c:pt>
                <c:pt idx="2387">
                  <c:v>41983.657638888886</c:v>
                </c:pt>
                <c:pt idx="2388">
                  <c:v>41983.658333333333</c:v>
                </c:pt>
                <c:pt idx="2389">
                  <c:v>41983.65902777778</c:v>
                </c:pt>
                <c:pt idx="2390">
                  <c:v>41983.659722222219</c:v>
                </c:pt>
                <c:pt idx="2391">
                  <c:v>41983.660416666666</c:v>
                </c:pt>
                <c:pt idx="2392">
                  <c:v>41983.661111111112</c:v>
                </c:pt>
                <c:pt idx="2393">
                  <c:v>41983.661805555559</c:v>
                </c:pt>
                <c:pt idx="2394">
                  <c:v>41983.662499999999</c:v>
                </c:pt>
                <c:pt idx="2395">
                  <c:v>41983.663194444445</c:v>
                </c:pt>
                <c:pt idx="2396">
                  <c:v>41983.663888888892</c:v>
                </c:pt>
                <c:pt idx="2397">
                  <c:v>41983.664583333331</c:v>
                </c:pt>
                <c:pt idx="2398">
                  <c:v>41983.665277777778</c:v>
                </c:pt>
                <c:pt idx="2399">
                  <c:v>41983.665972222225</c:v>
                </c:pt>
                <c:pt idx="2400">
                  <c:v>41983.666666666664</c:v>
                </c:pt>
                <c:pt idx="2401">
                  <c:v>41983.667361111111</c:v>
                </c:pt>
                <c:pt idx="2402">
                  <c:v>41983.668055555558</c:v>
                </c:pt>
                <c:pt idx="2403">
                  <c:v>41983.668749999997</c:v>
                </c:pt>
                <c:pt idx="2404">
                  <c:v>41983.669444444444</c:v>
                </c:pt>
                <c:pt idx="2405">
                  <c:v>41983.670138888891</c:v>
                </c:pt>
                <c:pt idx="2406">
                  <c:v>41983.67083333333</c:v>
                </c:pt>
                <c:pt idx="2407">
                  <c:v>41983.671527777777</c:v>
                </c:pt>
                <c:pt idx="2408">
                  <c:v>41983.672222222223</c:v>
                </c:pt>
                <c:pt idx="2409">
                  <c:v>41983.67291666667</c:v>
                </c:pt>
                <c:pt idx="2410">
                  <c:v>41983.673611111109</c:v>
                </c:pt>
                <c:pt idx="2411">
                  <c:v>41983.674305555556</c:v>
                </c:pt>
                <c:pt idx="2412">
                  <c:v>41983.675000000003</c:v>
                </c:pt>
                <c:pt idx="2413">
                  <c:v>41983.675694444442</c:v>
                </c:pt>
                <c:pt idx="2414">
                  <c:v>41983.676388888889</c:v>
                </c:pt>
                <c:pt idx="2415">
                  <c:v>41983.677083333336</c:v>
                </c:pt>
                <c:pt idx="2416">
                  <c:v>41983.677777777775</c:v>
                </c:pt>
                <c:pt idx="2417">
                  <c:v>41983.678472222222</c:v>
                </c:pt>
                <c:pt idx="2418">
                  <c:v>41983.679166666669</c:v>
                </c:pt>
                <c:pt idx="2419">
                  <c:v>41983.679861111108</c:v>
                </c:pt>
                <c:pt idx="2420">
                  <c:v>41983.680555555555</c:v>
                </c:pt>
                <c:pt idx="2421">
                  <c:v>41983.681250000001</c:v>
                </c:pt>
                <c:pt idx="2422">
                  <c:v>41983.681944444441</c:v>
                </c:pt>
                <c:pt idx="2423">
                  <c:v>41983.682638888888</c:v>
                </c:pt>
                <c:pt idx="2424">
                  <c:v>41983.683333333334</c:v>
                </c:pt>
                <c:pt idx="2425">
                  <c:v>41983.684027777781</c:v>
                </c:pt>
                <c:pt idx="2426">
                  <c:v>41983.68472222222</c:v>
                </c:pt>
                <c:pt idx="2427">
                  <c:v>41983.685416666667</c:v>
                </c:pt>
                <c:pt idx="2428">
                  <c:v>41983.686111111114</c:v>
                </c:pt>
                <c:pt idx="2429">
                  <c:v>41983.686805555553</c:v>
                </c:pt>
                <c:pt idx="2430">
                  <c:v>41983.6875</c:v>
                </c:pt>
                <c:pt idx="2431">
                  <c:v>41983.688194444447</c:v>
                </c:pt>
                <c:pt idx="2432">
                  <c:v>41983.688888888886</c:v>
                </c:pt>
                <c:pt idx="2433">
                  <c:v>41983.689583333333</c:v>
                </c:pt>
                <c:pt idx="2434">
                  <c:v>41983.69027777778</c:v>
                </c:pt>
                <c:pt idx="2435">
                  <c:v>41983.690972222219</c:v>
                </c:pt>
                <c:pt idx="2436">
                  <c:v>41983.691666666666</c:v>
                </c:pt>
                <c:pt idx="2437">
                  <c:v>41983.692361111112</c:v>
                </c:pt>
                <c:pt idx="2438">
                  <c:v>41983.693055555559</c:v>
                </c:pt>
                <c:pt idx="2439">
                  <c:v>41983.693749999999</c:v>
                </c:pt>
                <c:pt idx="2440">
                  <c:v>41983.694444444445</c:v>
                </c:pt>
                <c:pt idx="2441">
                  <c:v>41983.695138888892</c:v>
                </c:pt>
                <c:pt idx="2442">
                  <c:v>41983.695833333331</c:v>
                </c:pt>
                <c:pt idx="2443">
                  <c:v>41983.696527777778</c:v>
                </c:pt>
                <c:pt idx="2444">
                  <c:v>41983.697222222225</c:v>
                </c:pt>
                <c:pt idx="2445">
                  <c:v>41983.697916666664</c:v>
                </c:pt>
                <c:pt idx="2446">
                  <c:v>41983.698611111111</c:v>
                </c:pt>
                <c:pt idx="2447">
                  <c:v>41983.699305555558</c:v>
                </c:pt>
                <c:pt idx="2448">
                  <c:v>41983.7</c:v>
                </c:pt>
                <c:pt idx="2449">
                  <c:v>41983.700694444444</c:v>
                </c:pt>
                <c:pt idx="2450">
                  <c:v>41983.701388888891</c:v>
                </c:pt>
                <c:pt idx="2451">
                  <c:v>41983.70208333333</c:v>
                </c:pt>
              </c:numCache>
            </c:numRef>
          </c:cat>
          <c:val>
            <c:numRef>
              <c:f>'DRT Rolling Stdev'!$J$2:$J$2453</c:f>
              <c:numCache>
                <c:formatCode>General</c:formatCode>
                <c:ptCount val="24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7-6950-4ED7-9FB8-753F466A9E67}"/>
            </c:ext>
          </c:extLst>
        </c:ser>
        <c:dLbls>
          <c:showLegendKey val="0"/>
          <c:showVal val="0"/>
          <c:showCatName val="0"/>
          <c:showSerName val="0"/>
          <c:showPercent val="0"/>
          <c:showBubbleSize val="0"/>
        </c:dLbls>
        <c:marker val="1"/>
        <c:smooth val="0"/>
        <c:axId val="1031767823"/>
        <c:axId val="1031767407"/>
      </c:lineChart>
      <c:catAx>
        <c:axId val="1031766575"/>
        <c:scaling>
          <c:orientation val="minMax"/>
        </c:scaling>
        <c:delete val="0"/>
        <c:axPos val="b"/>
        <c:numFmt formatCode="[$-F400]h:mm:ss\ AM/P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1770735"/>
        <c:crosses val="autoZero"/>
        <c:auto val="1"/>
        <c:lblAlgn val="ctr"/>
        <c:lblOffset val="100"/>
        <c:noMultiLvlLbl val="0"/>
      </c:catAx>
      <c:valAx>
        <c:axId val="1031770735"/>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1766575"/>
        <c:crosses val="autoZero"/>
        <c:crossBetween val="between"/>
      </c:valAx>
      <c:valAx>
        <c:axId val="1031767407"/>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1767823"/>
        <c:crosses val="max"/>
        <c:crossBetween val="between"/>
      </c:valAx>
      <c:catAx>
        <c:axId val="1031767823"/>
        <c:scaling>
          <c:orientation val="minMax"/>
        </c:scaling>
        <c:delete val="1"/>
        <c:axPos val="b"/>
        <c:numFmt formatCode="[$-F400]h:mm:ss\ AM/PM" sourceLinked="1"/>
        <c:majorTickMark val="out"/>
        <c:minorTickMark val="none"/>
        <c:tickLblPos val="nextTo"/>
        <c:crossAx val="1031767407"/>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UMP FAILURE</a:t>
            </a:r>
            <a:r>
              <a:rPr lang="en-US" baseline="0"/>
              <a:t> CORRELATION COEFFICIENT</a:t>
            </a:r>
            <a:r>
              <a:rPr lang="en-US"/>
              <a:t> FOR</a:t>
            </a:r>
            <a:r>
              <a:rPr lang="en-US" baseline="0"/>
              <a:t> RAW DAT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B$42</c:f>
              <c:strCache>
                <c:ptCount val="1"/>
                <c:pt idx="0">
                  <c:v>PUMP FAILURE (1 or 0)</c:v>
                </c:pt>
              </c:strCache>
            </c:strRef>
          </c:tx>
          <c:spPr>
            <a:solidFill>
              <a:schemeClr val="accent1"/>
            </a:solidFill>
            <a:ln>
              <a:noFill/>
            </a:ln>
            <a:effectLst/>
          </c:spPr>
          <c:invertIfNegative val="0"/>
          <c:cat>
            <c:strRef>
              <c:f>Sheet2!$A$43:$A$50</c:f>
              <c:strCache>
                <c:ptCount val="8"/>
                <c:pt idx="0">
                  <c:v>PUMP FAILURE (1 or 0)</c:v>
                </c:pt>
                <c:pt idx="1">
                  <c:v>Horse Power</c:v>
                </c:pt>
                <c:pt idx="2">
                  <c:v>Pump Speed (RPM)</c:v>
                </c:pt>
                <c:pt idx="3">
                  <c:v>Pump Torque </c:v>
                </c:pt>
                <c:pt idx="4">
                  <c:v>Ambient Temperature</c:v>
                </c:pt>
                <c:pt idx="5">
                  <c:v>Volumetric Flow Meter 1</c:v>
                </c:pt>
                <c:pt idx="6">
                  <c:v>Pump Efficiency</c:v>
                </c:pt>
                <c:pt idx="7">
                  <c:v>Volumetric Flow Meter 2</c:v>
                </c:pt>
              </c:strCache>
            </c:strRef>
          </c:cat>
          <c:val>
            <c:numRef>
              <c:f>Sheet2!$B$43:$B$50</c:f>
              <c:numCache>
                <c:formatCode>General</c:formatCode>
                <c:ptCount val="8"/>
                <c:pt idx="0">
                  <c:v>1</c:v>
                </c:pt>
                <c:pt idx="1">
                  <c:v>0.42183658455829925</c:v>
                </c:pt>
                <c:pt idx="2">
                  <c:v>0.26001285258420198</c:v>
                </c:pt>
                <c:pt idx="3">
                  <c:v>0.23317535657717167</c:v>
                </c:pt>
                <c:pt idx="4">
                  <c:v>0.20801103648864624</c:v>
                </c:pt>
                <c:pt idx="5">
                  <c:v>-0.10248792792254199</c:v>
                </c:pt>
                <c:pt idx="6">
                  <c:v>-0.10268235109678094</c:v>
                </c:pt>
                <c:pt idx="7">
                  <c:v>-0.112112578474468</c:v>
                </c:pt>
              </c:numCache>
            </c:numRef>
          </c:val>
          <c:extLst>
            <c:ext xmlns:c16="http://schemas.microsoft.com/office/drawing/2014/chart" uri="{C3380CC4-5D6E-409C-BE32-E72D297353CC}">
              <c16:uniqueId val="{00000000-8BA9-4EB4-88C9-BEEE521B9B2F}"/>
            </c:ext>
          </c:extLst>
        </c:ser>
        <c:dLbls>
          <c:showLegendKey val="0"/>
          <c:showVal val="0"/>
          <c:showCatName val="0"/>
          <c:showSerName val="0"/>
          <c:showPercent val="0"/>
          <c:showBubbleSize val="0"/>
        </c:dLbls>
        <c:gapWidth val="219"/>
        <c:overlap val="-27"/>
        <c:axId val="135112207"/>
        <c:axId val="135123439"/>
      </c:barChart>
      <c:catAx>
        <c:axId val="1351122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5123439"/>
        <c:crosses val="autoZero"/>
        <c:auto val="1"/>
        <c:lblAlgn val="ctr"/>
        <c:lblOffset val="100"/>
        <c:noMultiLvlLbl val="0"/>
      </c:catAx>
      <c:valAx>
        <c:axId val="1351234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511220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0" i="0" baseline="0">
                <a:effectLst/>
              </a:rPr>
              <a:t>PUMP FAILURE CORRELATION COEFFICIENT FOR ROLLING MEAN DATA</a:t>
            </a:r>
            <a:endParaRPr lang="en-US" sz="11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G$42</c:f>
              <c:strCache>
                <c:ptCount val="1"/>
                <c:pt idx="0">
                  <c:v>PUMP FAILURE (1 or 0)</c:v>
                </c:pt>
              </c:strCache>
            </c:strRef>
          </c:tx>
          <c:spPr>
            <a:solidFill>
              <a:schemeClr val="accent1"/>
            </a:solidFill>
            <a:ln>
              <a:noFill/>
            </a:ln>
            <a:effectLst/>
          </c:spPr>
          <c:invertIfNegative val="0"/>
          <c:cat>
            <c:strRef>
              <c:f>Sheet2!$F$43:$F$50</c:f>
              <c:strCache>
                <c:ptCount val="8"/>
                <c:pt idx="0">
                  <c:v>PUMP FAILURE (1 or 0)</c:v>
                </c:pt>
                <c:pt idx="1">
                  <c:v>Horse Power</c:v>
                </c:pt>
                <c:pt idx="2">
                  <c:v>Pump Speed (RPM)</c:v>
                </c:pt>
                <c:pt idx="3">
                  <c:v>Pump Torque </c:v>
                </c:pt>
                <c:pt idx="4">
                  <c:v>Ambient Temperature</c:v>
                </c:pt>
                <c:pt idx="5">
                  <c:v>Volumetric Flow Meter 1</c:v>
                </c:pt>
                <c:pt idx="6">
                  <c:v>Pump Efficiency</c:v>
                </c:pt>
                <c:pt idx="7">
                  <c:v>Volumetric Flow Meter 2</c:v>
                </c:pt>
              </c:strCache>
            </c:strRef>
          </c:cat>
          <c:val>
            <c:numRef>
              <c:f>Sheet2!$G$43:$G$50</c:f>
              <c:numCache>
                <c:formatCode>General</c:formatCode>
                <c:ptCount val="8"/>
                <c:pt idx="0">
                  <c:v>1</c:v>
                </c:pt>
                <c:pt idx="1">
                  <c:v>0.2180319818536855</c:v>
                </c:pt>
                <c:pt idx="2">
                  <c:v>-0.18417032717917944</c:v>
                </c:pt>
                <c:pt idx="3">
                  <c:v>-0.21602721504457051</c:v>
                </c:pt>
                <c:pt idx="4">
                  <c:v>-0.30265189651678887</c:v>
                </c:pt>
                <c:pt idx="5">
                  <c:v>-0.69244309318419739</c:v>
                </c:pt>
                <c:pt idx="6">
                  <c:v>-0.69502775093101643</c:v>
                </c:pt>
                <c:pt idx="7">
                  <c:v>-0.69773116823026105</c:v>
                </c:pt>
              </c:numCache>
            </c:numRef>
          </c:val>
          <c:extLst>
            <c:ext xmlns:c16="http://schemas.microsoft.com/office/drawing/2014/chart" uri="{C3380CC4-5D6E-409C-BE32-E72D297353CC}">
              <c16:uniqueId val="{00000000-F8B7-4BE3-A16F-445D134FD2D0}"/>
            </c:ext>
          </c:extLst>
        </c:ser>
        <c:dLbls>
          <c:showLegendKey val="0"/>
          <c:showVal val="0"/>
          <c:showCatName val="0"/>
          <c:showSerName val="0"/>
          <c:showPercent val="0"/>
          <c:showBubbleSize val="0"/>
        </c:dLbls>
        <c:gapWidth val="219"/>
        <c:overlap val="-27"/>
        <c:axId val="95300623"/>
        <c:axId val="95298959"/>
      </c:barChart>
      <c:catAx>
        <c:axId val="95300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298959"/>
        <c:crosses val="autoZero"/>
        <c:auto val="1"/>
        <c:lblAlgn val="ctr"/>
        <c:lblOffset val="100"/>
        <c:noMultiLvlLbl val="0"/>
      </c:catAx>
      <c:valAx>
        <c:axId val="9529895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3006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0" i="0" baseline="0">
                <a:effectLst/>
              </a:rPr>
              <a:t>PUMP FAILURE CORRELATION COEFFICIENT FOR ROLLING STANDAR DEV. DATA</a:t>
            </a:r>
            <a:endParaRPr lang="en-US" sz="11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J$42</c:f>
              <c:strCache>
                <c:ptCount val="1"/>
                <c:pt idx="0">
                  <c:v>PUMP FAILURE (1 or 0)</c:v>
                </c:pt>
              </c:strCache>
            </c:strRef>
          </c:tx>
          <c:spPr>
            <a:solidFill>
              <a:schemeClr val="accent1"/>
            </a:solidFill>
            <a:ln>
              <a:noFill/>
            </a:ln>
            <a:effectLst/>
          </c:spPr>
          <c:invertIfNegative val="0"/>
          <c:cat>
            <c:strRef>
              <c:f>Sheet2!$I$43:$I$50</c:f>
              <c:strCache>
                <c:ptCount val="8"/>
                <c:pt idx="0">
                  <c:v>PUMP FAILURE (1 or 0)</c:v>
                </c:pt>
                <c:pt idx="1">
                  <c:v>Horse Power</c:v>
                </c:pt>
                <c:pt idx="2">
                  <c:v>Volumetric Flow Meter 1</c:v>
                </c:pt>
                <c:pt idx="3">
                  <c:v>Pump Efficiency</c:v>
                </c:pt>
                <c:pt idx="4">
                  <c:v>Volumetric Flow Meter 2</c:v>
                </c:pt>
                <c:pt idx="5">
                  <c:v>Pump Speed (RPM)</c:v>
                </c:pt>
                <c:pt idx="6">
                  <c:v>Ambient Temperature</c:v>
                </c:pt>
                <c:pt idx="7">
                  <c:v>Pump Torque </c:v>
                </c:pt>
              </c:strCache>
            </c:strRef>
          </c:cat>
          <c:val>
            <c:numRef>
              <c:f>Sheet2!$J$43:$J$50</c:f>
              <c:numCache>
                <c:formatCode>General</c:formatCode>
                <c:ptCount val="8"/>
                <c:pt idx="0">
                  <c:v>1</c:v>
                </c:pt>
                <c:pt idx="1">
                  <c:v>0.69010189460739213</c:v>
                </c:pt>
                <c:pt idx="2">
                  <c:v>0.64488041602710289</c:v>
                </c:pt>
                <c:pt idx="3">
                  <c:v>0.64355468682792749</c:v>
                </c:pt>
                <c:pt idx="4">
                  <c:v>0.62592087058373946</c:v>
                </c:pt>
                <c:pt idx="5">
                  <c:v>0.62455590762221425</c:v>
                </c:pt>
                <c:pt idx="6">
                  <c:v>0.60005043132418734</c:v>
                </c:pt>
                <c:pt idx="7">
                  <c:v>0.59726041395457108</c:v>
                </c:pt>
              </c:numCache>
            </c:numRef>
          </c:val>
          <c:extLst>
            <c:ext xmlns:c16="http://schemas.microsoft.com/office/drawing/2014/chart" uri="{C3380CC4-5D6E-409C-BE32-E72D297353CC}">
              <c16:uniqueId val="{00000000-6E5B-4E51-9BBB-3379E719A777}"/>
            </c:ext>
          </c:extLst>
        </c:ser>
        <c:dLbls>
          <c:showLegendKey val="0"/>
          <c:showVal val="0"/>
          <c:showCatName val="0"/>
          <c:showSerName val="0"/>
          <c:showPercent val="0"/>
          <c:showBubbleSize val="0"/>
        </c:dLbls>
        <c:gapWidth val="219"/>
        <c:overlap val="-27"/>
        <c:axId val="315967599"/>
        <c:axId val="315958863"/>
      </c:barChart>
      <c:catAx>
        <c:axId val="315967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5958863"/>
        <c:crosses val="autoZero"/>
        <c:auto val="1"/>
        <c:lblAlgn val="ctr"/>
        <c:lblOffset val="100"/>
        <c:noMultiLvlLbl val="0"/>
      </c:catAx>
      <c:valAx>
        <c:axId val="3159588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596759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B$27</c:f>
              <c:strCache>
                <c:ptCount val="1"/>
                <c:pt idx="0">
                  <c:v>Regression Coefficient</c:v>
                </c:pt>
              </c:strCache>
            </c:strRef>
          </c:tx>
          <c:spPr>
            <a:solidFill>
              <a:schemeClr val="accent1"/>
            </a:solidFill>
            <a:ln>
              <a:noFill/>
            </a:ln>
            <a:effectLst/>
          </c:spPr>
          <c:invertIfNegative val="0"/>
          <c:cat>
            <c:strRef>
              <c:f>Sheet2!$A$28:$A$34</c:f>
              <c:strCache>
                <c:ptCount val="7"/>
                <c:pt idx="0">
                  <c:v>Horse Power</c:v>
                </c:pt>
                <c:pt idx="1">
                  <c:v>Pump Efficiency</c:v>
                </c:pt>
                <c:pt idx="2">
                  <c:v>Volumetric Flow Meter 1</c:v>
                </c:pt>
                <c:pt idx="3">
                  <c:v>Ambient Temperature</c:v>
                </c:pt>
                <c:pt idx="4">
                  <c:v>Pump Speed (RPM)</c:v>
                </c:pt>
                <c:pt idx="5">
                  <c:v>Pump Torque </c:v>
                </c:pt>
                <c:pt idx="6">
                  <c:v>Volumetric Flow Meter 2</c:v>
                </c:pt>
              </c:strCache>
            </c:strRef>
          </c:cat>
          <c:val>
            <c:numRef>
              <c:f>Sheet2!$B$28:$B$34</c:f>
              <c:numCache>
                <c:formatCode>General</c:formatCode>
                <c:ptCount val="7"/>
                <c:pt idx="0">
                  <c:v>0.76484538773206401</c:v>
                </c:pt>
                <c:pt idx="1">
                  <c:v>0.34236588972424131</c:v>
                </c:pt>
                <c:pt idx="2">
                  <c:v>5.0933943927024217E-2</c:v>
                </c:pt>
                <c:pt idx="3">
                  <c:v>1.8206887296729E-2</c:v>
                </c:pt>
                <c:pt idx="4">
                  <c:v>-1.7867336051636543E-2</c:v>
                </c:pt>
                <c:pt idx="5">
                  <c:v>-1.8901994708885334E-2</c:v>
                </c:pt>
                <c:pt idx="6">
                  <c:v>-0.61136432959094578</c:v>
                </c:pt>
              </c:numCache>
            </c:numRef>
          </c:val>
          <c:extLst>
            <c:ext xmlns:c16="http://schemas.microsoft.com/office/drawing/2014/chart" uri="{C3380CC4-5D6E-409C-BE32-E72D297353CC}">
              <c16:uniqueId val="{00000000-3A3F-4E00-9AB9-3DFFAE8D20AD}"/>
            </c:ext>
          </c:extLst>
        </c:ser>
        <c:dLbls>
          <c:showLegendKey val="0"/>
          <c:showVal val="0"/>
          <c:showCatName val="0"/>
          <c:showSerName val="0"/>
          <c:showPercent val="0"/>
          <c:showBubbleSize val="0"/>
        </c:dLbls>
        <c:gapWidth val="219"/>
        <c:overlap val="-27"/>
        <c:axId val="1685362479"/>
        <c:axId val="1685362063"/>
      </c:barChart>
      <c:catAx>
        <c:axId val="16853624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5362063"/>
        <c:crosses val="autoZero"/>
        <c:auto val="1"/>
        <c:lblAlgn val="ctr"/>
        <c:lblOffset val="100"/>
        <c:noMultiLvlLbl val="0"/>
      </c:catAx>
      <c:valAx>
        <c:axId val="16853620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536247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 - Raw'!$C$2:$C$2453</cx:f>
        <cx:lvl ptCount="2452" formatCode="General">
          <cx:pt idx="0">41.299999999999997</cx:pt>
          <cx:pt idx="1">42.399999999999999</cx:pt>
          <cx:pt idx="2">41.43</cx:pt>
          <cx:pt idx="3">42.210000000000001</cx:pt>
          <cx:pt idx="4">40.509999999999998</cx:pt>
          <cx:pt idx="5">42.140000000000001</cx:pt>
          <cx:pt idx="6">43.049999999999997</cx:pt>
          <cx:pt idx="7">40.82</cx:pt>
          <cx:pt idx="8">40.840000000000003</cx:pt>
          <cx:pt idx="9">40.25</cx:pt>
          <cx:pt idx="10">40.130000000000003</cx:pt>
          <cx:pt idx="11">43.369999999999997</cx:pt>
          <cx:pt idx="12">41.240000000000002</cx:pt>
          <cx:pt idx="13">43.399999999999999</cx:pt>
          <cx:pt idx="14">42.75</cx:pt>
          <cx:pt idx="15">40.170000000000002</cx:pt>
          <cx:pt idx="16">41.549999999999997</cx:pt>
          <cx:pt idx="17">42.020000000000003</cx:pt>
          <cx:pt idx="18">41.170000000000002</cx:pt>
          <cx:pt idx="19">41.840000000000003</cx:pt>
          <cx:pt idx="20">43.009999999999998</cx:pt>
          <cx:pt idx="21">41.189999999999998</cx:pt>
          <cx:pt idx="22">43.479999999999997</cx:pt>
          <cx:pt idx="23">42.740000000000002</cx:pt>
          <cx:pt idx="24">42</cx:pt>
          <cx:pt idx="25">41.299999999999997</cx:pt>
          <cx:pt idx="26">43.560000000000002</cx:pt>
          <cx:pt idx="27">41.159999999999997</cx:pt>
          <cx:pt idx="28">42.609999999999999</cx:pt>
          <cx:pt idx="29">41.170000000000002</cx:pt>
          <cx:pt idx="30">40.420000000000002</cx:pt>
          <cx:pt idx="31">41.450000000000003</cx:pt>
          <cx:pt idx="32">42.359999999999999</cx:pt>
          <cx:pt idx="33">42.759999999999998</cx:pt>
          <cx:pt idx="34">42.009999999999998</cx:pt>
          <cx:pt idx="35">40.049999999999997</cx:pt>
          <cx:pt idx="36">42.670000000000002</cx:pt>
          <cx:pt idx="37">42.5</cx:pt>
          <cx:pt idx="38">42.109999999999999</cx:pt>
          <cx:pt idx="39">42.590000000000003</cx:pt>
          <cx:pt idx="40">43.189999999999998</cx:pt>
          <cx:pt idx="41">43.979999999999997</cx:pt>
          <cx:pt idx="42">41.329999999999998</cx:pt>
          <cx:pt idx="43">42.789999999999999</cx:pt>
          <cx:pt idx="44">42.280000000000001</cx:pt>
          <cx:pt idx="45">40.43</cx:pt>
          <cx:pt idx="46">40.530000000000001</cx:pt>
          <cx:pt idx="47">42.810000000000002</cx:pt>
          <cx:pt idx="48">42.780000000000001</cx:pt>
          <cx:pt idx="49">41.490000000000002</cx:pt>
          <cx:pt idx="50">40</cx:pt>
          <cx:pt idx="51">43.119999999999997</cx:pt>
          <cx:pt idx="52">42.100000000000001</cx:pt>
          <cx:pt idx="53">40.479999999999997</cx:pt>
          <cx:pt idx="54">43.25</cx:pt>
          <cx:pt idx="55">40.469999999999999</cx:pt>
          <cx:pt idx="56">42.619999999999997</cx:pt>
          <cx:pt idx="57">43.32</cx:pt>
          <cx:pt idx="58">41.630000000000003</cx:pt>
          <cx:pt idx="59">40.899999999999999</cx:pt>
          <cx:pt idx="60">43.719999999999999</cx:pt>
          <cx:pt idx="61">43.859999999999999</cx:pt>
          <cx:pt idx="62">42.299999999999997</cx:pt>
          <cx:pt idx="63">41.420000000000002</cx:pt>
          <cx:pt idx="64">40.270000000000003</cx:pt>
          <cx:pt idx="65">43.649999999999999</cx:pt>
          <cx:pt idx="66">41.359999999999999</cx:pt>
          <cx:pt idx="67">40.130000000000003</cx:pt>
          <cx:pt idx="68">42.869999999999997</cx:pt>
          <cx:pt idx="69">41.899999999999999</cx:pt>
          <cx:pt idx="70">41.100000000000001</cx:pt>
          <cx:pt idx="71">42.659999999999997</cx:pt>
          <cx:pt idx="72">41.689999999999998</cx:pt>
          <cx:pt idx="73">41.219999999999999</cx:pt>
          <cx:pt idx="74">40.189999999999998</cx:pt>
          <cx:pt idx="75">42.299999999999997</cx:pt>
          <cx:pt idx="76">41.25</cx:pt>
          <cx:pt idx="77">40.969999999999999</cx:pt>
          <cx:pt idx="78">42.640000000000001</cx:pt>
          <cx:pt idx="79">42.409999999999997</cx:pt>
          <cx:pt idx="80">42.600000000000001</cx:pt>
          <cx:pt idx="81">41.920000000000002</cx:pt>
          <cx:pt idx="82">41.810000000000002</cx:pt>
          <cx:pt idx="83">41.149999999999999</cx:pt>
          <cx:pt idx="84">43.939999999999998</cx:pt>
          <cx:pt idx="85">42.719999999999999</cx:pt>
          <cx:pt idx="86">43.350000000000001</cx:pt>
          <cx:pt idx="87">41.560000000000002</cx:pt>
          <cx:pt idx="88">43.700000000000003</cx:pt>
          <cx:pt idx="89">42.850000000000001</cx:pt>
          <cx:pt idx="90">40.640000000000001</cx:pt>
          <cx:pt idx="91">42</cx:pt>
          <cx:pt idx="92">43.390000000000001</cx:pt>
          <cx:pt idx="93">40.850000000000001</cx:pt>
          <cx:pt idx="94">41.75</cx:pt>
          <cx:pt idx="95">42.909999999999997</cx:pt>
          <cx:pt idx="96">43.07</cx:pt>
          <cx:pt idx="97">40.450000000000003</cx:pt>
          <cx:pt idx="98">41.130000000000003</cx:pt>
          <cx:pt idx="99">43.689999999999998</cx:pt>
          <cx:pt idx="100">40.270000000000003</cx:pt>
          <cx:pt idx="101">43.119999999999997</cx:pt>
          <cx:pt idx="102">41.399999999999999</cx:pt>
          <cx:pt idx="103">41.890000000000001</cx:pt>
          <cx:pt idx="104">43.899999999999999</cx:pt>
          <cx:pt idx="105">41.960000000000001</cx:pt>
          <cx:pt idx="106">42.369999999999997</cx:pt>
          <cx:pt idx="107">42.829999999999998</cx:pt>
          <cx:pt idx="108">42.020000000000003</cx:pt>
          <cx:pt idx="109">41.729999999999997</cx:pt>
          <cx:pt idx="110">40.210000000000001</cx:pt>
          <cx:pt idx="111">43.399999999999999</cx:pt>
          <cx:pt idx="112">43.770000000000003</cx:pt>
          <cx:pt idx="113">40.140000000000001</cx:pt>
          <cx:pt idx="114">43.359999999999999</cx:pt>
          <cx:pt idx="115">40.990000000000002</cx:pt>
          <cx:pt idx="116">41.009999999999998</cx:pt>
          <cx:pt idx="117">42.960000000000001</cx:pt>
          <cx:pt idx="118">41.009999999999998</cx:pt>
          <cx:pt idx="119">41.030000000000001</cx:pt>
          <cx:pt idx="120">40.350000000000001</cx:pt>
          <cx:pt idx="121">43.590000000000003</cx:pt>
          <cx:pt idx="122">43.399999999999999</cx:pt>
          <cx:pt idx="123">43.109999999999999</cx:pt>
          <cx:pt idx="124">42.689999999999998</cx:pt>
          <cx:pt idx="125">43.710000000000001</cx:pt>
          <cx:pt idx="126">41.5</cx:pt>
          <cx:pt idx="127">41.619999999999997</cx:pt>
          <cx:pt idx="128">43.880000000000003</cx:pt>
          <cx:pt idx="129">40.380000000000003</cx:pt>
          <cx:pt idx="130">40.119999999999997</cx:pt>
          <cx:pt idx="131">43.890000000000001</cx:pt>
          <cx:pt idx="132">40.609999999999999</cx:pt>
          <cx:pt idx="133">40.109999999999999</cx:pt>
          <cx:pt idx="134">42.219999999999999</cx:pt>
          <cx:pt idx="135">42.340000000000003</cx:pt>
          <cx:pt idx="136">41.340000000000003</cx:pt>
          <cx:pt idx="137">41.289999999999999</cx:pt>
          <cx:pt idx="138">41.960000000000001</cx:pt>
          <cx:pt idx="139">41.380000000000003</cx:pt>
          <cx:pt idx="140">42.829999999999998</cx:pt>
          <cx:pt idx="141">43.829999999999998</cx:pt>
          <cx:pt idx="142">41.469999999999999</cx:pt>
          <cx:pt idx="143">41.170000000000002</cx:pt>
          <cx:pt idx="144">40.979999999999997</cx:pt>
          <cx:pt idx="145">41.299999999999997</cx:pt>
          <cx:pt idx="146">41.390000000000001</cx:pt>
          <cx:pt idx="147">42.840000000000003</cx:pt>
          <cx:pt idx="148">43.159999999999997</cx:pt>
          <cx:pt idx="149">42.439999999999998</cx:pt>
          <cx:pt idx="150">42.590000000000003</cx:pt>
          <cx:pt idx="151">40.869999999999997</cx:pt>
          <cx:pt idx="152">41.579999999999998</cx:pt>
          <cx:pt idx="153">40.32</cx:pt>
          <cx:pt idx="154">41.530000000000001</cx:pt>
          <cx:pt idx="155">40.490000000000002</cx:pt>
          <cx:pt idx="156">42.109999999999999</cx:pt>
          <cx:pt idx="157">41.149999999999999</cx:pt>
          <cx:pt idx="158">44</cx:pt>
          <cx:pt idx="159">42.329999999999998</cx:pt>
          <cx:pt idx="160">40.130000000000003</cx:pt>
          <cx:pt idx="161">40.350000000000001</cx:pt>
          <cx:pt idx="162">42.850000000000001</cx:pt>
          <cx:pt idx="163">43.780000000000001</cx:pt>
          <cx:pt idx="164">42.509999999999998</cx:pt>
          <cx:pt idx="165">40</cx:pt>
          <cx:pt idx="166">40.810000000000002</cx:pt>
          <cx:pt idx="167">41.310000000000002</cx:pt>
          <cx:pt idx="168">40.780000000000001</cx:pt>
          <cx:pt idx="169">42.399999999999999</cx:pt>
          <cx:pt idx="170">42.829999999999998</cx:pt>
          <cx:pt idx="171">42.960000000000001</cx:pt>
          <cx:pt idx="172">40.359999999999999</cx:pt>
          <cx:pt idx="173">42.420000000000002</cx:pt>
          <cx:pt idx="174">40.560000000000002</cx:pt>
          <cx:pt idx="175">43.740000000000002</cx:pt>
          <cx:pt idx="176">41.789999999999999</cx:pt>
          <cx:pt idx="177">43.899999999999999</cx:pt>
          <cx:pt idx="178">41.670000000000002</cx:pt>
          <cx:pt idx="179">40.329999999999998</cx:pt>
          <cx:pt idx="180">42.289999999999999</cx:pt>
          <cx:pt idx="181">41.619999999999997</cx:pt>
          <cx:pt idx="182">40.439999999999998</cx:pt>
          <cx:pt idx="183">43.219999999999999</cx:pt>
          <cx:pt idx="184">42.899999999999999</cx:pt>
          <cx:pt idx="185">40.710000000000001</cx:pt>
          <cx:pt idx="186">41.07</cx:pt>
          <cx:pt idx="187">42.579999999999998</cx:pt>
          <cx:pt idx="188">40.270000000000003</cx:pt>
          <cx:pt idx="189">43.350000000000001</cx:pt>
          <cx:pt idx="190">43.850000000000001</cx:pt>
          <cx:pt idx="191">44</cx:pt>
          <cx:pt idx="192">41.719999999999999</cx:pt>
          <cx:pt idx="193">43.590000000000003</cx:pt>
          <cx:pt idx="194">42.159999999999997</cx:pt>
          <cx:pt idx="195">42.920000000000002</cx:pt>
          <cx:pt idx="196">40.979999999999997</cx:pt>
          <cx:pt idx="197">41.009999999999998</cx:pt>
          <cx:pt idx="198">40.039999999999999</cx:pt>
          <cx:pt idx="199">43.950000000000003</cx:pt>
          <cx:pt idx="200">43.700000000000003</cx:pt>
          <cx:pt idx="201">40.920000000000002</cx:pt>
          <cx:pt idx="202">41.799999999999997</cx:pt>
          <cx:pt idx="203">41.710000000000001</cx:pt>
          <cx:pt idx="204">43.039999999999999</cx:pt>
          <cx:pt idx="205">41.079999999999998</cx:pt>
          <cx:pt idx="206">43.93</cx:pt>
          <cx:pt idx="207">40.93</cx:pt>
          <cx:pt idx="208">41.899999999999999</cx:pt>
          <cx:pt idx="209">42.649999999999999</cx:pt>
          <cx:pt idx="210">40.060000000000002</cx:pt>
          <cx:pt idx="211">41.590000000000003</cx:pt>
          <cx:pt idx="212">40.140000000000001</cx:pt>
          <cx:pt idx="213">43.689999999999998</cx:pt>
          <cx:pt idx="214">41.729999999999997</cx:pt>
          <cx:pt idx="215">43.490000000000002</cx:pt>
          <cx:pt idx="216">41.740000000000002</cx:pt>
          <cx:pt idx="217">41.829999999999998</cx:pt>
          <cx:pt idx="218">40.75</cx:pt>
          <cx:pt idx="219">42.329999999999998</cx:pt>
          <cx:pt idx="220">42.450000000000003</cx:pt>
          <cx:pt idx="221">42.43</cx:pt>
          <cx:pt idx="222">43.079999999999998</cx:pt>
          <cx:pt idx="223">40.369999999999997</cx:pt>
          <cx:pt idx="224">43.140000000000001</cx:pt>
          <cx:pt idx="225">41.210000000000001</cx:pt>
          <cx:pt idx="226">42.530000000000001</cx:pt>
          <cx:pt idx="227">43.119999999999997</cx:pt>
          <cx:pt idx="228">42.899999999999999</cx:pt>
          <cx:pt idx="229">43.890000000000001</cx:pt>
          <cx:pt idx="230">41.810000000000002</cx:pt>
          <cx:pt idx="231">42.399999999999999</cx:pt>
          <cx:pt idx="232">43.880000000000003</cx:pt>
          <cx:pt idx="233">41.539999999999999</cx:pt>
          <cx:pt idx="234">43.170000000000002</cx:pt>
          <cx:pt idx="235">43.100000000000001</cx:pt>
          <cx:pt idx="236">42.520000000000003</cx:pt>
          <cx:pt idx="237">41.950000000000003</cx:pt>
          <cx:pt idx="238">43.909999999999997</cx:pt>
          <cx:pt idx="239">41.450000000000003</cx:pt>
          <cx:pt idx="240">41.509999999999998</cx:pt>
          <cx:pt idx="241">41.079999999999998</cx:pt>
          <cx:pt idx="242">43.579999999999998</cx:pt>
          <cx:pt idx="243">42.649999999999999</cx:pt>
          <cx:pt idx="244">43.579999999999998</cx:pt>
          <cx:pt idx="245">42.07</cx:pt>
          <cx:pt idx="246">42.280000000000001</cx:pt>
          <cx:pt idx="247">43.880000000000003</cx:pt>
          <cx:pt idx="248">44.609999999999999</cx:pt>
          <cx:pt idx="249">43.140000000000001</cx:pt>
          <cx:pt idx="250">42.039999999999999</cx:pt>
          <cx:pt idx="251">42.850000000000001</cx:pt>
          <cx:pt idx="252">43.490000000000002</cx:pt>
          <cx:pt idx="253">44.539999999999999</cx:pt>
          <cx:pt idx="254">43.460000000000001</cx:pt>
          <cx:pt idx="255">42.909999999999997</cx:pt>
          <cx:pt idx="256">42.649999999999999</cx:pt>
          <cx:pt idx="257">44.689999999999998</cx:pt>
          <cx:pt idx="258">42.219999999999999</cx:pt>
          <cx:pt idx="259">43.75</cx:pt>
          <cx:pt idx="260">43.969999999999999</cx:pt>
          <cx:pt idx="261">42.270000000000003</cx:pt>
          <cx:pt idx="262">43.68</cx:pt>
          <cx:pt idx="263">42.020000000000003</cx:pt>
          <cx:pt idx="264">43.439999999999998</cx:pt>
          <cx:pt idx="265">42.640000000000001</cx:pt>
          <cx:pt idx="266">42.130000000000003</cx:pt>
          <cx:pt idx="267">43.020000000000003</cx:pt>
          <cx:pt idx="268">44.659999999999997</cx:pt>
          <cx:pt idx="269">42.689999999999998</cx:pt>
          <cx:pt idx="270">42.939999999999998</cx:pt>
          <cx:pt idx="271">43.310000000000002</cx:pt>
          <cx:pt idx="272">43.369999999999997</cx:pt>
          <cx:pt idx="273">44.289999999999999</cx:pt>
          <cx:pt idx="274">44.880000000000003</cx:pt>
          <cx:pt idx="275">44.07</cx:pt>
          <cx:pt idx="276">44.869999999999997</cx:pt>
          <cx:pt idx="277">43.399999999999999</cx:pt>
          <cx:pt idx="278">43.479999999999997</cx:pt>
          <cx:pt idx="279">44.689999999999998</cx:pt>
          <cx:pt idx="280">43.840000000000003</cx:pt>
          <cx:pt idx="281">42.710000000000001</cx:pt>
          <cx:pt idx="282">43.619999999999997</cx:pt>
          <cx:pt idx="283">42.57</cx:pt>
          <cx:pt idx="284">42.200000000000003</cx:pt>
          <cx:pt idx="285">43.25</cx:pt>
          <cx:pt idx="286">42.090000000000003</cx:pt>
          <cx:pt idx="287">43.719999999999999</cx:pt>
          <cx:pt idx="288">41.219999999999999</cx:pt>
          <cx:pt idx="289">41.990000000000002</cx:pt>
          <cx:pt idx="290">43.420000000000002</cx:pt>
          <cx:pt idx="291">40.890000000000001</cx:pt>
          <cx:pt idx="292">42.75</cx:pt>
          <cx:pt idx="293">40.009999999999998</cx:pt>
          <cx:pt idx="294">41.700000000000003</cx:pt>
          <cx:pt idx="295">43.770000000000003</cx:pt>
          <cx:pt idx="296">41.560000000000002</cx:pt>
          <cx:pt idx="297">43.740000000000002</cx:pt>
          <cx:pt idx="298">42.590000000000003</cx:pt>
          <cx:pt idx="299">41.799999999999997</cx:pt>
          <cx:pt idx="300">42.450000000000003</cx:pt>
          <cx:pt idx="301">44</cx:pt>
          <cx:pt idx="302">40.140000000000001</cx:pt>
          <cx:pt idx="303">43.350000000000001</cx:pt>
          <cx:pt idx="304">41.350000000000001</cx:pt>
          <cx:pt idx="305">42.630000000000003</cx:pt>
          <cx:pt idx="306">42.899999999999999</cx:pt>
          <cx:pt idx="307">42.700000000000003</cx:pt>
          <cx:pt idx="308">42.979999999999997</cx:pt>
          <cx:pt idx="309">41.909999999999997</cx:pt>
          <cx:pt idx="310">40.490000000000002</cx:pt>
          <cx:pt idx="311">40.960000000000001</cx:pt>
          <cx:pt idx="312">41.909999999999997</cx:pt>
          <cx:pt idx="313">42.869999999999997</cx:pt>
          <cx:pt idx="314">40.520000000000003</cx:pt>
          <cx:pt idx="315">41.909999999999997</cx:pt>
          <cx:pt idx="316">43.799999999999997</cx:pt>
          <cx:pt idx="317">40.649999999999999</cx:pt>
          <cx:pt idx="318">43.439999999999998</cx:pt>
          <cx:pt idx="319">41.560000000000002</cx:pt>
          <cx:pt idx="320">43.170000000000002</cx:pt>
          <cx:pt idx="321">42.119999999999997</cx:pt>
          <cx:pt idx="322">40.649999999999999</cx:pt>
          <cx:pt idx="323">40.82</cx:pt>
          <cx:pt idx="324">43.390000000000001</cx:pt>
          <cx:pt idx="325">40.030000000000001</cx:pt>
          <cx:pt idx="326">40.409999999999997</cx:pt>
          <cx:pt idx="327">43.780000000000001</cx:pt>
          <cx:pt idx="328">40.310000000000002</cx:pt>
          <cx:pt idx="329">41.810000000000002</cx:pt>
          <cx:pt idx="330">43.240000000000002</cx:pt>
          <cx:pt idx="331">42.020000000000003</cx:pt>
          <cx:pt idx="332">40.25</cx:pt>
          <cx:pt idx="333">40.740000000000002</cx:pt>
          <cx:pt idx="334">42.219999999999999</cx:pt>
          <cx:pt idx="335">42.149999999999999</cx:pt>
          <cx:pt idx="336">41.670000000000002</cx:pt>
          <cx:pt idx="337">41.979999999999997</cx:pt>
          <cx:pt idx="338">40.969999999999999</cx:pt>
          <cx:pt idx="339">42.960000000000001</cx:pt>
          <cx:pt idx="340">43.43</cx:pt>
          <cx:pt idx="341">42.600000000000001</cx:pt>
          <cx:pt idx="342">40.439999999999998</cx:pt>
          <cx:pt idx="343">43.479999999999997</cx:pt>
          <cx:pt idx="344">41.219999999999999</cx:pt>
          <cx:pt idx="345">43.200000000000003</cx:pt>
          <cx:pt idx="346">43.310000000000002</cx:pt>
          <cx:pt idx="347">42.810000000000002</cx:pt>
          <cx:pt idx="348">40.420000000000002</cx:pt>
          <cx:pt idx="349">41.530000000000001</cx:pt>
          <cx:pt idx="350">42.549999999999997</cx:pt>
          <cx:pt idx="351">43.539999999999999</cx:pt>
          <cx:pt idx="352">43.829999999999998</cx:pt>
          <cx:pt idx="353">40.469999999999999</cx:pt>
          <cx:pt idx="354">42.68</cx:pt>
          <cx:pt idx="355">43.859999999999999</cx:pt>
          <cx:pt idx="356">41.990000000000002</cx:pt>
          <cx:pt idx="357">41.530000000000001</cx:pt>
          <cx:pt idx="358">41.060000000000002</cx:pt>
          <cx:pt idx="359">42.5</cx:pt>
          <cx:pt idx="360">43.390000000000001</cx:pt>
          <cx:pt idx="361">40.210000000000001</cx:pt>
          <cx:pt idx="362">41.789999999999999</cx:pt>
          <cx:pt idx="363">40.880000000000003</cx:pt>
          <cx:pt idx="364">40.270000000000003</cx:pt>
          <cx:pt idx="365">40.259999999999998</cx:pt>
          <cx:pt idx="366">43.219999999999999</cx:pt>
          <cx:pt idx="367">42</cx:pt>
          <cx:pt idx="368">43.18</cx:pt>
          <cx:pt idx="369">43.409999999999997</cx:pt>
          <cx:pt idx="370">40.659999999999997</cx:pt>
          <cx:pt idx="371">43.969999999999999</cx:pt>
          <cx:pt idx="372">40.270000000000003</cx:pt>
          <cx:pt idx="373">43.579999999999998</cx:pt>
          <cx:pt idx="374">43.509999999999998</cx:pt>
          <cx:pt idx="375">41.189999999999998</cx:pt>
          <cx:pt idx="376">40.280000000000001</cx:pt>
          <cx:pt idx="377">43.990000000000002</cx:pt>
          <cx:pt idx="378">43.5</cx:pt>
          <cx:pt idx="379">42.130000000000003</cx:pt>
          <cx:pt idx="380">43.469999999999999</cx:pt>
          <cx:pt idx="381">42.409999999999997</cx:pt>
          <cx:pt idx="382">43.210000000000001</cx:pt>
          <cx:pt idx="383">41.579999999999998</cx:pt>
          <cx:pt idx="384">40.600000000000001</cx:pt>
          <cx:pt idx="385">41.789999999999999</cx:pt>
          <cx:pt idx="386">42.130000000000003</cx:pt>
          <cx:pt idx="387">43.780000000000001</cx:pt>
          <cx:pt idx="388">41.240000000000002</cx:pt>
          <cx:pt idx="389">41.18</cx:pt>
          <cx:pt idx="390">43.210000000000001</cx:pt>
          <cx:pt idx="391">43.149999999999999</cx:pt>
          <cx:pt idx="392">43.350000000000001</cx:pt>
          <cx:pt idx="393">40.390000000000001</cx:pt>
          <cx:pt idx="394">41.479999999999997</cx:pt>
          <cx:pt idx="395">40.090000000000003</cx:pt>
          <cx:pt idx="396">42.640000000000001</cx:pt>
          <cx:pt idx="397">41.380000000000003</cx:pt>
          <cx:pt idx="398">40.829999999999998</cx:pt>
          <cx:pt idx="399">42.740000000000002</cx:pt>
          <cx:pt idx="400">41.5</cx:pt>
          <cx:pt idx="401">43.420000000000002</cx:pt>
          <cx:pt idx="402">42.640000000000001</cx:pt>
          <cx:pt idx="403">42.25</cx:pt>
          <cx:pt idx="404">43.670000000000002</cx:pt>
          <cx:pt idx="405">42.590000000000003</cx:pt>
          <cx:pt idx="406">41</cx:pt>
          <cx:pt idx="407">41.329999999999998</cx:pt>
          <cx:pt idx="408">41.020000000000003</cx:pt>
          <cx:pt idx="409">42.939999999999998</cx:pt>
          <cx:pt idx="410">41.799999999999997</cx:pt>
          <cx:pt idx="411">40.469999999999999</cx:pt>
          <cx:pt idx="412">41.280000000000001</cx:pt>
          <cx:pt idx="413">40.68</cx:pt>
          <cx:pt idx="414">42.270000000000003</cx:pt>
          <cx:pt idx="415">42.579999999999998</cx:pt>
          <cx:pt idx="416">41.439999999999998</cx:pt>
          <cx:pt idx="417">43.969999999999999</cx:pt>
          <cx:pt idx="418">43.229999999999997</cx:pt>
          <cx:pt idx="419">41.869999999999997</cx:pt>
          <cx:pt idx="420">40.780000000000001</cx:pt>
          <cx:pt idx="421">42.369999999999997</cx:pt>
          <cx:pt idx="422">42.619999999999997</cx:pt>
          <cx:pt idx="423">41.490000000000002</cx:pt>
          <cx:pt idx="424">41</cx:pt>
          <cx:pt idx="425">43.079999999999998</cx:pt>
          <cx:pt idx="426">42.060000000000002</cx:pt>
          <cx:pt idx="427">41.780000000000001</cx:pt>
          <cx:pt idx="428">40.840000000000003</cx:pt>
          <cx:pt idx="429">40.340000000000003</cx:pt>
          <cx:pt idx="430">40.689999999999998</cx:pt>
          <cx:pt idx="431">41.200000000000003</cx:pt>
          <cx:pt idx="432">40.200000000000003</cx:pt>
          <cx:pt idx="433">42.960000000000001</cx:pt>
          <cx:pt idx="434">40.049999999999997</cx:pt>
          <cx:pt idx="435">40.039999999999999</cx:pt>
          <cx:pt idx="436">43.100000000000001</cx:pt>
          <cx:pt idx="437">43.829999999999998</cx:pt>
          <cx:pt idx="438">41.43</cx:pt>
          <cx:pt idx="439">43.770000000000003</cx:pt>
          <cx:pt idx="440">42.310000000000002</cx:pt>
          <cx:pt idx="441">40.409999999999997</cx:pt>
          <cx:pt idx="442">42.530000000000001</cx:pt>
          <cx:pt idx="443">43.439999999999998</cx:pt>
          <cx:pt idx="444">40.509999999999998</cx:pt>
          <cx:pt idx="445">43.439999999999998</cx:pt>
          <cx:pt idx="446">42.770000000000003</cx:pt>
          <cx:pt idx="447">40.399999999999999</cx:pt>
          <cx:pt idx="448">40.460000000000001</cx:pt>
          <cx:pt idx="449">43.359999999999999</cx:pt>
          <cx:pt idx="450">41.789999999999999</cx:pt>
          <cx:pt idx="451">40.100000000000001</cx:pt>
          <cx:pt idx="452">43.969999999999999</cx:pt>
          <cx:pt idx="453">42.509999999999998</cx:pt>
          <cx:pt idx="454">40.219999999999999</cx:pt>
          <cx:pt idx="455">41.590000000000003</cx:pt>
          <cx:pt idx="456">43.159999999999997</cx:pt>
          <cx:pt idx="457">40.219999999999999</cx:pt>
          <cx:pt idx="458">43.630000000000003</cx:pt>
          <cx:pt idx="459">43.18</cx:pt>
          <cx:pt idx="460">41.079999999999998</cx:pt>
          <cx:pt idx="461">40.299999999999997</cx:pt>
          <cx:pt idx="462">41.25</cx:pt>
          <cx:pt idx="463">40.869999999999997</cx:pt>
          <cx:pt idx="464">40.740000000000002</cx:pt>
          <cx:pt idx="465">41.450000000000003</cx:pt>
          <cx:pt idx="466">41.57</cx:pt>
          <cx:pt idx="467">43.789999999999999</cx:pt>
          <cx:pt idx="468">42.149999999999999</cx:pt>
          <cx:pt idx="469">41.590000000000003</cx:pt>
          <cx:pt idx="470">42.609999999999999</cx:pt>
          <cx:pt idx="471">40.939999999999998</cx:pt>
          <cx:pt idx="472">40.530000000000001</cx:pt>
          <cx:pt idx="473">42.729999999999997</cx:pt>
          <cx:pt idx="474">40.229999999999997</cx:pt>
          <cx:pt idx="475">43.789999999999999</cx:pt>
          <cx:pt idx="476">42.100000000000001</cx:pt>
          <cx:pt idx="477">41.25</cx:pt>
          <cx:pt idx="478">40.560000000000002</cx:pt>
          <cx:pt idx="479">43.310000000000002</cx:pt>
          <cx:pt idx="480">41.659999999999997</cx:pt>
          <cx:pt idx="481">41.340000000000003</cx:pt>
          <cx:pt idx="482">41.270000000000003</cx:pt>
          <cx:pt idx="483">43.490000000000002</cx:pt>
          <cx:pt idx="484">40.700000000000003</cx:pt>
          <cx:pt idx="485">42.939999999999998</cx:pt>
          <cx:pt idx="486">41.329999999999998</cx:pt>
          <cx:pt idx="487">40.530000000000001</cx:pt>
          <cx:pt idx="488">40.25</cx:pt>
          <cx:pt idx="489">43.950000000000003</cx:pt>
          <cx:pt idx="490">43.039999999999999</cx:pt>
          <cx:pt idx="491">42.460000000000001</cx:pt>
          <cx:pt idx="492">43.810000000000002</cx:pt>
          <cx:pt idx="493">41.899999999999999</cx:pt>
          <cx:pt idx="494">43.780000000000001</cx:pt>
          <cx:pt idx="495">42.130000000000003</cx:pt>
          <cx:pt idx="496">41.859999999999999</cx:pt>
          <cx:pt idx="497">42.600000000000001</cx:pt>
          <cx:pt idx="498">42.020000000000003</cx:pt>
          <cx:pt idx="499">40.359999999999999</cx:pt>
          <cx:pt idx="500">43.780000000000001</cx:pt>
          <cx:pt idx="501">40.659999999999997</cx:pt>
          <cx:pt idx="502">43.18</cx:pt>
          <cx:pt idx="503">43.649999999999999</cx:pt>
          <cx:pt idx="504">41.539999999999999</cx:pt>
          <cx:pt idx="505">40.43</cx:pt>
          <cx:pt idx="506">41.850000000000001</cx:pt>
          <cx:pt idx="507">43</cx:pt>
          <cx:pt idx="508">43.289999999999999</cx:pt>
          <cx:pt idx="509">43.869999999999997</cx:pt>
          <cx:pt idx="510">42.100000000000001</cx:pt>
          <cx:pt idx="511">41.020000000000003</cx:pt>
          <cx:pt idx="512">40</cx:pt>
          <cx:pt idx="513">41.409999999999997</cx:pt>
          <cx:pt idx="514">42.32</cx:pt>
          <cx:pt idx="515">43.659999999999997</cx:pt>
          <cx:pt idx="516">40.210000000000001</cx:pt>
          <cx:pt idx="517">40.509999999999998</cx:pt>
          <cx:pt idx="518">41.149999999999999</cx:pt>
          <cx:pt idx="519">41.630000000000003</cx:pt>
          <cx:pt idx="520">42.710000000000001</cx:pt>
          <cx:pt idx="521">42.460000000000001</cx:pt>
          <cx:pt idx="522">42.990000000000002</cx:pt>
          <cx:pt idx="523">43.670000000000002</cx:pt>
          <cx:pt idx="524">42.079999999999998</cx:pt>
          <cx:pt idx="525">40.020000000000003</cx:pt>
          <cx:pt idx="526">41.700000000000003</cx:pt>
          <cx:pt idx="527">40.380000000000003</cx:pt>
          <cx:pt idx="528">40.189999999999998</cx:pt>
          <cx:pt idx="529">43.740000000000002</cx:pt>
          <cx:pt idx="530">43.340000000000003</cx:pt>
          <cx:pt idx="531">42.439999999999998</cx:pt>
          <cx:pt idx="532">43.350000000000001</cx:pt>
          <cx:pt idx="533">41.200000000000003</cx:pt>
          <cx:pt idx="534">42.520000000000003</cx:pt>
          <cx:pt idx="535">41.640000000000001</cx:pt>
          <cx:pt idx="536">43.960000000000001</cx:pt>
          <cx:pt idx="537">43.560000000000002</cx:pt>
          <cx:pt idx="538">42.710000000000001</cx:pt>
          <cx:pt idx="539">43.329999999999998</cx:pt>
          <cx:pt idx="540">43.469999999999999</cx:pt>
          <cx:pt idx="541">42.460000000000001</cx:pt>
          <cx:pt idx="542">40.369999999999997</cx:pt>
          <cx:pt idx="543">43.049999999999997</cx:pt>
          <cx:pt idx="544">41.369999999999997</cx:pt>
          <cx:pt idx="545">42.969999999999999</cx:pt>
          <cx:pt idx="546">42.670000000000002</cx:pt>
          <cx:pt idx="547">42.310000000000002</cx:pt>
          <cx:pt idx="548">43.439999999999998</cx:pt>
          <cx:pt idx="549">41.710000000000001</cx:pt>
          <cx:pt idx="550">41.009999999999998</cx:pt>
          <cx:pt idx="551">42.079999999999998</cx:pt>
          <cx:pt idx="552">41.380000000000003</cx:pt>
          <cx:pt idx="553">41.630000000000003</cx:pt>
          <cx:pt idx="554">43.850000000000001</cx:pt>
          <cx:pt idx="555">40.140000000000001</cx:pt>
          <cx:pt idx="556">43.060000000000002</cx:pt>
          <cx:pt idx="557">42.939999999999998</cx:pt>
          <cx:pt idx="558">42.390000000000001</cx:pt>
          <cx:pt idx="559">40.390000000000001</cx:pt>
          <cx:pt idx="560">40.869999999999997</cx:pt>
          <cx:pt idx="561">42.32</cx:pt>
          <cx:pt idx="562">42.030000000000001</cx:pt>
          <cx:pt idx="563">42.439999999999998</cx:pt>
          <cx:pt idx="564">41.950000000000003</cx:pt>
          <cx:pt idx="565">43.590000000000003</cx:pt>
          <cx:pt idx="566">42.090000000000003</cx:pt>
          <cx:pt idx="567">42.719999999999999</cx:pt>
          <cx:pt idx="568">43.25</cx:pt>
          <cx:pt idx="569">40.280000000000001</cx:pt>
          <cx:pt idx="570">43.130000000000003</cx:pt>
          <cx:pt idx="571">40.020000000000003</cx:pt>
          <cx:pt idx="572">40.109999999999999</cx:pt>
          <cx:pt idx="573">41.380000000000003</cx:pt>
          <cx:pt idx="574">42.43</cx:pt>
          <cx:pt idx="575">41.130000000000003</cx:pt>
          <cx:pt idx="576">40.509999999999998</cx:pt>
          <cx:pt idx="577">43.579999999999998</cx:pt>
          <cx:pt idx="578">40.810000000000002</cx:pt>
          <cx:pt idx="579">43.659999999999997</cx:pt>
          <cx:pt idx="580">43.920000000000002</cx:pt>
          <cx:pt idx="581">41.420000000000002</cx:pt>
          <cx:pt idx="582">42.909999999999997</cx:pt>
          <cx:pt idx="583">42.979999999999997</cx:pt>
          <cx:pt idx="584">42.289999999999999</cx:pt>
          <cx:pt idx="585">41.030000000000001</cx:pt>
          <cx:pt idx="586">40.049999999999997</cx:pt>
          <cx:pt idx="587">40.039999999999999</cx:pt>
          <cx:pt idx="588">40.689999999999998</cx:pt>
          <cx:pt idx="589">41.719999999999999</cx:pt>
          <cx:pt idx="590">41.200000000000003</cx:pt>
          <cx:pt idx="591">40.25</cx:pt>
          <cx:pt idx="592">40.859999999999999</cx:pt>
          <cx:pt idx="593">41.109999999999999</cx:pt>
          <cx:pt idx="594">41.509999999999998</cx:pt>
          <cx:pt idx="595">41.960000000000001</cx:pt>
          <cx:pt idx="596">40.869999999999997</cx:pt>
          <cx:pt idx="597">43.909999999999997</cx:pt>
          <cx:pt idx="598">41.600000000000001</cx:pt>
          <cx:pt idx="599">40.740000000000002</cx:pt>
          <cx:pt idx="600">41.82</cx:pt>
          <cx:pt idx="601">41.950000000000003</cx:pt>
          <cx:pt idx="602">42.280000000000001</cx:pt>
          <cx:pt idx="603">42.130000000000003</cx:pt>
          <cx:pt idx="604">40.539999999999999</cx:pt>
          <cx:pt idx="605">43.710000000000001</cx:pt>
          <cx:pt idx="606">42.789999999999999</cx:pt>
          <cx:pt idx="607">41.670000000000002</cx:pt>
          <cx:pt idx="608">41.18</cx:pt>
          <cx:pt idx="609">41.689999999999998</cx:pt>
          <cx:pt idx="610">42.280000000000001</cx:pt>
          <cx:pt idx="611">40.009999999999998</cx:pt>
          <cx:pt idx="612">40.789999999999999</cx:pt>
          <cx:pt idx="613">42.609999999999999</cx:pt>
          <cx:pt idx="614">40.140000000000001</cx:pt>
          <cx:pt idx="615">42.729999999999997</cx:pt>
          <cx:pt idx="616">40.93</cx:pt>
          <cx:pt idx="617">44</cx:pt>
          <cx:pt idx="618">42.32</cx:pt>
          <cx:pt idx="619">43.200000000000003</cx:pt>
          <cx:pt idx="620">41.939999999999998</cx:pt>
          <cx:pt idx="621">42.579999999999998</cx:pt>
          <cx:pt idx="622">43.899999999999999</cx:pt>
          <cx:pt idx="623">43.780000000000001</cx:pt>
          <cx:pt idx="624">41.289999999999999</cx:pt>
          <cx:pt idx="625">43.32</cx:pt>
          <cx:pt idx="626">43.409999999999997</cx:pt>
          <cx:pt idx="627">40.590000000000003</cx:pt>
          <cx:pt idx="628">43.189999999999998</cx:pt>
          <cx:pt idx="629">40.909999999999997</cx:pt>
          <cx:pt idx="630">41.590000000000003</cx:pt>
          <cx:pt idx="631">43.799999999999997</cx:pt>
          <cx:pt idx="632">44.600000000000001</cx:pt>
          <cx:pt idx="633">43.409999999999997</cx:pt>
          <cx:pt idx="634">44.159999999999997</cx:pt>
          <cx:pt idx="635">44.299999999999997</cx:pt>
          <cx:pt idx="636">43.890000000000001</cx:pt>
          <cx:pt idx="637">42.990000000000002</cx:pt>
          <cx:pt idx="638">43.460000000000001</cx:pt>
          <cx:pt idx="639">43.460000000000001</cx:pt>
          <cx:pt idx="640">44.609999999999999</cx:pt>
          <cx:pt idx="641">42.5</cx:pt>
          <cx:pt idx="642">43.310000000000002</cx:pt>
          <cx:pt idx="643">42.57</cx:pt>
          <cx:pt idx="644">43.75</cx:pt>
          <cx:pt idx="645">42.509999999999998</cx:pt>
          <cx:pt idx="646">42.030000000000001</cx:pt>
          <cx:pt idx="647">42.460000000000001</cx:pt>
          <cx:pt idx="648">44.460000000000001</cx:pt>
          <cx:pt idx="649">44.5</cx:pt>
          <cx:pt idx="650">42.340000000000003</cx:pt>
          <cx:pt idx="651">44.939999999999998</cx:pt>
          <cx:pt idx="652">44.079999999999998</cx:pt>
          <cx:pt idx="653">42.789999999999999</cx:pt>
          <cx:pt idx="654">44.68</cx:pt>
          <cx:pt idx="655">42.899999999999999</cx:pt>
          <cx:pt idx="656">43.68</cx:pt>
          <cx:pt idx="657">44.240000000000002</cx:pt>
          <cx:pt idx="658">43.380000000000003</cx:pt>
          <cx:pt idx="659">44.420000000000002</cx:pt>
          <cx:pt idx="660">43.140000000000001</cx:pt>
          <cx:pt idx="661">42.57</cx:pt>
          <cx:pt idx="662">43.020000000000003</cx:pt>
          <cx:pt idx="663">44.390000000000001</cx:pt>
          <cx:pt idx="664">44.049999999999997</cx:pt>
          <cx:pt idx="665">42.280000000000001</cx:pt>
          <cx:pt idx="666">44.159999999999997</cx:pt>
          <cx:pt idx="667">44.719999999999999</cx:pt>
          <cx:pt idx="668">43.399999999999999</cx:pt>
          <cx:pt idx="669">42.219999999999999</cx:pt>
          <cx:pt idx="670">44.25</cx:pt>
          <cx:pt idx="671">44.68</cx:pt>
          <cx:pt idx="672">44.060000000000002</cx:pt>
          <cx:pt idx="673">42.799999999999997</cx:pt>
          <cx:pt idx="674">43.380000000000003</cx:pt>
          <cx:pt idx="675">42.090000000000003</cx:pt>
          <cx:pt idx="676">40.200000000000003</cx:pt>
          <cx:pt idx="677">41.130000000000003</cx:pt>
          <cx:pt idx="678">40.670000000000002</cx:pt>
          <cx:pt idx="679">42.240000000000002</cx:pt>
          <cx:pt idx="680">42.380000000000003</cx:pt>
          <cx:pt idx="681">43.780000000000001</cx:pt>
          <cx:pt idx="682">41.259999999999998</cx:pt>
          <cx:pt idx="683">41.740000000000002</cx:pt>
          <cx:pt idx="684">43.049999999999997</cx:pt>
          <cx:pt idx="685">41.009999999999998</cx:pt>
          <cx:pt idx="686">40.649999999999999</cx:pt>
          <cx:pt idx="687">40.100000000000001</cx:pt>
          <cx:pt idx="688">41.079999999999998</cx:pt>
          <cx:pt idx="689">42.009999999999998</cx:pt>
          <cx:pt idx="690">41.359999999999999</cx:pt>
          <cx:pt idx="691">40.18</cx:pt>
          <cx:pt idx="692">40.560000000000002</cx:pt>
          <cx:pt idx="693">43.079999999999998</cx:pt>
          <cx:pt idx="694">42.729999999999997</cx:pt>
          <cx:pt idx="695">41.719999999999999</cx:pt>
          <cx:pt idx="696">43.509999999999998</cx:pt>
          <cx:pt idx="697">42.359999999999999</cx:pt>
          <cx:pt idx="698">41.880000000000003</cx:pt>
          <cx:pt idx="699">43.359999999999999</cx:pt>
          <cx:pt idx="700">40.439999999999998</cx:pt>
          <cx:pt idx="701">41.659999999999997</cx:pt>
          <cx:pt idx="702">42.799999999999997</cx:pt>
          <cx:pt idx="703">42.549999999999997</cx:pt>
          <cx:pt idx="704">40.560000000000002</cx:pt>
          <cx:pt idx="705">43.039999999999999</cx:pt>
          <cx:pt idx="706">42.420000000000002</cx:pt>
          <cx:pt idx="707">40.640000000000001</cx:pt>
          <cx:pt idx="708">41.549999999999997</cx:pt>
          <cx:pt idx="709">42.439999999999998</cx:pt>
          <cx:pt idx="710">42.210000000000001</cx:pt>
          <cx:pt idx="711">42.640000000000001</cx:pt>
          <cx:pt idx="712">42.289999999999999</cx:pt>
          <cx:pt idx="713">41.359999999999999</cx:pt>
          <cx:pt idx="714">43.060000000000002</cx:pt>
          <cx:pt idx="715">40.170000000000002</cx:pt>
          <cx:pt idx="716">41.829999999999998</cx:pt>
          <cx:pt idx="717">41.280000000000001</cx:pt>
          <cx:pt idx="718">41.369999999999997</cx:pt>
          <cx:pt idx="719">43.670000000000002</cx:pt>
          <cx:pt idx="720">41.560000000000002</cx:pt>
          <cx:pt idx="721">41.210000000000001</cx:pt>
          <cx:pt idx="722">43.170000000000002</cx:pt>
          <cx:pt idx="723">41.229999999999997</cx:pt>
          <cx:pt idx="724">41</cx:pt>
          <cx:pt idx="725">40.880000000000003</cx:pt>
          <cx:pt idx="726">42.25</cx:pt>
          <cx:pt idx="727">43.219999999999999</cx:pt>
          <cx:pt idx="728">40.170000000000002</cx:pt>
          <cx:pt idx="729">43</cx:pt>
          <cx:pt idx="730">42.170000000000002</cx:pt>
          <cx:pt idx="731">42.329999999999998</cx:pt>
          <cx:pt idx="732">41.57</cx:pt>
          <cx:pt idx="733">41.869999999999997</cx:pt>
          <cx:pt idx="734">43.399999999999999</cx:pt>
          <cx:pt idx="735">43.210000000000001</cx:pt>
          <cx:pt idx="736">42.5</cx:pt>
          <cx:pt idx="737">43.030000000000001</cx:pt>
          <cx:pt idx="738">42.049999999999997</cx:pt>
          <cx:pt idx="739">43</cx:pt>
          <cx:pt idx="740">42.130000000000003</cx:pt>
          <cx:pt idx="741">41.880000000000003</cx:pt>
          <cx:pt idx="742">40.359999999999999</cx:pt>
          <cx:pt idx="743">41.369999999999997</cx:pt>
          <cx:pt idx="744">42.359999999999999</cx:pt>
          <cx:pt idx="745">40.789999999999999</cx:pt>
          <cx:pt idx="746">41.210000000000001</cx:pt>
          <cx:pt idx="747">43.280000000000001</cx:pt>
          <cx:pt idx="748">43.710000000000001</cx:pt>
          <cx:pt idx="749">41.350000000000001</cx:pt>
          <cx:pt idx="750">42.969999999999999</cx:pt>
          <cx:pt idx="751">42.270000000000003</cx:pt>
          <cx:pt idx="752">42.369999999999997</cx:pt>
          <cx:pt idx="753">40.039999999999999</cx:pt>
          <cx:pt idx="754">43.109999999999999</cx:pt>
          <cx:pt idx="755">42.25</cx:pt>
          <cx:pt idx="756">41.5</cx:pt>
          <cx:pt idx="757">40.350000000000001</cx:pt>
          <cx:pt idx="758">42.659999999999997</cx:pt>
          <cx:pt idx="759">42.979999999999997</cx:pt>
          <cx:pt idx="760">41.049999999999997</cx:pt>
          <cx:pt idx="761">42.549999999999997</cx:pt>
          <cx:pt idx="762">41.079999999999998</cx:pt>
          <cx:pt idx="763">40.219999999999999</cx:pt>
          <cx:pt idx="764">42.609999999999999</cx:pt>
          <cx:pt idx="765">43.189999999999998</cx:pt>
          <cx:pt idx="766">43.100000000000001</cx:pt>
          <cx:pt idx="767">40.469999999999999</cx:pt>
          <cx:pt idx="768">42.670000000000002</cx:pt>
          <cx:pt idx="769">42</cx:pt>
          <cx:pt idx="770">40.759999999999998</cx:pt>
          <cx:pt idx="771">43.189999999999998</cx:pt>
          <cx:pt idx="772">43.600000000000001</cx:pt>
          <cx:pt idx="773">42.020000000000003</cx:pt>
          <cx:pt idx="774">43.240000000000002</cx:pt>
          <cx:pt idx="775">43.68</cx:pt>
          <cx:pt idx="776">40.280000000000001</cx:pt>
          <cx:pt idx="777">43.240000000000002</cx:pt>
          <cx:pt idx="778">42.549999999999997</cx:pt>
          <cx:pt idx="779">42.780000000000001</cx:pt>
          <cx:pt idx="780">42.289999999999999</cx:pt>
          <cx:pt idx="781">41.549999999999997</cx:pt>
          <cx:pt idx="782">40.079999999999998</cx:pt>
          <cx:pt idx="783">42.810000000000002</cx:pt>
          <cx:pt idx="784">40.43</cx:pt>
          <cx:pt idx="785">41.359999999999999</cx:pt>
          <cx:pt idx="786">41.700000000000003</cx:pt>
          <cx:pt idx="787">40.25</cx:pt>
          <cx:pt idx="788">43.350000000000001</cx:pt>
          <cx:pt idx="789">43.780000000000001</cx:pt>
          <cx:pt idx="790">43.5</cx:pt>
          <cx:pt idx="791">41.07</cx:pt>
          <cx:pt idx="792">40.079999999999998</cx:pt>
          <cx:pt idx="793">41.119999999999997</cx:pt>
          <cx:pt idx="794">40.43</cx:pt>
          <cx:pt idx="795">41.210000000000001</cx:pt>
          <cx:pt idx="796">43.399999999999999</cx:pt>
          <cx:pt idx="797">43.07</cx:pt>
          <cx:pt idx="798">41.890000000000001</cx:pt>
          <cx:pt idx="799">42.649999999999999</cx:pt>
          <cx:pt idx="800">41.740000000000002</cx:pt>
          <cx:pt idx="801">41.299999999999997</cx:pt>
          <cx:pt idx="802">42.030000000000001</cx:pt>
          <cx:pt idx="803">43.520000000000003</cx:pt>
          <cx:pt idx="804">40.020000000000003</cx:pt>
          <cx:pt idx="805">43.259999999999998</cx:pt>
          <cx:pt idx="806">43.57</cx:pt>
          <cx:pt idx="807">41.479999999999997</cx:pt>
          <cx:pt idx="808">40.600000000000001</cx:pt>
          <cx:pt idx="809">43.009999999999998</cx:pt>
          <cx:pt idx="810">41.469999999999999</cx:pt>
          <cx:pt idx="811">40.950000000000003</cx:pt>
          <cx:pt idx="812">41.369999999999997</cx:pt>
          <cx:pt idx="813">41.439999999999998</cx:pt>
          <cx:pt idx="814">42.270000000000003</cx:pt>
          <cx:pt idx="815">42.399999999999999</cx:pt>
          <cx:pt idx="816">40.840000000000003</cx:pt>
          <cx:pt idx="817">40.729999999999997</cx:pt>
          <cx:pt idx="818">42.289999999999999</cx:pt>
          <cx:pt idx="819">43.159999999999997</cx:pt>
          <cx:pt idx="820">41.759999999999998</cx:pt>
          <cx:pt idx="821">40</cx:pt>
          <cx:pt idx="822">41.109999999999999</cx:pt>
          <cx:pt idx="823">40.799999999999997</cx:pt>
          <cx:pt idx="824">43.539999999999999</cx:pt>
          <cx:pt idx="825">41.020000000000003</cx:pt>
          <cx:pt idx="826">41.780000000000001</cx:pt>
          <cx:pt idx="827">43.68</cx:pt>
          <cx:pt idx="828">40.600000000000001</cx:pt>
          <cx:pt idx="829">41.310000000000002</cx:pt>
          <cx:pt idx="830">40.390000000000001</cx:pt>
          <cx:pt idx="831">41.909999999999997</cx:pt>
          <cx:pt idx="832">41.93</cx:pt>
          <cx:pt idx="833">41.990000000000002</cx:pt>
          <cx:pt idx="834">41.130000000000003</cx:pt>
          <cx:pt idx="835">43.5</cx:pt>
          <cx:pt idx="836">41.280000000000001</cx:pt>
          <cx:pt idx="837">41.859999999999999</cx:pt>
          <cx:pt idx="838">41.369999999999997</cx:pt>
          <cx:pt idx="839">40.189999999999998</cx:pt>
          <cx:pt idx="840">42.460000000000001</cx:pt>
          <cx:pt idx="841">41.340000000000003</cx:pt>
          <cx:pt idx="842">40.399999999999999</cx:pt>
          <cx:pt idx="843">41.890000000000001</cx:pt>
          <cx:pt idx="844">42.57</cx:pt>
          <cx:pt idx="845">43.909999999999997</cx:pt>
          <cx:pt idx="846">41.200000000000003</cx:pt>
          <cx:pt idx="847">41.090000000000003</cx:pt>
          <cx:pt idx="848">40.640000000000001</cx:pt>
          <cx:pt idx="849">42.600000000000001</cx:pt>
          <cx:pt idx="850">41.130000000000003</cx:pt>
          <cx:pt idx="851">40.530000000000001</cx:pt>
          <cx:pt idx="852">41.450000000000003</cx:pt>
          <cx:pt idx="853">40.210000000000001</cx:pt>
          <cx:pt idx="854">41.979999999999997</cx:pt>
          <cx:pt idx="855">41.799999999999997</cx:pt>
          <cx:pt idx="856">43.619999999999997</cx:pt>
          <cx:pt idx="857">40.710000000000001</cx:pt>
          <cx:pt idx="858">40.840000000000003</cx:pt>
          <cx:pt idx="859">42.039999999999999</cx:pt>
          <cx:pt idx="860">40.920000000000002</cx:pt>
          <cx:pt idx="861">42.210000000000001</cx:pt>
          <cx:pt idx="862">40</cx:pt>
          <cx:pt idx="863">42.170000000000002</cx:pt>
          <cx:pt idx="864">43.380000000000003</cx:pt>
          <cx:pt idx="865">43.990000000000002</cx:pt>
          <cx:pt idx="866">40.799999999999997</cx:pt>
          <cx:pt idx="867">40.649999999999999</cx:pt>
          <cx:pt idx="868">41.770000000000003</cx:pt>
          <cx:pt idx="869">43.32</cx:pt>
          <cx:pt idx="870">40.979999999999997</cx:pt>
          <cx:pt idx="871">41.219999999999999</cx:pt>
          <cx:pt idx="872">42.289999999999999</cx:pt>
          <cx:pt idx="873">44</cx:pt>
          <cx:pt idx="874">42.380000000000003</cx:pt>
          <cx:pt idx="875">43.539999999999999</cx:pt>
          <cx:pt idx="876">43.270000000000003</cx:pt>
          <cx:pt idx="877">43.149999999999999</cx:pt>
          <cx:pt idx="878">42.530000000000001</cx:pt>
          <cx:pt idx="879">42.420000000000002</cx:pt>
          <cx:pt idx="880">40.700000000000003</cx:pt>
          <cx:pt idx="881">43.130000000000003</cx:pt>
          <cx:pt idx="882">43.780000000000001</cx:pt>
          <cx:pt idx="883">41.439999999999998</cx:pt>
          <cx:pt idx="884">41.689999999999998</cx:pt>
          <cx:pt idx="885">42.509999999999998</cx:pt>
          <cx:pt idx="886">43.799999999999997</cx:pt>
          <cx:pt idx="887">40.390000000000001</cx:pt>
          <cx:pt idx="888">40.109999999999999</cx:pt>
          <cx:pt idx="889">42.390000000000001</cx:pt>
          <cx:pt idx="890">43.670000000000002</cx:pt>
          <cx:pt idx="891">41.630000000000003</cx:pt>
          <cx:pt idx="892">43.950000000000003</cx:pt>
          <cx:pt idx="893">40.460000000000001</cx:pt>
          <cx:pt idx="894">41.960000000000001</cx:pt>
          <cx:pt idx="895">41.759999999999998</cx:pt>
          <cx:pt idx="896">42.479999999999997</cx:pt>
          <cx:pt idx="897">41.289999999999999</cx:pt>
          <cx:pt idx="898">42.18</cx:pt>
          <cx:pt idx="899">43.759999999999998</cx:pt>
          <cx:pt idx="900">40.509999999999998</cx:pt>
          <cx:pt idx="901">43.359999999999999</cx:pt>
          <cx:pt idx="902">41.5</cx:pt>
          <cx:pt idx="903">40.509999999999998</cx:pt>
          <cx:pt idx="904">42.859999999999999</cx:pt>
          <cx:pt idx="905">41.509999999999998</cx:pt>
          <cx:pt idx="906">43.890000000000001</cx:pt>
          <cx:pt idx="907">41.689999999999998</cx:pt>
          <cx:pt idx="908">43.549999999999997</cx:pt>
          <cx:pt idx="909">41.82</cx:pt>
          <cx:pt idx="910">42.729999999999997</cx:pt>
          <cx:pt idx="911">41.340000000000003</cx:pt>
          <cx:pt idx="912">42.780000000000001</cx:pt>
          <cx:pt idx="913">43.030000000000001</cx:pt>
          <cx:pt idx="914">40.409999999999997</cx:pt>
          <cx:pt idx="915">40.780000000000001</cx:pt>
          <cx:pt idx="916">43.090000000000003</cx:pt>
          <cx:pt idx="917">42.57</cx:pt>
          <cx:pt idx="918">40.270000000000003</cx:pt>
          <cx:pt idx="919">43.82</cx:pt>
          <cx:pt idx="920">43.810000000000002</cx:pt>
          <cx:pt idx="921">42.560000000000002</cx:pt>
          <cx:pt idx="922">42.079999999999998</cx:pt>
          <cx:pt idx="923">42.049999999999997</cx:pt>
          <cx:pt idx="924">41.420000000000002</cx:pt>
          <cx:pt idx="925">42.869999999999997</cx:pt>
          <cx:pt idx="926">42.960000000000001</cx:pt>
          <cx:pt idx="927">42.509999999999998</cx:pt>
          <cx:pt idx="928">42.130000000000003</cx:pt>
          <cx:pt idx="929">42.880000000000003</cx:pt>
          <cx:pt idx="930">40.899999999999999</cx:pt>
          <cx:pt idx="931">40.439999999999998</cx:pt>
          <cx:pt idx="932">43.030000000000001</cx:pt>
          <cx:pt idx="933">40.170000000000002</cx:pt>
          <cx:pt idx="934">41.18</cx:pt>
          <cx:pt idx="935">43</cx:pt>
          <cx:pt idx="936">41.609999999999999</cx:pt>
          <cx:pt idx="937">41.289999999999999</cx:pt>
          <cx:pt idx="938">43.579999999999998</cx:pt>
          <cx:pt idx="939">42.43</cx:pt>
          <cx:pt idx="940">40.130000000000003</cx:pt>
          <cx:pt idx="941">41.850000000000001</cx:pt>
          <cx:pt idx="942">40.770000000000003</cx:pt>
          <cx:pt idx="943">43.219999999999999</cx:pt>
          <cx:pt idx="944">42.829999999999998</cx:pt>
          <cx:pt idx="945">43.630000000000003</cx:pt>
          <cx:pt idx="946">40.530000000000001</cx:pt>
          <cx:pt idx="947">43.950000000000003</cx:pt>
          <cx:pt idx="948">41.530000000000001</cx:pt>
          <cx:pt idx="949">40.539999999999999</cx:pt>
          <cx:pt idx="950">40.460000000000001</cx:pt>
          <cx:pt idx="951">43.32</cx:pt>
          <cx:pt idx="952">40.07</cx:pt>
          <cx:pt idx="953">41.280000000000001</cx:pt>
          <cx:pt idx="954">43.659999999999997</cx:pt>
          <cx:pt idx="955">42.789999999999999</cx:pt>
          <cx:pt idx="956">43.159999999999997</cx:pt>
          <cx:pt idx="957">42</cx:pt>
          <cx:pt idx="958">43.780000000000001</cx:pt>
          <cx:pt idx="959">43.189999999999998</cx:pt>
          <cx:pt idx="960">41.460000000000001</cx:pt>
          <cx:pt idx="961">42.259999999999998</cx:pt>
          <cx:pt idx="962">40.219999999999999</cx:pt>
          <cx:pt idx="963">41.280000000000001</cx:pt>
          <cx:pt idx="964">42.130000000000003</cx:pt>
          <cx:pt idx="965">40.289999999999999</cx:pt>
          <cx:pt idx="966">40.920000000000002</cx:pt>
          <cx:pt idx="967">41.799999999999997</cx:pt>
          <cx:pt idx="968">41.640000000000001</cx:pt>
          <cx:pt idx="969">43.740000000000002</cx:pt>
          <cx:pt idx="970">40.789999999999999</cx:pt>
          <cx:pt idx="971">43.259999999999998</cx:pt>
          <cx:pt idx="972">41.469999999999999</cx:pt>
          <cx:pt idx="973">41.539999999999999</cx:pt>
          <cx:pt idx="974">43.979999999999997</cx:pt>
          <cx:pt idx="975">43.920000000000002</cx:pt>
          <cx:pt idx="976">41.189999999999998</cx:pt>
          <cx:pt idx="977">42.240000000000002</cx:pt>
          <cx:pt idx="978">43.280000000000001</cx:pt>
          <cx:pt idx="979">42.149999999999999</cx:pt>
          <cx:pt idx="980">43.979999999999997</cx:pt>
          <cx:pt idx="981">43.850000000000001</cx:pt>
          <cx:pt idx="982">43.100000000000001</cx:pt>
          <cx:pt idx="983">41.5</cx:pt>
          <cx:pt idx="984">42.789999999999999</cx:pt>
          <cx:pt idx="985">42</cx:pt>
          <cx:pt idx="986">40.219999999999999</cx:pt>
          <cx:pt idx="987">40.649999999999999</cx:pt>
          <cx:pt idx="988">40.170000000000002</cx:pt>
          <cx:pt idx="989">42.880000000000003</cx:pt>
          <cx:pt idx="990">42.789999999999999</cx:pt>
          <cx:pt idx="991">43.340000000000003</cx:pt>
          <cx:pt idx="992">42.149999999999999</cx:pt>
          <cx:pt idx="993">40.329999999999998</cx:pt>
          <cx:pt idx="994">43.869999999999997</cx:pt>
          <cx:pt idx="995">42.850000000000001</cx:pt>
          <cx:pt idx="996">43.789999999999999</cx:pt>
          <cx:pt idx="997">42.030000000000001</cx:pt>
          <cx:pt idx="998">40</cx:pt>
          <cx:pt idx="999">41.130000000000003</cx:pt>
          <cx:pt idx="1000">40.43</cx:pt>
          <cx:pt idx="1001">40.270000000000003</cx:pt>
          <cx:pt idx="1002">41.829999999999998</cx:pt>
          <cx:pt idx="1003">43.240000000000002</cx:pt>
          <cx:pt idx="1004">41.43</cx:pt>
          <cx:pt idx="1005">42.289999999999999</cx:pt>
          <cx:pt idx="1006">41.020000000000003</cx:pt>
          <cx:pt idx="1007">42.149999999999999</cx:pt>
          <cx:pt idx="1008">43.82</cx:pt>
          <cx:pt idx="1009">41.460000000000001</cx:pt>
          <cx:pt idx="1010">41.420000000000002</cx:pt>
          <cx:pt idx="1011">42.859999999999999</cx:pt>
          <cx:pt idx="1012">40.130000000000003</cx:pt>
          <cx:pt idx="1013">42.240000000000002</cx:pt>
          <cx:pt idx="1014">41.219999999999999</cx:pt>
          <cx:pt idx="1015">43.159999999999997</cx:pt>
          <cx:pt idx="1016">40.75</cx:pt>
          <cx:pt idx="1017">43.32</cx:pt>
          <cx:pt idx="1018">43.299999999999997</cx:pt>
          <cx:pt idx="1019">40.119999999999997</cx:pt>
          <cx:pt idx="1020">40.57</cx:pt>
          <cx:pt idx="1021">40.170000000000002</cx:pt>
          <cx:pt idx="1022">42.950000000000003</cx:pt>
          <cx:pt idx="1023">41.039999999999999</cx:pt>
          <cx:pt idx="1024">41.969999999999999</cx:pt>
          <cx:pt idx="1025">40.210000000000001</cx:pt>
          <cx:pt idx="1026">42.810000000000002</cx:pt>
          <cx:pt idx="1027">43.130000000000003</cx:pt>
          <cx:pt idx="1028">42.310000000000002</cx:pt>
          <cx:pt idx="1029">40.450000000000003</cx:pt>
          <cx:pt idx="1030">41.479999999999997</cx:pt>
          <cx:pt idx="1031">41.200000000000003</cx:pt>
          <cx:pt idx="1032">42.649999999999999</cx:pt>
          <cx:pt idx="1033">42.520000000000003</cx:pt>
          <cx:pt idx="1034">41.740000000000002</cx:pt>
          <cx:pt idx="1035">41.75</cx:pt>
          <cx:pt idx="1036">40.109999999999999</cx:pt>
          <cx:pt idx="1037">43.93</cx:pt>
          <cx:pt idx="1038">41.5</cx:pt>
          <cx:pt idx="1039">43.039999999999999</cx:pt>
          <cx:pt idx="1040">40.799999999999997</cx:pt>
          <cx:pt idx="1041">41.219999999999999</cx:pt>
          <cx:pt idx="1042">40.119999999999997</cx:pt>
          <cx:pt idx="1043">40.880000000000003</cx:pt>
          <cx:pt idx="1044">40.539999999999999</cx:pt>
          <cx:pt idx="1045">40.280000000000001</cx:pt>
          <cx:pt idx="1046">40.109999999999999</cx:pt>
          <cx:pt idx="1047">43.109999999999999</cx:pt>
          <cx:pt idx="1048">42.100000000000001</cx:pt>
          <cx:pt idx="1049">42.350000000000001</cx:pt>
          <cx:pt idx="1050">41.530000000000001</cx:pt>
          <cx:pt idx="1051">43.549999999999997</cx:pt>
          <cx:pt idx="1052">42.539999999999999</cx:pt>
          <cx:pt idx="1053">40.060000000000002</cx:pt>
          <cx:pt idx="1054">41.490000000000002</cx:pt>
          <cx:pt idx="1055">41.380000000000003</cx:pt>
          <cx:pt idx="1056">43.859999999999999</cx:pt>
          <cx:pt idx="1057">40.840000000000003</cx:pt>
          <cx:pt idx="1058">42.039999999999999</cx:pt>
          <cx:pt idx="1059">41.490000000000002</cx:pt>
          <cx:pt idx="1060">42.57</cx:pt>
          <cx:pt idx="1061">42.969999999999999</cx:pt>
          <cx:pt idx="1062">41.909999999999997</cx:pt>
          <cx:pt idx="1063">40.780000000000001</cx:pt>
          <cx:pt idx="1064">40.259999999999998</cx:pt>
          <cx:pt idx="1065">43.079999999999998</cx:pt>
          <cx:pt idx="1066">43.5</cx:pt>
          <cx:pt idx="1067">41.049999999999997</cx:pt>
          <cx:pt idx="1068">41.240000000000002</cx:pt>
          <cx:pt idx="1069">41.409999999999997</cx:pt>
          <cx:pt idx="1070">42.07</cx:pt>
          <cx:pt idx="1071">43.049999999999997</cx:pt>
          <cx:pt idx="1072">43.609999999999999</cx:pt>
          <cx:pt idx="1073">43.799999999999997</cx:pt>
          <cx:pt idx="1074">42.369999999999997</cx:pt>
          <cx:pt idx="1075">42.960000000000001</cx:pt>
          <cx:pt idx="1076">44.159999999999997</cx:pt>
          <cx:pt idx="1077">42.810000000000002</cx:pt>
          <cx:pt idx="1078">43.93</cx:pt>
          <cx:pt idx="1079">42.909999999999997</cx:pt>
          <cx:pt idx="1080">42.530000000000001</cx:pt>
          <cx:pt idx="1081">43.469999999999999</cx:pt>
          <cx:pt idx="1082">44.340000000000003</cx:pt>
          <cx:pt idx="1083">42.240000000000002</cx:pt>
          <cx:pt idx="1084">44.119999999999997</cx:pt>
          <cx:pt idx="1085">44.159999999999997</cx:pt>
          <cx:pt idx="1086">43.57</cx:pt>
          <cx:pt idx="1087">43.219999999999999</cx:pt>
          <cx:pt idx="1088">42.350000000000001</cx:pt>
          <cx:pt idx="1089">44.039999999999999</cx:pt>
          <cx:pt idx="1090">44.899999999999999</cx:pt>
          <cx:pt idx="1091">44.700000000000003</cx:pt>
          <cx:pt idx="1092">42.359999999999999</cx:pt>
          <cx:pt idx="1093">42.090000000000003</cx:pt>
          <cx:pt idx="1094">43.43</cx:pt>
          <cx:pt idx="1095">42.130000000000003</cx:pt>
          <cx:pt idx="1096">42.899999999999999</cx:pt>
          <cx:pt idx="1097">43.759999999999998</cx:pt>
          <cx:pt idx="1098">44.149999999999999</cx:pt>
          <cx:pt idx="1099">44.329999999999998</cx:pt>
          <cx:pt idx="1100">42.579999999999998</cx:pt>
          <cx:pt idx="1101">42.780000000000001</cx:pt>
          <cx:pt idx="1102">43.829999999999998</cx:pt>
          <cx:pt idx="1103">44.869999999999997</cx:pt>
          <cx:pt idx="1104">42.149999999999999</cx:pt>
          <cx:pt idx="1105">43.780000000000001</cx:pt>
          <cx:pt idx="1106">42.780000000000001</cx:pt>
          <cx:pt idx="1107">43.549999999999997</cx:pt>
          <cx:pt idx="1108">44.869999999999997</cx:pt>
          <cx:pt idx="1109">43</cx:pt>
          <cx:pt idx="1110">43.890000000000001</cx:pt>
          <cx:pt idx="1111">43.770000000000003</cx:pt>
          <cx:pt idx="1112">43.630000000000003</cx:pt>
          <cx:pt idx="1113">42.090000000000003</cx:pt>
          <cx:pt idx="1114">40.700000000000003</cx:pt>
          <cx:pt idx="1115">41.990000000000002</cx:pt>
          <cx:pt idx="1116">43.200000000000003</cx:pt>
          <cx:pt idx="1117">41.350000000000001</cx:pt>
          <cx:pt idx="1118">40.530000000000001</cx:pt>
          <cx:pt idx="1119">42.479999999999997</cx:pt>
          <cx:pt idx="1120">40.359999999999999</cx:pt>
          <cx:pt idx="1121">41.729999999999997</cx:pt>
          <cx:pt idx="1122">40.539999999999999</cx:pt>
          <cx:pt idx="1123">41.969999999999999</cx:pt>
          <cx:pt idx="1124">41.060000000000002</cx:pt>
          <cx:pt idx="1125">40.399999999999999</cx:pt>
          <cx:pt idx="1126">41.539999999999999</cx:pt>
          <cx:pt idx="1127">41.969999999999999</cx:pt>
          <cx:pt idx="1128">41.210000000000001</cx:pt>
          <cx:pt idx="1129">41.719999999999999</cx:pt>
          <cx:pt idx="1130">41.770000000000003</cx:pt>
          <cx:pt idx="1131">40.700000000000003</cx:pt>
          <cx:pt idx="1132">42.920000000000002</cx:pt>
          <cx:pt idx="1133">40.950000000000003</cx:pt>
          <cx:pt idx="1134">42.68</cx:pt>
          <cx:pt idx="1135">43.640000000000001</cx:pt>
          <cx:pt idx="1136">40.229999999999997</cx:pt>
          <cx:pt idx="1137">41.530000000000001</cx:pt>
          <cx:pt idx="1138">40.219999999999999</cx:pt>
          <cx:pt idx="1139">43.619999999999997</cx:pt>
          <cx:pt idx="1140">40.109999999999999</cx:pt>
          <cx:pt idx="1141">42.759999999999998</cx:pt>
          <cx:pt idx="1142">40.939999999999998</cx:pt>
          <cx:pt idx="1143">41.149999999999999</cx:pt>
          <cx:pt idx="1144">43.619999999999997</cx:pt>
          <cx:pt idx="1145">42.880000000000003</cx:pt>
          <cx:pt idx="1146">40.880000000000003</cx:pt>
          <cx:pt idx="1147">42.759999999999998</cx:pt>
          <cx:pt idx="1148">42.079999999999998</cx:pt>
          <cx:pt idx="1149">43.240000000000002</cx:pt>
          <cx:pt idx="1150">41.759999999999998</cx:pt>
          <cx:pt idx="1151">41.049999999999997</cx:pt>
          <cx:pt idx="1152">41.219999999999999</cx:pt>
          <cx:pt idx="1153">42.329999999999998</cx:pt>
          <cx:pt idx="1154">40.920000000000002</cx:pt>
          <cx:pt idx="1155">43.909999999999997</cx:pt>
          <cx:pt idx="1156">41.25</cx:pt>
          <cx:pt idx="1157">42</cx:pt>
          <cx:pt idx="1158">42.609999999999999</cx:pt>
          <cx:pt idx="1159">42.170000000000002</cx:pt>
          <cx:pt idx="1160">40.380000000000003</cx:pt>
          <cx:pt idx="1161">42.829999999999998</cx:pt>
          <cx:pt idx="1162">42.079999999999998</cx:pt>
          <cx:pt idx="1163">43.909999999999997</cx:pt>
          <cx:pt idx="1164">41.340000000000003</cx:pt>
          <cx:pt idx="1165">40.899999999999999</cx:pt>
          <cx:pt idx="1166">42.490000000000002</cx:pt>
          <cx:pt idx="1167">40.270000000000003</cx:pt>
          <cx:pt idx="1168">41.159999999999997</cx:pt>
          <cx:pt idx="1169">41.049999999999997</cx:pt>
          <cx:pt idx="1170">42.049999999999997</cx:pt>
          <cx:pt idx="1171">42.130000000000003</cx:pt>
          <cx:pt idx="1172">41</cx:pt>
          <cx:pt idx="1173">41.210000000000001</cx:pt>
          <cx:pt idx="1174">41.719999999999999</cx:pt>
          <cx:pt idx="1175">40.049999999999997</cx:pt>
          <cx:pt idx="1176">42.189999999999998</cx:pt>
          <cx:pt idx="1177">40.450000000000003</cx:pt>
          <cx:pt idx="1178">43.509999999999998</cx:pt>
          <cx:pt idx="1179">41.329999999999998</cx:pt>
          <cx:pt idx="1180">41.950000000000003</cx:pt>
          <cx:pt idx="1181">43.579999999999998</cx:pt>
          <cx:pt idx="1182">41.140000000000001</cx:pt>
          <cx:pt idx="1183">42.299999999999997</cx:pt>
          <cx:pt idx="1184">42.829999999999998</cx:pt>
          <cx:pt idx="1185">42.649999999999999</cx:pt>
          <cx:pt idx="1186">41.140000000000001</cx:pt>
          <cx:pt idx="1187">40.5</cx:pt>
          <cx:pt idx="1188">41.859999999999999</cx:pt>
          <cx:pt idx="1189">43.799999999999997</cx:pt>
          <cx:pt idx="1190">41.060000000000002</cx:pt>
          <cx:pt idx="1191">41.729999999999997</cx:pt>
          <cx:pt idx="1192">41.530000000000001</cx:pt>
          <cx:pt idx="1193">40.289999999999999</cx:pt>
          <cx:pt idx="1194">41.890000000000001</cx:pt>
          <cx:pt idx="1195">40.32</cx:pt>
          <cx:pt idx="1196">43.109999999999999</cx:pt>
          <cx:pt idx="1197">40.07</cx:pt>
          <cx:pt idx="1198">40.539999999999999</cx:pt>
          <cx:pt idx="1199">41.32</cx:pt>
          <cx:pt idx="1200">42.729999999999997</cx:pt>
          <cx:pt idx="1201">42.939999999999998</cx:pt>
          <cx:pt idx="1202">42.170000000000002</cx:pt>
          <cx:pt idx="1203">41.57</cx:pt>
          <cx:pt idx="1204">42.630000000000003</cx:pt>
          <cx:pt idx="1205">40.259999999999998</cx:pt>
          <cx:pt idx="1206">43.310000000000002</cx:pt>
          <cx:pt idx="1207">41.869999999999997</cx:pt>
          <cx:pt idx="1208">41.310000000000002</cx:pt>
          <cx:pt idx="1209">43.840000000000003</cx:pt>
          <cx:pt idx="1210">40.32</cx:pt>
          <cx:pt idx="1211">42.210000000000001</cx:pt>
          <cx:pt idx="1212">40.520000000000003</cx:pt>
          <cx:pt idx="1213">43.25</cx:pt>
          <cx:pt idx="1214">40.530000000000001</cx:pt>
          <cx:pt idx="1215">43.82</cx:pt>
          <cx:pt idx="1216">40.259999999999998</cx:pt>
          <cx:pt idx="1217">43.479999999999997</cx:pt>
          <cx:pt idx="1218">41.880000000000003</cx:pt>
          <cx:pt idx="1219">41.93</cx:pt>
          <cx:pt idx="1220">42.880000000000003</cx:pt>
          <cx:pt idx="1221">42.530000000000001</cx:pt>
          <cx:pt idx="1222">41.109999999999999</cx:pt>
          <cx:pt idx="1223">40.5</cx:pt>
          <cx:pt idx="1224">41.770000000000003</cx:pt>
          <cx:pt idx="1225">43.640000000000001</cx:pt>
          <cx:pt idx="1226">40.890000000000001</cx:pt>
          <cx:pt idx="1227">43.719999999999999</cx:pt>
          <cx:pt idx="1228">43.079999999999998</cx:pt>
          <cx:pt idx="1229">41.469999999999999</cx:pt>
          <cx:pt idx="1230">42.399999999999999</cx:pt>
          <cx:pt idx="1231">42.939999999999998</cx:pt>
          <cx:pt idx="1232">40.640000000000001</cx:pt>
          <cx:pt idx="1233">41.82</cx:pt>
          <cx:pt idx="1234">40.640000000000001</cx:pt>
          <cx:pt idx="1235">43.189999999999998</cx:pt>
          <cx:pt idx="1236">40.329999999999998</cx:pt>
          <cx:pt idx="1237">40.810000000000002</cx:pt>
          <cx:pt idx="1238">41.979999999999997</cx:pt>
          <cx:pt idx="1239">42.439999999999998</cx:pt>
          <cx:pt idx="1240">40.329999999999998</cx:pt>
          <cx:pt idx="1241">43.689999999999998</cx:pt>
          <cx:pt idx="1242">43.68</cx:pt>
          <cx:pt idx="1243">43.700000000000003</cx:pt>
          <cx:pt idx="1244">43.280000000000001</cx:pt>
          <cx:pt idx="1245">43.210000000000001</cx:pt>
          <cx:pt idx="1246">42.649999999999999</cx:pt>
          <cx:pt idx="1247">40.710000000000001</cx:pt>
          <cx:pt idx="1248">40.090000000000003</cx:pt>
          <cx:pt idx="1249">42.310000000000002</cx:pt>
          <cx:pt idx="1250">41.68</cx:pt>
          <cx:pt idx="1251">41.640000000000001</cx:pt>
          <cx:pt idx="1252">40.280000000000001</cx:pt>
          <cx:pt idx="1253">41.75</cx:pt>
          <cx:pt idx="1254">43.409999999999997</cx:pt>
          <cx:pt idx="1255">41.299999999999997</cx:pt>
          <cx:pt idx="1256">42.119999999999997</cx:pt>
          <cx:pt idx="1257">42.890000000000001</cx:pt>
          <cx:pt idx="1258">40.369999999999997</cx:pt>
          <cx:pt idx="1259">43.049999999999997</cx:pt>
          <cx:pt idx="1260">41.5</cx:pt>
          <cx:pt idx="1261">42.780000000000001</cx:pt>
          <cx:pt idx="1262">42.030000000000001</cx:pt>
          <cx:pt idx="1263">43.969999999999999</cx:pt>
          <cx:pt idx="1264">44.020000000000003</cx:pt>
          <cx:pt idx="1265">44.619999999999997</cx:pt>
          <cx:pt idx="1266">43.479999999999997</cx:pt>
          <cx:pt idx="1267">44.619999999999997</cx:pt>
          <cx:pt idx="1268">44.530000000000001</cx:pt>
          <cx:pt idx="1269">43.549999999999997</cx:pt>
          <cx:pt idx="1270">42.079999999999998</cx:pt>
          <cx:pt idx="1271">42.229999999999997</cx:pt>
          <cx:pt idx="1272">42.57</cx:pt>
          <cx:pt idx="1273">44.789999999999999</cx:pt>
          <cx:pt idx="1274">43.229999999999997</cx:pt>
          <cx:pt idx="1275">42.659999999999997</cx:pt>
          <cx:pt idx="1276">44.079999999999998</cx:pt>
          <cx:pt idx="1277">42.119999999999997</cx:pt>
          <cx:pt idx="1278">42.420000000000002</cx:pt>
          <cx:pt idx="1279">44.390000000000001</cx:pt>
          <cx:pt idx="1280">42.630000000000003</cx:pt>
          <cx:pt idx="1281">43.600000000000001</cx:pt>
          <cx:pt idx="1282">44.609999999999999</cx:pt>
          <cx:pt idx="1283">42.030000000000001</cx:pt>
          <cx:pt idx="1284">43.850000000000001</cx:pt>
          <cx:pt idx="1285">43.549999999999997</cx:pt>
          <cx:pt idx="1286">42.630000000000003</cx:pt>
          <cx:pt idx="1287">43.689999999999998</cx:pt>
          <cx:pt idx="1288">44.869999999999997</cx:pt>
          <cx:pt idx="1289">44.359999999999999</cx:pt>
          <cx:pt idx="1290">43.340000000000003</cx:pt>
          <cx:pt idx="1291">44.280000000000001</cx:pt>
          <cx:pt idx="1292">44.100000000000001</cx:pt>
          <cx:pt idx="1293">44.009999999999998</cx:pt>
          <cx:pt idx="1294">44.409999999999997</cx:pt>
          <cx:pt idx="1295">42.520000000000003</cx:pt>
          <cx:pt idx="1296">44.950000000000003</cx:pt>
          <cx:pt idx="1297">44.729999999999997</cx:pt>
          <cx:pt idx="1298">43.670000000000002</cx:pt>
          <cx:pt idx="1299">44.939999999999998</cx:pt>
          <cx:pt idx="1300">42.939999999999998</cx:pt>
          <cx:pt idx="1301">43.329999999999998</cx:pt>
          <cx:pt idx="1302">43.810000000000002</cx:pt>
          <cx:pt idx="1303">44.170000000000002</cx:pt>
          <cx:pt idx="1304">44.68</cx:pt>
          <cx:pt idx="1305">42.090000000000003</cx:pt>
          <cx:pt idx="1306">40.530000000000001</cx:pt>
          <cx:pt idx="1307">41.590000000000003</cx:pt>
          <cx:pt idx="1308">41.659999999999997</cx:pt>
          <cx:pt idx="1309">42.079999999999998</cx:pt>
          <cx:pt idx="1310">42.299999999999997</cx:pt>
          <cx:pt idx="1311">43.420000000000002</cx:pt>
          <cx:pt idx="1312">43.329999999999998</cx:pt>
          <cx:pt idx="1313">41.740000000000002</cx:pt>
          <cx:pt idx="1314">42.049999999999997</cx:pt>
          <cx:pt idx="1315">41.840000000000003</cx:pt>
          <cx:pt idx="1316">42.170000000000002</cx:pt>
          <cx:pt idx="1317">43.509999999999998</cx:pt>
          <cx:pt idx="1318">43.539999999999999</cx:pt>
          <cx:pt idx="1319">43</cx:pt>
          <cx:pt idx="1320">40.829999999999998</cx:pt>
          <cx:pt idx="1321">43.460000000000001</cx:pt>
          <cx:pt idx="1322">42.859999999999999</cx:pt>
          <cx:pt idx="1323">41.460000000000001</cx:pt>
          <cx:pt idx="1324">42.789999999999999</cx:pt>
          <cx:pt idx="1325">40.920000000000002</cx:pt>
          <cx:pt idx="1326">40.869999999999997</cx:pt>
          <cx:pt idx="1327">42.479999999999997</cx:pt>
          <cx:pt idx="1328">42.270000000000003</cx:pt>
          <cx:pt idx="1329">41.18</cx:pt>
          <cx:pt idx="1330">43.359999999999999</cx:pt>
          <cx:pt idx="1331">41.140000000000001</cx:pt>
          <cx:pt idx="1332">41.210000000000001</cx:pt>
          <cx:pt idx="1333">42.289999999999999</cx:pt>
          <cx:pt idx="1334">43.560000000000002</cx:pt>
          <cx:pt idx="1335">40.090000000000003</cx:pt>
          <cx:pt idx="1336">41.43</cx:pt>
          <cx:pt idx="1337">43.630000000000003</cx:pt>
          <cx:pt idx="1338">41.670000000000002</cx:pt>
          <cx:pt idx="1339">43.869999999999997</cx:pt>
          <cx:pt idx="1340">40.729999999999997</cx:pt>
          <cx:pt idx="1341">43.799999999999997</cx:pt>
          <cx:pt idx="1342">43.619999999999997</cx:pt>
          <cx:pt idx="1343">42.509999999999998</cx:pt>
          <cx:pt idx="1344">41.700000000000003</cx:pt>
          <cx:pt idx="1345">41.18</cx:pt>
          <cx:pt idx="1346">43.82</cx:pt>
          <cx:pt idx="1347">42.880000000000003</cx:pt>
          <cx:pt idx="1348">43.18</cx:pt>
          <cx:pt idx="1349">43.689999999999998</cx:pt>
          <cx:pt idx="1350">44</cx:pt>
          <cx:pt idx="1351">40.950000000000003</cx:pt>
          <cx:pt idx="1352">43.640000000000001</cx:pt>
          <cx:pt idx="1353">43.049999999999997</cx:pt>
          <cx:pt idx="1354">43.159999999999997</cx:pt>
          <cx:pt idx="1355">43.840000000000003</cx:pt>
          <cx:pt idx="1356">40.899999999999999</cx:pt>
          <cx:pt idx="1357">43.729999999999997</cx:pt>
          <cx:pt idx="1358">41.600000000000001</cx:pt>
          <cx:pt idx="1359">40.619999999999997</cx:pt>
          <cx:pt idx="1360">42.079999999999998</cx:pt>
          <cx:pt idx="1361">41.009999999999998</cx:pt>
          <cx:pt idx="1362">43.619999999999997</cx:pt>
          <cx:pt idx="1363">43.140000000000001</cx:pt>
          <cx:pt idx="1364">42.259999999999998</cx:pt>
          <cx:pt idx="1365">40.030000000000001</cx:pt>
          <cx:pt idx="1366">42.350000000000001</cx:pt>
          <cx:pt idx="1367">41.039999999999999</cx:pt>
          <cx:pt idx="1368">40.509999999999998</cx:pt>
          <cx:pt idx="1369">40.359999999999999</cx:pt>
          <cx:pt idx="1370">43.090000000000003</cx:pt>
          <cx:pt idx="1371">42</cx:pt>
          <cx:pt idx="1372">40.479999999999997</cx:pt>
          <cx:pt idx="1373">42.359999999999999</cx:pt>
          <cx:pt idx="1374">43.159999999999997</cx:pt>
          <cx:pt idx="1375">40.469999999999999</cx:pt>
          <cx:pt idx="1376">42.439999999999998</cx:pt>
          <cx:pt idx="1377">40.100000000000001</cx:pt>
          <cx:pt idx="1378">42.759999999999998</cx:pt>
          <cx:pt idx="1379">40.060000000000002</cx:pt>
          <cx:pt idx="1380">42.729999999999997</cx:pt>
          <cx:pt idx="1381">40.689999999999998</cx:pt>
          <cx:pt idx="1382">43.119999999999997</cx:pt>
          <cx:pt idx="1383">40.609999999999999</cx:pt>
          <cx:pt idx="1384">40.719999999999999</cx:pt>
          <cx:pt idx="1385">43.049999999999997</cx:pt>
          <cx:pt idx="1386">43.090000000000003</cx:pt>
          <cx:pt idx="1387">40.100000000000001</cx:pt>
          <cx:pt idx="1388">41.75</cx:pt>
          <cx:pt idx="1389">41.049999999999997</cx:pt>
          <cx:pt idx="1390">43.170000000000002</cx:pt>
          <cx:pt idx="1391">42.299999999999997</cx:pt>
          <cx:pt idx="1392">43.979999999999997</cx:pt>
          <cx:pt idx="1393">40.270000000000003</cx:pt>
          <cx:pt idx="1394">43.840000000000003</cx:pt>
          <cx:pt idx="1395">41.450000000000003</cx:pt>
          <cx:pt idx="1396">40.030000000000001</cx:pt>
          <cx:pt idx="1397">42.329999999999998</cx:pt>
          <cx:pt idx="1398">41.579999999999998</cx:pt>
          <cx:pt idx="1399">41</cx:pt>
          <cx:pt idx="1400">40.490000000000002</cx:pt>
          <cx:pt idx="1401">42.130000000000003</cx:pt>
          <cx:pt idx="1402">40.729999999999997</cx:pt>
          <cx:pt idx="1403">42.82</cx:pt>
          <cx:pt idx="1404">40.57</cx:pt>
          <cx:pt idx="1405">41.590000000000003</cx:pt>
          <cx:pt idx="1406">43.630000000000003</cx:pt>
          <cx:pt idx="1407">42.340000000000003</cx:pt>
          <cx:pt idx="1408">43.75</cx:pt>
          <cx:pt idx="1409">43.799999999999997</cx:pt>
          <cx:pt idx="1410">43.969999999999999</cx:pt>
          <cx:pt idx="1411">40.340000000000003</cx:pt>
          <cx:pt idx="1412">41.530000000000001</cx:pt>
          <cx:pt idx="1413">43.25</cx:pt>
          <cx:pt idx="1414">41.869999999999997</cx:pt>
          <cx:pt idx="1415">40.899999999999999</cx:pt>
          <cx:pt idx="1416">42.359999999999999</cx:pt>
          <cx:pt idx="1417">40.920000000000002</cx:pt>
          <cx:pt idx="1418">41.049999999999997</cx:pt>
          <cx:pt idx="1419">42.329999999999998</cx:pt>
          <cx:pt idx="1420">42.030000000000001</cx:pt>
          <cx:pt idx="1421">40.100000000000001</cx:pt>
          <cx:pt idx="1422">41.68</cx:pt>
          <cx:pt idx="1423">43.399999999999999</cx:pt>
          <cx:pt idx="1424">41.270000000000003</cx:pt>
          <cx:pt idx="1425">43.869999999999997</cx:pt>
          <cx:pt idx="1426">41.909999999999997</cx:pt>
          <cx:pt idx="1427">42.909999999999997</cx:pt>
          <cx:pt idx="1428">43</cx:pt>
          <cx:pt idx="1429">40.229999999999997</cx:pt>
          <cx:pt idx="1430">41.780000000000001</cx:pt>
          <cx:pt idx="1431">43.340000000000003</cx:pt>
          <cx:pt idx="1432">41.740000000000002</cx:pt>
          <cx:pt idx="1433">42.119999999999997</cx:pt>
          <cx:pt idx="1434">40.270000000000003</cx:pt>
          <cx:pt idx="1435">42</cx:pt>
          <cx:pt idx="1436">40.689999999999998</cx:pt>
          <cx:pt idx="1437">43.240000000000002</cx:pt>
          <cx:pt idx="1438">40.450000000000003</cx:pt>
          <cx:pt idx="1439">41.789999999999999</cx:pt>
          <cx:pt idx="1440">41.25</cx:pt>
          <cx:pt idx="1441">42.479999999999997</cx:pt>
          <cx:pt idx="1442">40.240000000000002</cx:pt>
          <cx:pt idx="1443">41.490000000000002</cx:pt>
          <cx:pt idx="1444">40.310000000000002</cx:pt>
          <cx:pt idx="1445">40.770000000000003</cx:pt>
          <cx:pt idx="1446">40.969999999999999</cx:pt>
          <cx:pt idx="1447">41.549999999999997</cx:pt>
          <cx:pt idx="1448">42.259999999999998</cx:pt>
          <cx:pt idx="1449">43.57</cx:pt>
          <cx:pt idx="1450">41.549999999999997</cx:pt>
          <cx:pt idx="1451">41.490000000000002</cx:pt>
          <cx:pt idx="1452">41.560000000000002</cx:pt>
          <cx:pt idx="1453">43.990000000000002</cx:pt>
          <cx:pt idx="1454">43.460000000000001</cx:pt>
          <cx:pt idx="1455">41.719999999999999</cx:pt>
          <cx:pt idx="1456">42.090000000000003</cx:pt>
          <cx:pt idx="1457">42.640000000000001</cx:pt>
          <cx:pt idx="1458">40.789999999999999</cx:pt>
          <cx:pt idx="1459">40.219999999999999</cx:pt>
          <cx:pt idx="1460">42.57</cx:pt>
          <cx:pt idx="1461">41.670000000000002</cx:pt>
          <cx:pt idx="1462">42.140000000000001</cx:pt>
          <cx:pt idx="1463">41.530000000000001</cx:pt>
          <cx:pt idx="1464">40.640000000000001</cx:pt>
          <cx:pt idx="1465">41.380000000000003</cx:pt>
          <cx:pt idx="1466">43.369999999999997</cx:pt>
          <cx:pt idx="1467">41.759999999999998</cx:pt>
          <cx:pt idx="1468">41.810000000000002</cx:pt>
          <cx:pt idx="1469">43.82</cx:pt>
          <cx:pt idx="1470">42.219999999999999</cx:pt>
          <cx:pt idx="1471">42.079999999999998</cx:pt>
          <cx:pt idx="1472">41.329999999999998</cx:pt>
          <cx:pt idx="1473">43.969999999999999</cx:pt>
          <cx:pt idx="1474">42.009999999999998</cx:pt>
          <cx:pt idx="1475">40.789999999999999</cx:pt>
          <cx:pt idx="1476">40.280000000000001</cx:pt>
          <cx:pt idx="1477">41.140000000000001</cx:pt>
          <cx:pt idx="1478">41.600000000000001</cx:pt>
          <cx:pt idx="1479">42.350000000000001</cx:pt>
          <cx:pt idx="1480">43.630000000000003</cx:pt>
          <cx:pt idx="1481">42.479999999999997</cx:pt>
          <cx:pt idx="1482">41.990000000000002</cx:pt>
          <cx:pt idx="1483">43.240000000000002</cx:pt>
          <cx:pt idx="1484">42.609999999999999</cx:pt>
          <cx:pt idx="1485">42.130000000000003</cx:pt>
          <cx:pt idx="1486">40.600000000000001</cx:pt>
          <cx:pt idx="1487">40.960000000000001</cx:pt>
          <cx:pt idx="1488">43.68</cx:pt>
          <cx:pt idx="1489">42.289999999999999</cx:pt>
          <cx:pt idx="1490">43.780000000000001</cx:pt>
          <cx:pt idx="1491">42.619999999999997</cx:pt>
          <cx:pt idx="1492">40.789999999999999</cx:pt>
          <cx:pt idx="1493">42.659999999999997</cx:pt>
          <cx:pt idx="1494">42.43</cx:pt>
          <cx:pt idx="1495">43.68</cx:pt>
          <cx:pt idx="1496">41.539999999999999</cx:pt>
          <cx:pt idx="1497">42.939999999999998</cx:pt>
          <cx:pt idx="1498">42.460000000000001</cx:pt>
          <cx:pt idx="1499">42.530000000000001</cx:pt>
          <cx:pt idx="1500">41.100000000000001</cx:pt>
          <cx:pt idx="1501">41.079999999999998</cx:pt>
          <cx:pt idx="1502">43.840000000000003</cx:pt>
          <cx:pt idx="1503">41.590000000000003</cx:pt>
          <cx:pt idx="1504">40.560000000000002</cx:pt>
          <cx:pt idx="1505">42.619999999999997</cx:pt>
          <cx:pt idx="1506">41.439999999999998</cx:pt>
          <cx:pt idx="1507">42.170000000000002</cx:pt>
          <cx:pt idx="1508">43.399999999999999</cx:pt>
          <cx:pt idx="1509">42.509999999999998</cx:pt>
          <cx:pt idx="1510">40.060000000000002</cx:pt>
          <cx:pt idx="1511">40.759999999999998</cx:pt>
          <cx:pt idx="1512">43.719999999999999</cx:pt>
          <cx:pt idx="1513">43.329999999999998</cx:pt>
          <cx:pt idx="1514">40.079999999999998</cx:pt>
          <cx:pt idx="1515">43.259999999999998</cx:pt>
          <cx:pt idx="1516">41.850000000000001</cx:pt>
          <cx:pt idx="1517">40.32</cx:pt>
          <cx:pt idx="1518">43.229999999999997</cx:pt>
          <cx:pt idx="1519">42.159999999999997</cx:pt>
          <cx:pt idx="1520">43.229999999999997</cx:pt>
          <cx:pt idx="1521">41.799999999999997</cx:pt>
          <cx:pt idx="1522">41.68</cx:pt>
          <cx:pt idx="1523">40.560000000000002</cx:pt>
          <cx:pt idx="1524">43</cx:pt>
          <cx:pt idx="1525">41.020000000000003</cx:pt>
          <cx:pt idx="1526">40.710000000000001</cx:pt>
          <cx:pt idx="1527">42.920000000000002</cx:pt>
          <cx:pt idx="1528">40.18</cx:pt>
          <cx:pt idx="1529">40.899999999999999</cx:pt>
          <cx:pt idx="1530">43.840000000000003</cx:pt>
          <cx:pt idx="1531">40.5</cx:pt>
          <cx:pt idx="1532">40.880000000000003</cx:pt>
          <cx:pt idx="1533">41.509999999999998</cx:pt>
          <cx:pt idx="1534">41.170000000000002</cx:pt>
          <cx:pt idx="1535">43.390000000000001</cx:pt>
          <cx:pt idx="1536">43</cx:pt>
          <cx:pt idx="1537">41.380000000000003</cx:pt>
          <cx:pt idx="1538">43.560000000000002</cx:pt>
          <cx:pt idx="1539">42.890000000000001</cx:pt>
          <cx:pt idx="1540">43.270000000000003</cx:pt>
          <cx:pt idx="1541">41.859999999999999</cx:pt>
          <cx:pt idx="1542">43.509999999999998</cx:pt>
          <cx:pt idx="1543">43.130000000000003</cx:pt>
          <cx:pt idx="1544">43.380000000000003</cx:pt>
          <cx:pt idx="1545">40.189999999999998</cx:pt>
          <cx:pt idx="1546">41.100000000000001</cx:pt>
          <cx:pt idx="1547">40.049999999999997</cx:pt>
          <cx:pt idx="1548">40.18</cx:pt>
          <cx:pt idx="1549">42.469999999999999</cx:pt>
          <cx:pt idx="1550">40.659999999999997</cx:pt>
          <cx:pt idx="1551">42.700000000000003</cx:pt>
          <cx:pt idx="1552">42.049999999999997</cx:pt>
          <cx:pt idx="1553">43.030000000000001</cx:pt>
          <cx:pt idx="1554">43.359999999999999</cx:pt>
          <cx:pt idx="1555">40.659999999999997</cx:pt>
          <cx:pt idx="1556">40.770000000000003</cx:pt>
          <cx:pt idx="1557">40.490000000000002</cx:pt>
          <cx:pt idx="1558">40.899999999999999</cx:pt>
          <cx:pt idx="1559">42.960000000000001</cx:pt>
          <cx:pt idx="1560">40.799999999999997</cx:pt>
          <cx:pt idx="1561">40.539999999999999</cx:pt>
          <cx:pt idx="1562">41.170000000000002</cx:pt>
          <cx:pt idx="1563">43.329999999999998</cx:pt>
          <cx:pt idx="1564">43.189999999999998</cx:pt>
          <cx:pt idx="1565">42.310000000000002</cx:pt>
          <cx:pt idx="1566">40.719999999999999</cx:pt>
          <cx:pt idx="1567">43.170000000000002</cx:pt>
          <cx:pt idx="1568">40.82</cx:pt>
          <cx:pt idx="1569">41.079999999999998</cx:pt>
          <cx:pt idx="1570">42.25</cx:pt>
          <cx:pt idx="1571">42.890000000000001</cx:pt>
          <cx:pt idx="1572">41.32</cx:pt>
          <cx:pt idx="1573">41.579999999999998</cx:pt>
          <cx:pt idx="1574">40.399999999999999</cx:pt>
          <cx:pt idx="1575">43.329999999999998</cx:pt>
          <cx:pt idx="1576">41.939999999999998</cx:pt>
          <cx:pt idx="1577">43.390000000000001</cx:pt>
          <cx:pt idx="1578">42.539999999999999</cx:pt>
          <cx:pt idx="1579">40.200000000000003</cx:pt>
          <cx:pt idx="1580">43.890000000000001</cx:pt>
          <cx:pt idx="1581">40.299999999999997</cx:pt>
          <cx:pt idx="1582">40.939999999999998</cx:pt>
          <cx:pt idx="1583">42.890000000000001</cx:pt>
          <cx:pt idx="1584">42.140000000000001</cx:pt>
          <cx:pt idx="1585">40.689999999999998</cx:pt>
          <cx:pt idx="1586">41.219999999999999</cx:pt>
          <cx:pt idx="1587">43.369999999999997</cx:pt>
          <cx:pt idx="1588">42.729999999999997</cx:pt>
          <cx:pt idx="1589">41.380000000000003</cx:pt>
          <cx:pt idx="1590">41.189999999999998</cx:pt>
          <cx:pt idx="1591">42.369999999999997</cx:pt>
          <cx:pt idx="1592">41.090000000000003</cx:pt>
          <cx:pt idx="1593">42.420000000000002</cx:pt>
          <cx:pt idx="1594">41.170000000000002</cx:pt>
          <cx:pt idx="1595">42.299999999999997</cx:pt>
          <cx:pt idx="1596">40.439999999999998</cx:pt>
          <cx:pt idx="1597">43</cx:pt>
          <cx:pt idx="1598">41.799999999999997</cx:pt>
          <cx:pt idx="1599">41.899999999999999</cx:pt>
          <cx:pt idx="1600">41.280000000000001</cx:pt>
          <cx:pt idx="1601">41.909999999999997</cx:pt>
          <cx:pt idx="1602">42.270000000000003</cx:pt>
          <cx:pt idx="1603">40.049999999999997</cx:pt>
          <cx:pt idx="1604">40.25</cx:pt>
          <cx:pt idx="1605">40.140000000000001</cx:pt>
          <cx:pt idx="1606">42.270000000000003</cx:pt>
          <cx:pt idx="1607">42.439999999999998</cx:pt>
          <cx:pt idx="1608">41.920000000000002</cx:pt>
          <cx:pt idx="1609">41</cx:pt>
          <cx:pt idx="1610">40.020000000000003</cx:pt>
          <cx:pt idx="1611">42.240000000000002</cx:pt>
          <cx:pt idx="1612">42.469999999999999</cx:pt>
          <cx:pt idx="1613">40.090000000000003</cx:pt>
          <cx:pt idx="1614">40.299999999999997</cx:pt>
          <cx:pt idx="1615">43.299999999999997</cx:pt>
          <cx:pt idx="1616">43.579999999999998</cx:pt>
          <cx:pt idx="1617">41.530000000000001</cx:pt>
          <cx:pt idx="1618">41.950000000000003</cx:pt>
          <cx:pt idx="1619">43.490000000000002</cx:pt>
          <cx:pt idx="1620">43.539999999999999</cx:pt>
          <cx:pt idx="1621">43.219999999999999</cx:pt>
          <cx:pt idx="1622">40.93</cx:pt>
          <cx:pt idx="1623">43.590000000000003</cx:pt>
          <cx:pt idx="1624">41.689999999999998</cx:pt>
          <cx:pt idx="1625">40.539999999999999</cx:pt>
          <cx:pt idx="1626">43.020000000000003</cx:pt>
          <cx:pt idx="1627">42.359999999999999</cx:pt>
          <cx:pt idx="1628">41.740000000000002</cx:pt>
          <cx:pt idx="1629">40.219999999999999</cx:pt>
          <cx:pt idx="1630">42.829999999999998</cx:pt>
          <cx:pt idx="1631">42.979999999999997</cx:pt>
          <cx:pt idx="1632">42.859999999999999</cx:pt>
          <cx:pt idx="1633">42.07</cx:pt>
          <cx:pt idx="1634">42.68</cx:pt>
          <cx:pt idx="1635">42.590000000000003</cx:pt>
          <cx:pt idx="1636">40.32</cx:pt>
          <cx:pt idx="1637">42.810000000000002</cx:pt>
          <cx:pt idx="1638">42.770000000000003</cx:pt>
          <cx:pt idx="1639">40.939999999999998</cx:pt>
          <cx:pt idx="1640">40.890000000000001</cx:pt>
          <cx:pt idx="1641">43.509999999999998</cx:pt>
          <cx:pt idx="1642">41.649999999999999</cx:pt>
          <cx:pt idx="1643">40.659999999999997</cx:pt>
          <cx:pt idx="1644">41.07</cx:pt>
          <cx:pt idx="1645">42.93</cx:pt>
          <cx:pt idx="1646">41.509999999999998</cx:pt>
          <cx:pt idx="1647">43.420000000000002</cx:pt>
          <cx:pt idx="1648">42.310000000000002</cx:pt>
          <cx:pt idx="1649">42.780000000000001</cx:pt>
          <cx:pt idx="1650">43.710000000000001</cx:pt>
          <cx:pt idx="1651">42.060000000000002</cx:pt>
          <cx:pt idx="1652">43.479999999999997</cx:pt>
          <cx:pt idx="1653">43.469999999999999</cx:pt>
          <cx:pt idx="1654">40.090000000000003</cx:pt>
          <cx:pt idx="1655">43.479999999999997</cx:pt>
          <cx:pt idx="1656">42.060000000000002</cx:pt>
          <cx:pt idx="1657">43.939999999999998</cx:pt>
          <cx:pt idx="1658">41.020000000000003</cx:pt>
          <cx:pt idx="1659">42.469999999999999</cx:pt>
          <cx:pt idx="1660">43.920000000000002</cx:pt>
          <cx:pt idx="1661">40.719999999999999</cx:pt>
          <cx:pt idx="1662">41.850000000000001</cx:pt>
          <cx:pt idx="1663">42.310000000000002</cx:pt>
          <cx:pt idx="1664">40.189999999999998</cx:pt>
          <cx:pt idx="1665">42.719999999999999</cx:pt>
          <cx:pt idx="1666">43.140000000000001</cx:pt>
          <cx:pt idx="1667">43.469999999999999</cx:pt>
          <cx:pt idx="1668">40.090000000000003</cx:pt>
          <cx:pt idx="1669">42.979999999999997</cx:pt>
          <cx:pt idx="1670">43.530000000000001</cx:pt>
          <cx:pt idx="1671">43.149999999999999</cx:pt>
          <cx:pt idx="1672">42.009999999999998</cx:pt>
          <cx:pt idx="1673">42.609999999999999</cx:pt>
          <cx:pt idx="1674">41.549999999999997</cx:pt>
          <cx:pt idx="1675">42</cx:pt>
          <cx:pt idx="1676">42.969999999999999</cx:pt>
          <cx:pt idx="1677">40.310000000000002</cx:pt>
          <cx:pt idx="1678">41.130000000000003</cx:pt>
          <cx:pt idx="1679">41.020000000000003</cx:pt>
          <cx:pt idx="1680">40.759999999999998</cx:pt>
          <cx:pt idx="1681">40.82</cx:pt>
          <cx:pt idx="1682">40.369999999999997</cx:pt>
          <cx:pt idx="1683">41.07</cx:pt>
          <cx:pt idx="1684">40.299999999999997</cx:pt>
          <cx:pt idx="1685">43.020000000000003</cx:pt>
          <cx:pt idx="1686">42.979999999999997</cx:pt>
          <cx:pt idx="1687">42.520000000000003</cx:pt>
          <cx:pt idx="1688">40.200000000000003</cx:pt>
          <cx:pt idx="1689">42.009999999999998</cx:pt>
          <cx:pt idx="1690">41.880000000000003</cx:pt>
          <cx:pt idx="1691">43.770000000000003</cx:pt>
          <cx:pt idx="1692">41.509999999999998</cx:pt>
          <cx:pt idx="1693">40.859999999999999</cx:pt>
          <cx:pt idx="1694">43.5</cx:pt>
          <cx:pt idx="1695">40.229999999999997</cx:pt>
          <cx:pt idx="1696">42.729999999999997</cx:pt>
          <cx:pt idx="1697">40</cx:pt>
          <cx:pt idx="1698">41.049999999999997</cx:pt>
          <cx:pt idx="1699">42.420000000000002</cx:pt>
          <cx:pt idx="1700">40.030000000000001</cx:pt>
          <cx:pt idx="1701">42.399999999999999</cx:pt>
          <cx:pt idx="1702">40.539999999999999</cx:pt>
          <cx:pt idx="1703">43.18</cx:pt>
          <cx:pt idx="1704">41.159999999999997</cx:pt>
          <cx:pt idx="1705">42.609999999999999</cx:pt>
          <cx:pt idx="1706">43.729999999999997</cx:pt>
          <cx:pt idx="1707">42.890000000000001</cx:pt>
          <cx:pt idx="1708">42.640000000000001</cx:pt>
          <cx:pt idx="1709">40.590000000000003</cx:pt>
          <cx:pt idx="1710">41.740000000000002</cx:pt>
          <cx:pt idx="1711">41.5</cx:pt>
          <cx:pt idx="1712">43.670000000000002</cx:pt>
          <cx:pt idx="1713">41.090000000000003</cx:pt>
          <cx:pt idx="1714">40.880000000000003</cx:pt>
          <cx:pt idx="1715">42.390000000000001</cx:pt>
          <cx:pt idx="1716">43.090000000000003</cx:pt>
          <cx:pt idx="1717">40.350000000000001</cx:pt>
          <cx:pt idx="1718">43.009999999999998</cx:pt>
          <cx:pt idx="1719">40.100000000000001</cx:pt>
          <cx:pt idx="1720">40.960000000000001</cx:pt>
          <cx:pt idx="1721">41.270000000000003</cx:pt>
          <cx:pt idx="1722">42.07</cx:pt>
          <cx:pt idx="1723">43.049999999999997</cx:pt>
          <cx:pt idx="1724">41.270000000000003</cx:pt>
          <cx:pt idx="1725">43.590000000000003</cx:pt>
          <cx:pt idx="1726">42.619999999999997</cx:pt>
          <cx:pt idx="1727">42.390000000000001</cx:pt>
          <cx:pt idx="1728">42.670000000000002</cx:pt>
          <cx:pt idx="1729">44.810000000000002</cx:pt>
          <cx:pt idx="1730">42.32</cx:pt>
          <cx:pt idx="1731">42.530000000000001</cx:pt>
          <cx:pt idx="1732">44.280000000000001</cx:pt>
          <cx:pt idx="1733">44.200000000000003</cx:pt>
          <cx:pt idx="1734">43.810000000000002</cx:pt>
          <cx:pt idx="1735">44.030000000000001</cx:pt>
          <cx:pt idx="1736">42.210000000000001</cx:pt>
          <cx:pt idx="1737">44.719999999999999</cx:pt>
          <cx:pt idx="1738">44.18</cx:pt>
          <cx:pt idx="1739">44.869999999999997</cx:pt>
          <cx:pt idx="1740">42.25</cx:pt>
          <cx:pt idx="1741">44.859999999999999</cx:pt>
          <cx:pt idx="1742">44.590000000000003</cx:pt>
          <cx:pt idx="1743">44.450000000000003</cx:pt>
          <cx:pt idx="1744">42.770000000000003</cx:pt>
          <cx:pt idx="1745">42.600000000000001</cx:pt>
          <cx:pt idx="1746">42.460000000000001</cx:pt>
          <cx:pt idx="1747">44.189999999999998</cx:pt>
          <cx:pt idx="1748">43.659999999999997</cx:pt>
          <cx:pt idx="1749">43.32</cx:pt>
          <cx:pt idx="1750">44.369999999999997</cx:pt>
          <cx:pt idx="1751">42.799999999999997</cx:pt>
          <cx:pt idx="1752">44.780000000000001</cx:pt>
          <cx:pt idx="1753">42.770000000000003</cx:pt>
          <cx:pt idx="1754">44.520000000000003</cx:pt>
          <cx:pt idx="1755">43.579999999999998</cx:pt>
          <cx:pt idx="1756">44.670000000000002</cx:pt>
          <cx:pt idx="1757">44.579999999999998</cx:pt>
          <cx:pt idx="1758">44.420000000000002</cx:pt>
          <cx:pt idx="1759">43.079999999999998</cx:pt>
          <cx:pt idx="1760">44.560000000000002</cx:pt>
          <cx:pt idx="1761">42.600000000000001</cx:pt>
          <cx:pt idx="1762">43.350000000000001</cx:pt>
          <cx:pt idx="1763">42.030000000000001</cx:pt>
          <cx:pt idx="1764">43.969999999999999</cx:pt>
          <cx:pt idx="1765">43.140000000000001</cx:pt>
          <cx:pt idx="1766">44.219999999999999</cx:pt>
          <cx:pt idx="1767">43.869999999999997</cx:pt>
          <cx:pt idx="1768">42.75</cx:pt>
          <cx:pt idx="1769">42.420000000000002</cx:pt>
          <cx:pt idx="1770">42.520000000000003</cx:pt>
          <cx:pt idx="1771">44.439999999999998</cx:pt>
          <cx:pt idx="1772">42.090000000000003</cx:pt>
          <cx:pt idx="1773">40.969999999999999</cx:pt>
          <cx:pt idx="1774">41.140000000000001</cx:pt>
          <cx:pt idx="1775">43.109999999999999</cx:pt>
          <cx:pt idx="1776">40</cx:pt>
          <cx:pt idx="1777">43.159999999999997</cx:pt>
          <cx:pt idx="1778">43.130000000000003</cx:pt>
          <cx:pt idx="1779">43.609999999999999</cx:pt>
          <cx:pt idx="1780">43.890000000000001</cx:pt>
          <cx:pt idx="1781">42.460000000000001</cx:pt>
          <cx:pt idx="1782">43.850000000000001</cx:pt>
          <cx:pt idx="1783">43.549999999999997</cx:pt>
          <cx:pt idx="1784">43.619999999999997</cx:pt>
          <cx:pt idx="1785">42.759999999999998</cx:pt>
          <cx:pt idx="1786">42.5</cx:pt>
          <cx:pt idx="1787">41.07</cx:pt>
          <cx:pt idx="1788">41.329999999999998</cx:pt>
          <cx:pt idx="1789">42.850000000000001</cx:pt>
          <cx:pt idx="1790">43.840000000000003</cx:pt>
          <cx:pt idx="1791">40.18</cx:pt>
          <cx:pt idx="1792">41.969999999999999</cx:pt>
          <cx:pt idx="1793">41.359999999999999</cx:pt>
          <cx:pt idx="1794">43.659999999999997</cx:pt>
          <cx:pt idx="1795">42.840000000000003</cx:pt>
          <cx:pt idx="1796">41.609999999999999</cx:pt>
          <cx:pt idx="1797">41.030000000000001</cx:pt>
          <cx:pt idx="1798">41.280000000000001</cx:pt>
          <cx:pt idx="1799">41.710000000000001</cx:pt>
          <cx:pt idx="1800">42.119999999999997</cx:pt>
          <cx:pt idx="1801">40.549999999999997</cx:pt>
          <cx:pt idx="1802">40.950000000000003</cx:pt>
          <cx:pt idx="1803">40.469999999999999</cx:pt>
          <cx:pt idx="1804">41.020000000000003</cx:pt>
          <cx:pt idx="1805">43.82</cx:pt>
          <cx:pt idx="1806">42.350000000000001</cx:pt>
          <cx:pt idx="1807">41.18</cx:pt>
          <cx:pt idx="1808">42.020000000000003</cx:pt>
          <cx:pt idx="1809">40.159999999999997</cx:pt>
          <cx:pt idx="1810">40.259999999999998</cx:pt>
          <cx:pt idx="1811">42.049999999999997</cx:pt>
          <cx:pt idx="1812">41.270000000000003</cx:pt>
          <cx:pt idx="1813">43.289999999999999</cx:pt>
          <cx:pt idx="1814">40.210000000000001</cx:pt>
          <cx:pt idx="1815">42.5</cx:pt>
          <cx:pt idx="1816">43.979999999999997</cx:pt>
          <cx:pt idx="1817">41.049999999999997</cx:pt>
          <cx:pt idx="1818">40.640000000000001</cx:pt>
          <cx:pt idx="1819">41.149999999999999</cx:pt>
          <cx:pt idx="1820">40.469999999999999</cx:pt>
          <cx:pt idx="1821">40.590000000000003</cx:pt>
          <cx:pt idx="1822">40.340000000000003</cx:pt>
          <cx:pt idx="1823">41.82</cx:pt>
          <cx:pt idx="1824">40.549999999999997</cx:pt>
          <cx:pt idx="1825">40.469999999999999</cx:pt>
          <cx:pt idx="1826">43.390000000000001</cx:pt>
          <cx:pt idx="1827">42.560000000000002</cx:pt>
          <cx:pt idx="1828">42.579999999999998</cx:pt>
          <cx:pt idx="1829">42.060000000000002</cx:pt>
          <cx:pt idx="1830">42.399999999999999</cx:pt>
          <cx:pt idx="1831">40.07</cx:pt>
          <cx:pt idx="1832">41.259999999999998</cx:pt>
          <cx:pt idx="1833">42.469999999999999</cx:pt>
          <cx:pt idx="1834">40.07</cx:pt>
          <cx:pt idx="1835">41.090000000000003</cx:pt>
          <cx:pt idx="1836">41.219999999999999</cx:pt>
          <cx:pt idx="1837">41.119999999999997</cx:pt>
          <cx:pt idx="1838">42.840000000000003</cx:pt>
          <cx:pt idx="1839">41.310000000000002</cx:pt>
          <cx:pt idx="1840">40.450000000000003</cx:pt>
          <cx:pt idx="1841">40.93</cx:pt>
          <cx:pt idx="1842">41.359999999999999</cx:pt>
          <cx:pt idx="1843">41.950000000000003</cx:pt>
          <cx:pt idx="1844">42.670000000000002</cx:pt>
          <cx:pt idx="1845">41.57</cx:pt>
          <cx:pt idx="1846">41.200000000000003</cx:pt>
          <cx:pt idx="1847">41.090000000000003</cx:pt>
          <cx:pt idx="1848">42.270000000000003</cx:pt>
          <cx:pt idx="1849">43.5</cx:pt>
          <cx:pt idx="1850">43.509999999999998</cx:pt>
          <cx:pt idx="1851">42.789999999999999</cx:pt>
          <cx:pt idx="1852">41.659999999999997</cx:pt>
          <cx:pt idx="1853">43.380000000000003</cx:pt>
          <cx:pt idx="1854">43.490000000000002</cx:pt>
          <cx:pt idx="1855">41.170000000000002</cx:pt>
          <cx:pt idx="1856">42.189999999999998</cx:pt>
          <cx:pt idx="1857">41.25</cx:pt>
          <cx:pt idx="1858">40.630000000000003</cx:pt>
          <cx:pt idx="1859">42.090000000000003</cx:pt>
          <cx:pt idx="1860">43.640000000000001</cx:pt>
          <cx:pt idx="1861">40.920000000000002</cx:pt>
          <cx:pt idx="1862">43.229999999999997</cx:pt>
          <cx:pt idx="1863">40.979999999999997</cx:pt>
          <cx:pt idx="1864">41.920000000000002</cx:pt>
          <cx:pt idx="1865">42.700000000000003</cx:pt>
          <cx:pt idx="1866">40.960000000000001</cx:pt>
          <cx:pt idx="1867">41.210000000000001</cx:pt>
          <cx:pt idx="1868">43.799999999999997</cx:pt>
          <cx:pt idx="1869">41.079999999999998</cx:pt>
          <cx:pt idx="1870">42</cx:pt>
          <cx:pt idx="1871">40.93</cx:pt>
          <cx:pt idx="1872">41.32</cx:pt>
          <cx:pt idx="1873">41.829999999999998</cx:pt>
          <cx:pt idx="1874">41.390000000000001</cx:pt>
          <cx:pt idx="1875">43.399999999999999</cx:pt>
          <cx:pt idx="1876">41.409999999999997</cx:pt>
          <cx:pt idx="1877">40.82</cx:pt>
          <cx:pt idx="1878">43.049999999999997</cx:pt>
          <cx:pt idx="1879">40.649999999999999</cx:pt>
          <cx:pt idx="1880">42.350000000000001</cx:pt>
          <cx:pt idx="1881">40.759999999999998</cx:pt>
          <cx:pt idx="1882">42.969999999999999</cx:pt>
          <cx:pt idx="1883">42.219999999999999</cx:pt>
          <cx:pt idx="1884">42.630000000000003</cx:pt>
          <cx:pt idx="1885">43.740000000000002</cx:pt>
          <cx:pt idx="1886">40.450000000000003</cx:pt>
          <cx:pt idx="1887">40.25</cx:pt>
          <cx:pt idx="1888">40.880000000000003</cx:pt>
          <cx:pt idx="1889">40.079999999999998</cx:pt>
          <cx:pt idx="1890">40.640000000000001</cx:pt>
          <cx:pt idx="1891">43.350000000000001</cx:pt>
          <cx:pt idx="1892">43.18</cx:pt>
          <cx:pt idx="1893">43.340000000000003</cx:pt>
          <cx:pt idx="1894">42.57</cx:pt>
          <cx:pt idx="1895">42.060000000000002</cx:pt>
          <cx:pt idx="1896">43.390000000000001</cx:pt>
          <cx:pt idx="1897">41.689999999999998</cx:pt>
          <cx:pt idx="1898">40.109999999999999</cx:pt>
          <cx:pt idx="1899">42.859999999999999</cx:pt>
          <cx:pt idx="1900">43.990000000000002</cx:pt>
          <cx:pt idx="1901">43.159999999999997</cx:pt>
          <cx:pt idx="1902">42.020000000000003</cx:pt>
          <cx:pt idx="1903">41.049999999999997</cx:pt>
          <cx:pt idx="1904">40.289999999999999</cx:pt>
          <cx:pt idx="1905">41.590000000000003</cx:pt>
          <cx:pt idx="1906">42.799999999999997</cx:pt>
          <cx:pt idx="1907">43.619999999999997</cx:pt>
          <cx:pt idx="1908">42.399999999999999</cx:pt>
          <cx:pt idx="1909">42.270000000000003</cx:pt>
          <cx:pt idx="1910">43.799999999999997</cx:pt>
          <cx:pt idx="1911">41.670000000000002</cx:pt>
          <cx:pt idx="1912">43.799999999999997</cx:pt>
          <cx:pt idx="1913">41.259999999999998</cx:pt>
          <cx:pt idx="1914">42.25</cx:pt>
          <cx:pt idx="1915">40.450000000000003</cx:pt>
          <cx:pt idx="1916">40.240000000000002</cx:pt>
          <cx:pt idx="1917">42.960000000000001</cx:pt>
          <cx:pt idx="1918">43.460000000000001</cx:pt>
          <cx:pt idx="1919">43.140000000000001</cx:pt>
          <cx:pt idx="1920">42.159999999999997</cx:pt>
          <cx:pt idx="1921">43.149999999999999</cx:pt>
          <cx:pt idx="1922">43.210000000000001</cx:pt>
          <cx:pt idx="1923">42.880000000000003</cx:pt>
          <cx:pt idx="1924">43.479999999999997</cx:pt>
          <cx:pt idx="1925">44.939999999999998</cx:pt>
          <cx:pt idx="1926">42.5</cx:pt>
          <cx:pt idx="1927">42.579999999999998</cx:pt>
          <cx:pt idx="1928">43.740000000000002</cx:pt>
          <cx:pt idx="1929">44.840000000000003</cx:pt>
          <cx:pt idx="1930">43.700000000000003</cx:pt>
          <cx:pt idx="1931">43.850000000000001</cx:pt>
          <cx:pt idx="1932">43.310000000000002</cx:pt>
          <cx:pt idx="1933">43.189999999999998</cx:pt>
          <cx:pt idx="1934">42.460000000000001</cx:pt>
          <cx:pt idx="1935">44.939999999999998</cx:pt>
          <cx:pt idx="1936">43.079999999999998</cx:pt>
          <cx:pt idx="1937">43.380000000000003</cx:pt>
          <cx:pt idx="1938">44.869999999999997</cx:pt>
          <cx:pt idx="1939">43.789999999999999</cx:pt>
          <cx:pt idx="1940">44.649999999999999</cx:pt>
          <cx:pt idx="1941">44.799999999999997</cx:pt>
          <cx:pt idx="1942">44.689999999999998</cx:pt>
          <cx:pt idx="1943">42.960000000000001</cx:pt>
          <cx:pt idx="1944">42.079999999999998</cx:pt>
          <cx:pt idx="1945">43.18</cx:pt>
          <cx:pt idx="1946">44.920000000000002</cx:pt>
          <cx:pt idx="1947">42.869999999999997</cx:pt>
          <cx:pt idx="1948">44.899999999999999</cx:pt>
          <cx:pt idx="1949">43.009999999999998</cx:pt>
          <cx:pt idx="1950">44.170000000000002</cx:pt>
          <cx:pt idx="1951">44.729999999999997</cx:pt>
          <cx:pt idx="1952">42.869999999999997</cx:pt>
          <cx:pt idx="1953">44.829999999999998</cx:pt>
          <cx:pt idx="1954">42.049999999999997</cx:pt>
          <cx:pt idx="1955">43.18</cx:pt>
          <cx:pt idx="1956">44.280000000000001</cx:pt>
          <cx:pt idx="1957">44.439999999999998</cx:pt>
          <cx:pt idx="1958">44.270000000000003</cx:pt>
          <cx:pt idx="1959">42.909999999999997</cx:pt>
          <cx:pt idx="1960">42.090000000000003</cx:pt>
          <cx:pt idx="1961">40.93</cx:pt>
          <cx:pt idx="1962">40.710000000000001</cx:pt>
          <cx:pt idx="1963">42.850000000000001</cx:pt>
          <cx:pt idx="1964">41.020000000000003</cx:pt>
          <cx:pt idx="1965">43.640000000000001</cx:pt>
          <cx:pt idx="1966">42.210000000000001</cx:pt>
          <cx:pt idx="1967">40.780000000000001</cx:pt>
          <cx:pt idx="1968">41.939999999999998</cx:pt>
          <cx:pt idx="1969">42.200000000000003</cx:pt>
          <cx:pt idx="1970">40.82</cx:pt>
          <cx:pt idx="1971">42.740000000000002</cx:pt>
          <cx:pt idx="1972">43.200000000000003</cx:pt>
          <cx:pt idx="1973">43.640000000000001</cx:pt>
          <cx:pt idx="1974">43.869999999999997</cx:pt>
          <cx:pt idx="1975">43.170000000000002</cx:pt>
          <cx:pt idx="1976">41.340000000000003</cx:pt>
          <cx:pt idx="1977">40.119999999999997</cx:pt>
          <cx:pt idx="1978">41.119999999999997</cx:pt>
          <cx:pt idx="1979">42.82</cx:pt>
          <cx:pt idx="1980">42.670000000000002</cx:pt>
          <cx:pt idx="1981">40.719999999999999</cx:pt>
          <cx:pt idx="1982">43.780000000000001</cx:pt>
          <cx:pt idx="1983">43.119999999999997</cx:pt>
          <cx:pt idx="1984">40.299999999999997</cx:pt>
          <cx:pt idx="1985">42.729999999999997</cx:pt>
          <cx:pt idx="1986">43.270000000000003</cx:pt>
          <cx:pt idx="1987">42.710000000000001</cx:pt>
          <cx:pt idx="1988">41.939999999999998</cx:pt>
          <cx:pt idx="1989">43.649999999999999</cx:pt>
          <cx:pt idx="1990">43.340000000000003</cx:pt>
          <cx:pt idx="1991">40.299999999999997</cx:pt>
          <cx:pt idx="1992">42.740000000000002</cx:pt>
          <cx:pt idx="1993">41.57</cx:pt>
          <cx:pt idx="1994">41.969999999999999</cx:pt>
          <cx:pt idx="1995">41.020000000000003</cx:pt>
          <cx:pt idx="1996">43.950000000000003</cx:pt>
          <cx:pt idx="1997">42.530000000000001</cx:pt>
          <cx:pt idx="1998">42.75</cx:pt>
          <cx:pt idx="1999">41.119999999999997</cx:pt>
          <cx:pt idx="2000">41.609999999999999</cx:pt>
          <cx:pt idx="2001">43.25</cx:pt>
          <cx:pt idx="2002">40.810000000000002</cx:pt>
          <cx:pt idx="2003">42.920000000000002</cx:pt>
          <cx:pt idx="2004">41.990000000000002</cx:pt>
          <cx:pt idx="2005">40.950000000000003</cx:pt>
          <cx:pt idx="2006">42.079999999999998</cx:pt>
          <cx:pt idx="2007">40.399999999999999</cx:pt>
          <cx:pt idx="2008">41.210000000000001</cx:pt>
          <cx:pt idx="2009">40.659999999999997</cx:pt>
          <cx:pt idx="2010">40.200000000000003</cx:pt>
          <cx:pt idx="2011">40.460000000000001</cx:pt>
          <cx:pt idx="2012">40.950000000000003</cx:pt>
          <cx:pt idx="2013">42.270000000000003</cx:pt>
          <cx:pt idx="2014">43.640000000000001</cx:pt>
          <cx:pt idx="2015">42.770000000000003</cx:pt>
          <cx:pt idx="2016">42.619999999999997</cx:pt>
          <cx:pt idx="2017">41.07</cx:pt>
          <cx:pt idx="2018">42.280000000000001</cx:pt>
          <cx:pt idx="2019">42.049999999999997</cx:pt>
          <cx:pt idx="2020">40.560000000000002</cx:pt>
          <cx:pt idx="2021">43.649999999999999</cx:pt>
          <cx:pt idx="2022">41.5</cx:pt>
          <cx:pt idx="2023">42.25</cx:pt>
          <cx:pt idx="2024">41.509999999999998</cx:pt>
          <cx:pt idx="2025">43.420000000000002</cx:pt>
          <cx:pt idx="2026">41.960000000000001</cx:pt>
          <cx:pt idx="2027">40.560000000000002</cx:pt>
          <cx:pt idx="2028">43.229999999999997</cx:pt>
          <cx:pt idx="2029">40.729999999999997</cx:pt>
          <cx:pt idx="2030">41.009999999999998</cx:pt>
          <cx:pt idx="2031">40</cx:pt>
          <cx:pt idx="2032">41.719999999999999</cx:pt>
          <cx:pt idx="2033">40.25</cx:pt>
          <cx:pt idx="2034">43.530000000000001</cx:pt>
          <cx:pt idx="2035">40.68</cx:pt>
          <cx:pt idx="2036">42.82</cx:pt>
          <cx:pt idx="2037">41.159999999999997</cx:pt>
          <cx:pt idx="2038">41.609999999999999</cx:pt>
          <cx:pt idx="2039">43.32</cx:pt>
          <cx:pt idx="2040">41.409999999999997</cx:pt>
          <cx:pt idx="2041">43.579999999999998</cx:pt>
          <cx:pt idx="2042">43.729999999999997</cx:pt>
          <cx:pt idx="2043">42.920000000000002</cx:pt>
          <cx:pt idx="2044">41.5</cx:pt>
          <cx:pt idx="2045">42.859999999999999</cx:pt>
          <cx:pt idx="2046">43.75</cx:pt>
          <cx:pt idx="2047">43.539999999999999</cx:pt>
          <cx:pt idx="2048">42.200000000000003</cx:pt>
          <cx:pt idx="2049">40.189999999999998</cx:pt>
          <cx:pt idx="2050">40.130000000000003</cx:pt>
          <cx:pt idx="2051">42.100000000000001</cx:pt>
          <cx:pt idx="2052">41.990000000000002</cx:pt>
          <cx:pt idx="2053">43.880000000000003</cx:pt>
          <cx:pt idx="2054">40.350000000000001</cx:pt>
          <cx:pt idx="2055">43.100000000000001</cx:pt>
          <cx:pt idx="2056">41.149999999999999</cx:pt>
          <cx:pt idx="2057">42.020000000000003</cx:pt>
          <cx:pt idx="2058">43.020000000000003</cx:pt>
          <cx:pt idx="2059">43.299999999999997</cx:pt>
          <cx:pt idx="2060">42.719999999999999</cx:pt>
          <cx:pt idx="2061">40.75</cx:pt>
          <cx:pt idx="2062">41.689999999999998</cx:pt>
          <cx:pt idx="2063">42.57</cx:pt>
          <cx:pt idx="2064">40.240000000000002</cx:pt>
          <cx:pt idx="2065">43</cx:pt>
          <cx:pt idx="2066">41.700000000000003</cx:pt>
          <cx:pt idx="2067">43.490000000000002</cx:pt>
          <cx:pt idx="2068">43.240000000000002</cx:pt>
          <cx:pt idx="2069">40.090000000000003</cx:pt>
          <cx:pt idx="2070">40.229999999999997</cx:pt>
          <cx:pt idx="2071">43.990000000000002</cx:pt>
          <cx:pt idx="2072">43.829999999999998</cx:pt>
          <cx:pt idx="2073">42.350000000000001</cx:pt>
          <cx:pt idx="2074">40.259999999999998</cx:pt>
          <cx:pt idx="2075">40.340000000000003</cx:pt>
          <cx:pt idx="2076">40.630000000000003</cx:pt>
          <cx:pt idx="2077">43.380000000000003</cx:pt>
          <cx:pt idx="2078">43.590000000000003</cx:pt>
          <cx:pt idx="2079">40.130000000000003</cx:pt>
          <cx:pt idx="2080">40.82</cx:pt>
          <cx:pt idx="2081">41.909999999999997</cx:pt>
          <cx:pt idx="2082">40.780000000000001</cx:pt>
          <cx:pt idx="2083">43.43</cx:pt>
          <cx:pt idx="2084">42.32</cx:pt>
          <cx:pt idx="2085">40.439999999999998</cx:pt>
          <cx:pt idx="2086">43.579999999999998</cx:pt>
          <cx:pt idx="2087">42.450000000000003</cx:pt>
          <cx:pt idx="2088">42.030000000000001</cx:pt>
          <cx:pt idx="2089">43.590000000000003</cx:pt>
          <cx:pt idx="2090">41.07</cx:pt>
          <cx:pt idx="2091">41.710000000000001</cx:pt>
          <cx:pt idx="2092">41.479999999999997</cx:pt>
          <cx:pt idx="2093">42.07</cx:pt>
          <cx:pt idx="2094">41</cx:pt>
          <cx:pt idx="2095">41.270000000000003</cx:pt>
          <cx:pt idx="2096">43.990000000000002</cx:pt>
          <cx:pt idx="2097">41.640000000000001</cx:pt>
          <cx:pt idx="2098">41.399999999999999</cx:pt>
          <cx:pt idx="2099">42.340000000000003</cx:pt>
          <cx:pt idx="2100">41.990000000000002</cx:pt>
          <cx:pt idx="2101">41.5</cx:pt>
          <cx:pt idx="2102">43.829999999999998</cx:pt>
          <cx:pt idx="2103">41.890000000000001</cx:pt>
          <cx:pt idx="2104">42.369999999999997</cx:pt>
          <cx:pt idx="2105">41.659999999999997</cx:pt>
          <cx:pt idx="2106">43.479999999999997</cx:pt>
          <cx:pt idx="2107">42.740000000000002</cx:pt>
          <cx:pt idx="2108">40.579999999999998</cx:pt>
          <cx:pt idx="2109">43.450000000000003</cx:pt>
          <cx:pt idx="2110">42.810000000000002</cx:pt>
          <cx:pt idx="2111">42.740000000000002</cx:pt>
          <cx:pt idx="2112">41.100000000000001</cx:pt>
          <cx:pt idx="2113">42.399999999999999</cx:pt>
          <cx:pt idx="2114">40.280000000000001</cx:pt>
          <cx:pt idx="2115">43.700000000000003</cx:pt>
          <cx:pt idx="2116">43.5</cx:pt>
          <cx:pt idx="2117">42.659999999999997</cx:pt>
          <cx:pt idx="2118">42.759999999999998</cx:pt>
          <cx:pt idx="2119">43.369999999999997</cx:pt>
          <cx:pt idx="2120">42.920000000000002</cx:pt>
          <cx:pt idx="2121">40.479999999999997</cx:pt>
          <cx:pt idx="2122">41.060000000000002</cx:pt>
          <cx:pt idx="2123">41.600000000000001</cx:pt>
          <cx:pt idx="2124">42.789999999999999</cx:pt>
          <cx:pt idx="2125">41.579999999999998</cx:pt>
          <cx:pt idx="2126">41.229999999999997</cx:pt>
          <cx:pt idx="2127">43.329999999999998</cx:pt>
          <cx:pt idx="2128">42.960000000000001</cx:pt>
          <cx:pt idx="2129">42.090000000000003</cx:pt>
          <cx:pt idx="2130">43.130000000000003</cx:pt>
          <cx:pt idx="2131">40.509999999999998</cx:pt>
          <cx:pt idx="2132">40.619999999999997</cx:pt>
          <cx:pt idx="2133">43.920000000000002</cx:pt>
          <cx:pt idx="2134">42.68</cx:pt>
          <cx:pt idx="2135">40.770000000000003</cx:pt>
          <cx:pt idx="2136">40.439999999999998</cx:pt>
          <cx:pt idx="2137">41.840000000000003</cx:pt>
          <cx:pt idx="2138">43.82</cx:pt>
          <cx:pt idx="2139">43.950000000000003</cx:pt>
          <cx:pt idx="2140">42</cx:pt>
          <cx:pt idx="2141">42.939999999999998</cx:pt>
          <cx:pt idx="2142">40.670000000000002</cx:pt>
          <cx:pt idx="2143">41.759999999999998</cx:pt>
          <cx:pt idx="2144">42.420000000000002</cx:pt>
          <cx:pt idx="2145">42.310000000000002</cx:pt>
          <cx:pt idx="2146">43.780000000000001</cx:pt>
          <cx:pt idx="2147">42.68</cx:pt>
          <cx:pt idx="2148">41.350000000000001</cx:pt>
          <cx:pt idx="2149">43</cx:pt>
          <cx:pt idx="2150">41.810000000000002</cx:pt>
          <cx:pt idx="2151">43.560000000000002</cx:pt>
          <cx:pt idx="2152">42.979999999999997</cx:pt>
          <cx:pt idx="2153">42.009999999999998</cx:pt>
          <cx:pt idx="2154">41.130000000000003</cx:pt>
          <cx:pt idx="2155">41.369999999999997</cx:pt>
          <cx:pt idx="2156">41.159999999999997</cx:pt>
          <cx:pt idx="2157">43.920000000000002</cx:pt>
          <cx:pt idx="2158">43.109999999999999</cx:pt>
          <cx:pt idx="2159">40.289999999999999</cx:pt>
          <cx:pt idx="2160">43.350000000000001</cx:pt>
          <cx:pt idx="2161">42.229999999999997</cx:pt>
          <cx:pt idx="2162">43.030000000000001</cx:pt>
          <cx:pt idx="2163">41.780000000000001</cx:pt>
          <cx:pt idx="2164">43.57</cx:pt>
          <cx:pt idx="2165">40.850000000000001</cx:pt>
          <cx:pt idx="2166">40.850000000000001</cx:pt>
          <cx:pt idx="2167">43.490000000000002</cx:pt>
          <cx:pt idx="2168">42.560000000000002</cx:pt>
          <cx:pt idx="2169">40.909999999999997</cx:pt>
          <cx:pt idx="2170">44</cx:pt>
          <cx:pt idx="2171">43.43</cx:pt>
          <cx:pt idx="2172">42.420000000000002</cx:pt>
          <cx:pt idx="2173">43.259999999999998</cx:pt>
          <cx:pt idx="2174">42.57</cx:pt>
          <cx:pt idx="2175">41.799999999999997</cx:pt>
          <cx:pt idx="2176">40.969999999999999</cx:pt>
          <cx:pt idx="2177">42.950000000000003</cx:pt>
          <cx:pt idx="2178">42.109999999999999</cx:pt>
          <cx:pt idx="2179">42.049999999999997</cx:pt>
          <cx:pt idx="2180">43.020000000000003</cx:pt>
          <cx:pt idx="2181">41.859999999999999</cx:pt>
          <cx:pt idx="2182">44</cx:pt>
          <cx:pt idx="2183">40.609999999999999</cx:pt>
          <cx:pt idx="2184">40.030000000000001</cx:pt>
          <cx:pt idx="2185">41.5</cx:pt>
          <cx:pt idx="2186">42.920000000000002</cx:pt>
          <cx:pt idx="2187">41.310000000000002</cx:pt>
          <cx:pt idx="2188">40.719999999999999</cx:pt>
          <cx:pt idx="2189">42.869999999999997</cx:pt>
          <cx:pt idx="2190">40.460000000000001</cx:pt>
          <cx:pt idx="2191">41.840000000000003</cx:pt>
          <cx:pt idx="2192">41.130000000000003</cx:pt>
          <cx:pt idx="2193">41.640000000000001</cx:pt>
          <cx:pt idx="2194">43.43</cx:pt>
          <cx:pt idx="2195">43.469999999999999</cx:pt>
          <cx:pt idx="2196">43.100000000000001</cx:pt>
          <cx:pt idx="2197">42.210000000000001</cx:pt>
          <cx:pt idx="2198">41.450000000000003</cx:pt>
          <cx:pt idx="2199">43.060000000000002</cx:pt>
          <cx:pt idx="2200">40.859999999999999</cx:pt>
          <cx:pt idx="2201">40.420000000000002</cx:pt>
          <cx:pt idx="2202">40.090000000000003</cx:pt>
          <cx:pt idx="2203">40.189999999999998</cx:pt>
          <cx:pt idx="2204">40.609999999999999</cx:pt>
          <cx:pt idx="2205">42.359999999999999</cx:pt>
          <cx:pt idx="2206">43.259999999999998</cx:pt>
          <cx:pt idx="2207">40.369999999999997</cx:pt>
          <cx:pt idx="2208">41.700000000000003</cx:pt>
          <cx:pt idx="2209">41.899999999999999</cx:pt>
          <cx:pt idx="2210">41.189999999999998</cx:pt>
          <cx:pt idx="2211">43.759999999999998</cx:pt>
          <cx:pt idx="2212">40.409999999999997</cx:pt>
          <cx:pt idx="2213">40.469999999999999</cx:pt>
          <cx:pt idx="2214">42.210000000000001</cx:pt>
          <cx:pt idx="2215">40.869999999999997</cx:pt>
          <cx:pt idx="2216">41.539999999999999</cx:pt>
          <cx:pt idx="2217">43.390000000000001</cx:pt>
          <cx:pt idx="2218">41.719999999999999</cx:pt>
          <cx:pt idx="2219">40.270000000000003</cx:pt>
          <cx:pt idx="2220">41.049999999999997</cx:pt>
          <cx:pt idx="2221">41.32</cx:pt>
          <cx:pt idx="2222">43.950000000000003</cx:pt>
          <cx:pt idx="2223">42.07</cx:pt>
          <cx:pt idx="2224">40.840000000000003</cx:pt>
          <cx:pt idx="2225">40.039999999999999</cx:pt>
          <cx:pt idx="2226">42.869999999999997</cx:pt>
          <cx:pt idx="2227">42.229999999999997</cx:pt>
          <cx:pt idx="2228">41.399999999999999</cx:pt>
          <cx:pt idx="2229">41.689999999999998</cx:pt>
          <cx:pt idx="2230">41.950000000000003</cx:pt>
          <cx:pt idx="2231">42.159999999999997</cx:pt>
          <cx:pt idx="2232">40.439999999999998</cx:pt>
          <cx:pt idx="2233">41.369999999999997</cx:pt>
          <cx:pt idx="2234">41.469999999999999</cx:pt>
          <cx:pt idx="2235">40.420000000000002</cx:pt>
          <cx:pt idx="2236">42.140000000000001</cx:pt>
          <cx:pt idx="2237">42.979999999999997</cx:pt>
          <cx:pt idx="2238">43.439999999999998</cx:pt>
          <cx:pt idx="2239">42.969999999999999</cx:pt>
          <cx:pt idx="2240">41.409999999999997</cx:pt>
          <cx:pt idx="2241">40.619999999999997</cx:pt>
          <cx:pt idx="2242">43.710000000000001</cx:pt>
          <cx:pt idx="2243">42.649999999999999</cx:pt>
          <cx:pt idx="2244">41.840000000000003</cx:pt>
          <cx:pt idx="2245">42.990000000000002</cx:pt>
          <cx:pt idx="2246">40.640000000000001</cx:pt>
          <cx:pt idx="2247">41.200000000000003</cx:pt>
          <cx:pt idx="2248">40.240000000000002</cx:pt>
          <cx:pt idx="2249">40.950000000000003</cx:pt>
          <cx:pt idx="2250">41.380000000000003</cx:pt>
          <cx:pt idx="2251">40.479999999999997</cx:pt>
          <cx:pt idx="2252">43.240000000000002</cx:pt>
          <cx:pt idx="2253">36.32</cx:pt>
          <cx:pt idx="2254">44.079999999999998</cx:pt>
          <cx:pt idx="2255">38.840000000000003</cx:pt>
          <cx:pt idx="2256">45.299999999999997</cx:pt>
          <cx:pt idx="2257">40.079999999999998</cx:pt>
          <cx:pt idx="2258">41.649999999999999</cx:pt>
          <cx:pt idx="2259">44.68</cx:pt>
          <cx:pt idx="2260">45.009999999999998</cx:pt>
          <cx:pt idx="2261">40.460000000000001</cx:pt>
          <cx:pt idx="2262">38.420000000000002</cx:pt>
          <cx:pt idx="2263">35.770000000000003</cx:pt>
          <cx:pt idx="2264">36.770000000000003</cx:pt>
          <cx:pt idx="2265">45.359999999999999</cx:pt>
          <cx:pt idx="2266">41.399999999999999</cx:pt>
          <cx:pt idx="2267">43.979999999999997</cx:pt>
          <cx:pt idx="2268">40.689999999999998</cx:pt>
          <cx:pt idx="2269">37.359999999999999</cx:pt>
          <cx:pt idx="2270">36.369999999999997</cx:pt>
          <cx:pt idx="2271">41.109999999999999</cx:pt>
          <cx:pt idx="2272">37.369999999999997</cx:pt>
          <cx:pt idx="2273">45.899999999999999</cx:pt>
          <cx:pt idx="2274">38.619999999999997</cx:pt>
          <cx:pt idx="2275">45.369999999999997</cx:pt>
          <cx:pt idx="2276">35.039999999999999</cx:pt>
          <cx:pt idx="2277">35.009999999999998</cx:pt>
          <cx:pt idx="2278">37.509999999999998</cx:pt>
          <cx:pt idx="2279">35.539999999999999</cx:pt>
          <cx:pt idx="2280">41.030000000000001</cx:pt>
          <cx:pt idx="2281">36.439999999999998</cx:pt>
          <cx:pt idx="2282">35.119999999999997</cx:pt>
          <cx:pt idx="2283">40.729999999999997</cx:pt>
          <cx:pt idx="2284">40.920000000000002</cx:pt>
          <cx:pt idx="2285">45.710000000000001</cx:pt>
          <cx:pt idx="2286">45.490000000000002</cx:pt>
          <cx:pt idx="2287">44.93</cx:pt>
          <cx:pt idx="2288">41.530000000000001</cx:pt>
          <cx:pt idx="2289">37.18</cx:pt>
          <cx:pt idx="2290">36.75</cx:pt>
          <cx:pt idx="2291">36.890000000000001</cx:pt>
          <cx:pt idx="2292">37.130000000000003</cx:pt>
          <cx:pt idx="2293">37.409999999999997</cx:pt>
          <cx:pt idx="2294">35.079999999999998</cx:pt>
          <cx:pt idx="2295">35.810000000000002</cx:pt>
          <cx:pt idx="2296">36</cx:pt>
          <cx:pt idx="2297">35.240000000000002</cx:pt>
          <cx:pt idx="2298">36.469999999999999</cx:pt>
          <cx:pt idx="2299">37.770000000000003</cx:pt>
          <cx:pt idx="2300">37.799999999999997</cx:pt>
          <cx:pt idx="2301">35.460000000000001</cx:pt>
          <cx:pt idx="2302">37.229999999999997</cx:pt>
          <cx:pt idx="2303">35.869999999999997</cx:pt>
          <cx:pt idx="2304">37.32</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40.380000000000003</cx:pt>
          <cx:pt idx="2322">41.700000000000003</cx:pt>
          <cx:pt idx="2323">41.799999999999997</cx:pt>
          <cx:pt idx="2324">43.299999999999997</cx:pt>
          <cx:pt idx="2325">41.57</cx:pt>
          <cx:pt idx="2326">43.780000000000001</cx:pt>
          <cx:pt idx="2327">40.799999999999997</cx:pt>
          <cx:pt idx="2328">41.240000000000002</cx:pt>
          <cx:pt idx="2329">41.479999999999997</cx:pt>
          <cx:pt idx="2330">43.920000000000002</cx:pt>
          <cx:pt idx="2331">40.060000000000002</cx:pt>
          <cx:pt idx="2332">43.490000000000002</cx:pt>
          <cx:pt idx="2333">40.420000000000002</cx:pt>
          <cx:pt idx="2334">43.710000000000001</cx:pt>
          <cx:pt idx="2335">42.770000000000003</cx:pt>
          <cx:pt idx="2336">42.939999999999998</cx:pt>
          <cx:pt idx="2337">42.18</cx:pt>
          <cx:pt idx="2338">40.009999999999998</cx:pt>
          <cx:pt idx="2339">41.759999999999998</cx:pt>
          <cx:pt idx="2340">40.539999999999999</cx:pt>
          <cx:pt idx="2341">41.909999999999997</cx:pt>
          <cx:pt idx="2342">40.899999999999999</cx:pt>
          <cx:pt idx="2343">42.039999999999999</cx:pt>
          <cx:pt idx="2344">40.5</cx:pt>
          <cx:pt idx="2345">40.590000000000003</cx:pt>
          <cx:pt idx="2346">42.280000000000001</cx:pt>
          <cx:pt idx="2347">42.460000000000001</cx:pt>
          <cx:pt idx="2348">40.390000000000001</cx:pt>
          <cx:pt idx="2349">41.090000000000003</cx:pt>
          <cx:pt idx="2350">41.57</cx:pt>
          <cx:pt idx="2351">40.890000000000001</cx:pt>
          <cx:pt idx="2352">41.090000000000003</cx:pt>
          <cx:pt idx="2353">41.450000000000003</cx:pt>
          <cx:pt idx="2354">40.460000000000001</cx:pt>
          <cx:pt idx="2355">43.579999999999998</cx:pt>
          <cx:pt idx="2356">41.5</cx:pt>
          <cx:pt idx="2357">43.049999999999997</cx:pt>
          <cx:pt idx="2358">43.119999999999997</cx:pt>
          <cx:pt idx="2359">40.479999999999997</cx:pt>
          <cx:pt idx="2360">40.060000000000002</cx:pt>
          <cx:pt idx="2361">43.969999999999999</cx:pt>
          <cx:pt idx="2362">41.109999999999999</cx:pt>
          <cx:pt idx="2363">40.560000000000002</cx:pt>
          <cx:pt idx="2364">42.109999999999999</cx:pt>
          <cx:pt idx="2365">40.299999999999997</cx:pt>
          <cx:pt idx="2366">40.350000000000001</cx:pt>
          <cx:pt idx="2367">42.530000000000001</cx:pt>
          <cx:pt idx="2368">43.899999999999999</cx:pt>
          <cx:pt idx="2369">40.490000000000002</cx:pt>
          <cx:pt idx="2370">40.950000000000003</cx:pt>
          <cx:pt idx="2371">41.450000000000003</cx:pt>
          <cx:pt idx="2372">42.810000000000002</cx:pt>
          <cx:pt idx="2373">43.960000000000001</cx:pt>
          <cx:pt idx="2374">41.920000000000002</cx:pt>
          <cx:pt idx="2375">41.969999999999999</cx:pt>
          <cx:pt idx="2376">42.649999999999999</cx:pt>
          <cx:pt idx="2377">43.93</cx:pt>
          <cx:pt idx="2378">41.539999999999999</cx:pt>
          <cx:pt idx="2379">43.509999999999998</cx:pt>
          <cx:pt idx="2380">43.32</cx:pt>
          <cx:pt idx="2381">43.579999999999998</cx:pt>
          <cx:pt idx="2382">43.25</cx:pt>
          <cx:pt idx="2383">40.530000000000001</cx:pt>
          <cx:pt idx="2384">40.270000000000003</cx:pt>
          <cx:pt idx="2385">43.479999999999997</cx:pt>
          <cx:pt idx="2386">40.090000000000003</cx:pt>
          <cx:pt idx="2387">41.630000000000003</cx:pt>
          <cx:pt idx="2388">40.789999999999999</cx:pt>
          <cx:pt idx="2389">42.75</cx:pt>
          <cx:pt idx="2390">42.729999999999997</cx:pt>
          <cx:pt idx="2391">40.350000000000001</cx:pt>
          <cx:pt idx="2392">40.780000000000001</cx:pt>
          <cx:pt idx="2393">42.789999999999999</cx:pt>
          <cx:pt idx="2394">41</cx:pt>
          <cx:pt idx="2395">43.200000000000003</cx:pt>
          <cx:pt idx="2396">42.869999999999997</cx:pt>
          <cx:pt idx="2397">41.469999999999999</cx:pt>
          <cx:pt idx="2398">43.219999999999999</cx:pt>
          <cx:pt idx="2399">41.729999999999997</cx:pt>
          <cx:pt idx="2400">40.090000000000003</cx:pt>
          <cx:pt idx="2401">42.079999999999998</cx:pt>
          <cx:pt idx="2402">40.390000000000001</cx:pt>
          <cx:pt idx="2403">42.530000000000001</cx:pt>
          <cx:pt idx="2404">43.810000000000002</cx:pt>
          <cx:pt idx="2405">42.789999999999999</cx:pt>
          <cx:pt idx="2406">40.649999999999999</cx:pt>
          <cx:pt idx="2407">41.280000000000001</cx:pt>
          <cx:pt idx="2408">41.899999999999999</cx:pt>
          <cx:pt idx="2409">42.149999999999999</cx:pt>
          <cx:pt idx="2410">42.479999999999997</cx:pt>
          <cx:pt idx="2411">42.43</cx:pt>
          <cx:pt idx="2412">41.299999999999997</cx:pt>
          <cx:pt idx="2413">40.990000000000002</cx:pt>
          <cx:pt idx="2414">40.920000000000002</cx:pt>
          <cx:pt idx="2415">42.479999999999997</cx:pt>
          <cx:pt idx="2416">42.840000000000003</cx:pt>
          <cx:pt idx="2417">43.670000000000002</cx:pt>
          <cx:pt idx="2418">43.950000000000003</cx:pt>
          <cx:pt idx="2419">43.75</cx:pt>
          <cx:pt idx="2420">42.240000000000002</cx:pt>
          <cx:pt idx="2421">43.07</cx:pt>
          <cx:pt idx="2422">43.399999999999999</cx:pt>
          <cx:pt idx="2423">40.890000000000001</cx:pt>
          <cx:pt idx="2424">41.659999999999997</cx:pt>
          <cx:pt idx="2425">41.020000000000003</cx:pt>
          <cx:pt idx="2426">42.380000000000003</cx:pt>
          <cx:pt idx="2427">40.420000000000002</cx:pt>
          <cx:pt idx="2428">42.979999999999997</cx:pt>
          <cx:pt idx="2429">41.149999999999999</cx:pt>
          <cx:pt idx="2430">42.609999999999999</cx:pt>
          <cx:pt idx="2431">41.359999999999999</cx:pt>
          <cx:pt idx="2432">42.479999999999997</cx:pt>
          <cx:pt idx="2433">42</cx:pt>
          <cx:pt idx="2434">43.939999999999998</cx:pt>
          <cx:pt idx="2435">43.020000000000003</cx:pt>
          <cx:pt idx="2436">41.460000000000001</cx:pt>
          <cx:pt idx="2437">43.140000000000001</cx:pt>
          <cx:pt idx="2438">41.009999999999998</cx:pt>
          <cx:pt idx="2439">41.869999999999997</cx:pt>
          <cx:pt idx="2440">41.490000000000002</cx:pt>
          <cx:pt idx="2441">43.140000000000001</cx:pt>
          <cx:pt idx="2442">42.060000000000002</cx:pt>
          <cx:pt idx="2443">43.280000000000001</cx:pt>
          <cx:pt idx="2444">42.539999999999999</cx:pt>
          <cx:pt idx="2445">40.799999999999997</cx:pt>
          <cx:pt idx="2446">40.840000000000003</cx:pt>
          <cx:pt idx="2447">42.270000000000003</cx:pt>
          <cx:pt idx="2448">40.75</cx:pt>
          <cx:pt idx="2449">41.32</cx:pt>
          <cx:pt idx="2450">40.530000000000001</cx:pt>
          <cx:pt idx="2451">43.82</cx:pt>
        </cx:lvl>
      </cx:numDim>
    </cx:data>
    <cx:data id="1">
      <cx:numDim type="val">
        <cx:f>'Data Repository Table - Raw'!$D$2:$D$2453</cx:f>
        <cx:lvl ptCount="2452" formatCode="General">
          <cx:pt idx="0">41.159999999999997</cx:pt>
          <cx:pt idx="1">41.390000000000001</cx:pt>
          <cx:pt idx="2">41.149999999999999</cx:pt>
          <cx:pt idx="3">40.93</cx:pt>
          <cx:pt idx="4">43.32</cx:pt>
          <cx:pt idx="5">40.009999999999998</cx:pt>
          <cx:pt idx="6">41.090000000000003</cx:pt>
          <cx:pt idx="7">41.439999999999998</cx:pt>
          <cx:pt idx="8">41.969999999999999</cx:pt>
          <cx:pt idx="9">41.159999999999997</cx:pt>
          <cx:pt idx="10">41.659999999999997</cx:pt>
          <cx:pt idx="11">42.770000000000003</cx:pt>
          <cx:pt idx="12">42.770000000000003</cx:pt>
          <cx:pt idx="13">43.299999999999997</cx:pt>
          <cx:pt idx="14">42.210000000000001</cx:pt>
          <cx:pt idx="15">42.369999999999997</cx:pt>
          <cx:pt idx="16">43.630000000000003</cx:pt>
          <cx:pt idx="17">41.579999999999998</cx:pt>
          <cx:pt idx="18">40.520000000000003</cx:pt>
          <cx:pt idx="19">42</cx:pt>
          <cx:pt idx="20">41.799999999999997</cx:pt>
          <cx:pt idx="21">42.710000000000001</cx:pt>
          <cx:pt idx="22">40.75</cx:pt>
          <cx:pt idx="23">41.159999999999997</cx:pt>
          <cx:pt idx="24">43.439999999999998</cx:pt>
          <cx:pt idx="25">40.450000000000003</cx:pt>
          <cx:pt idx="26">42.75</cx:pt>
          <cx:pt idx="27">41.579999999999998</cx:pt>
          <cx:pt idx="28">42.310000000000002</cx:pt>
          <cx:pt idx="29">41.079999999999998</cx:pt>
          <cx:pt idx="30">40.020000000000003</cx:pt>
          <cx:pt idx="31">40.640000000000001</cx:pt>
          <cx:pt idx="32">43.07</cx:pt>
          <cx:pt idx="33">42.189999999999998</cx:pt>
          <cx:pt idx="34">43.549999999999997</cx:pt>
          <cx:pt idx="35">42.979999999999997</cx:pt>
          <cx:pt idx="36">43.149999999999999</cx:pt>
          <cx:pt idx="37">40.18</cx:pt>
          <cx:pt idx="38">42.409999999999997</cx:pt>
          <cx:pt idx="39">41.43</cx:pt>
          <cx:pt idx="40">42.060000000000002</cx:pt>
          <cx:pt idx="41">43.479999999999997</cx:pt>
          <cx:pt idx="42">40.32</cx:pt>
          <cx:pt idx="43">40.759999999999998</cx:pt>
          <cx:pt idx="44">41.670000000000002</cx:pt>
          <cx:pt idx="45">41.009999999999998</cx:pt>
          <cx:pt idx="46">43.969999999999999</cx:pt>
          <cx:pt idx="47">43.670000000000002</cx:pt>
          <cx:pt idx="48">41.390000000000001</cx:pt>
          <cx:pt idx="49">40.229999999999997</cx:pt>
          <cx:pt idx="50">41.200000000000003</cx:pt>
          <cx:pt idx="51">43.649999999999999</cx:pt>
          <cx:pt idx="52">40.770000000000003</cx:pt>
          <cx:pt idx="53">42.969999999999999</cx:pt>
          <cx:pt idx="54">41.689999999999998</cx:pt>
          <cx:pt idx="55">43.390000000000001</cx:pt>
          <cx:pt idx="56">43.299999999999997</cx:pt>
          <cx:pt idx="57">42.560000000000002</cx:pt>
          <cx:pt idx="58">43.229999999999997</cx:pt>
          <cx:pt idx="59">40.939999999999998</cx:pt>
          <cx:pt idx="60">40.640000000000001</cx:pt>
          <cx:pt idx="61">42.770000000000003</cx:pt>
          <cx:pt idx="62">40.229999999999997</cx:pt>
          <cx:pt idx="63">40.68</cx:pt>
          <cx:pt idx="64">41.960000000000001</cx:pt>
          <cx:pt idx="65">42.450000000000003</cx:pt>
          <cx:pt idx="66">41.380000000000003</cx:pt>
          <cx:pt idx="67">40.259999999999998</cx:pt>
          <cx:pt idx="68">43.159999999999997</cx:pt>
          <cx:pt idx="69">42.009999999999998</cx:pt>
          <cx:pt idx="70">43.579999999999998</cx:pt>
          <cx:pt idx="71">42.729999999999997</cx:pt>
          <cx:pt idx="72">41.100000000000001</cx:pt>
          <cx:pt idx="73">41.049999999999997</cx:pt>
          <cx:pt idx="74">41.109999999999999</cx:pt>
          <cx:pt idx="75">43.200000000000003</cx:pt>
          <cx:pt idx="76">40.140000000000001</cx:pt>
          <cx:pt idx="77">43.850000000000001</cx:pt>
          <cx:pt idx="78">42.729999999999997</cx:pt>
          <cx:pt idx="79">40.340000000000003</cx:pt>
          <cx:pt idx="80">43.689999999999998</cx:pt>
          <cx:pt idx="81">40.189999999999998</cx:pt>
          <cx:pt idx="82">40.890000000000001</cx:pt>
          <cx:pt idx="83">43.710000000000001</cx:pt>
          <cx:pt idx="84">43.200000000000003</cx:pt>
          <cx:pt idx="85">42.579999999999998</cx:pt>
          <cx:pt idx="86">42.979999999999997</cx:pt>
          <cx:pt idx="87">41.229999999999997</cx:pt>
          <cx:pt idx="88">40.340000000000003</cx:pt>
          <cx:pt idx="89">43.399999999999999</cx:pt>
          <cx:pt idx="90">43.659999999999997</cx:pt>
          <cx:pt idx="91">40.920000000000002</cx:pt>
          <cx:pt idx="92">41.600000000000001</cx:pt>
          <cx:pt idx="93">40.200000000000003</cx:pt>
          <cx:pt idx="94">42.990000000000002</cx:pt>
          <cx:pt idx="95">40.869999999999997</cx:pt>
          <cx:pt idx="96">41.369999999999997</cx:pt>
          <cx:pt idx="97">43.289999999999999</cx:pt>
          <cx:pt idx="98">40.609999999999999</cx:pt>
          <cx:pt idx="99">41.850000000000001</cx:pt>
          <cx:pt idx="100">40.439999999999998</cx:pt>
          <cx:pt idx="101">43.509999999999998</cx:pt>
          <cx:pt idx="102">41.270000000000003</cx:pt>
          <cx:pt idx="103">43.890000000000001</cx:pt>
          <cx:pt idx="104">41.130000000000003</cx:pt>
          <cx:pt idx="105">43.07</cx:pt>
          <cx:pt idx="106">42.780000000000001</cx:pt>
          <cx:pt idx="107">40.590000000000003</cx:pt>
          <cx:pt idx="108">41.520000000000003</cx:pt>
          <cx:pt idx="109">41.840000000000003</cx:pt>
          <cx:pt idx="110">43.07</cx:pt>
          <cx:pt idx="111">41.579999999999998</cx:pt>
          <cx:pt idx="112">40.25</cx:pt>
          <cx:pt idx="113">43.789999999999999</cx:pt>
          <cx:pt idx="114">40.890000000000001</cx:pt>
          <cx:pt idx="115">42.009999999999998</cx:pt>
          <cx:pt idx="116">40.770000000000003</cx:pt>
          <cx:pt idx="117">43.009999999999998</cx:pt>
          <cx:pt idx="118">41.689999999999998</cx:pt>
          <cx:pt idx="119">40.869999999999997</cx:pt>
          <cx:pt idx="120">43.200000000000003</cx:pt>
          <cx:pt idx="121">40.799999999999997</cx:pt>
          <cx:pt idx="122">43.280000000000001</cx:pt>
          <cx:pt idx="123">40.850000000000001</cx:pt>
          <cx:pt idx="124">42.490000000000002</cx:pt>
          <cx:pt idx="125">43.549999999999997</cx:pt>
          <cx:pt idx="126">40.060000000000002</cx:pt>
          <cx:pt idx="127">41.560000000000002</cx:pt>
          <cx:pt idx="128">40.609999999999999</cx:pt>
          <cx:pt idx="129">42.130000000000003</cx:pt>
          <cx:pt idx="130">40.310000000000002</cx:pt>
          <cx:pt idx="131">40.700000000000003</cx:pt>
          <cx:pt idx="132">43.710000000000001</cx:pt>
          <cx:pt idx="133">40.869999999999997</cx:pt>
          <cx:pt idx="134">43.939999999999998</cx:pt>
          <cx:pt idx="135">40.07</cx:pt>
          <cx:pt idx="136">42.490000000000002</cx:pt>
          <cx:pt idx="137">41.490000000000002</cx:pt>
          <cx:pt idx="138">41.159999999999997</cx:pt>
          <cx:pt idx="139">43.18</cx:pt>
          <cx:pt idx="140">42.560000000000002</cx:pt>
          <cx:pt idx="141">43.969999999999999</cx:pt>
          <cx:pt idx="142">40.479999999999997</cx:pt>
          <cx:pt idx="143">43.299999999999997</cx:pt>
          <cx:pt idx="144">42.149999999999999</cx:pt>
          <cx:pt idx="145">40.729999999999997</cx:pt>
          <cx:pt idx="146">41.159999999999997</cx:pt>
          <cx:pt idx="147">40.990000000000002</cx:pt>
          <cx:pt idx="148">41.619999999999997</cx:pt>
          <cx:pt idx="149">40.770000000000003</cx:pt>
          <cx:pt idx="150">40.289999999999999</cx:pt>
          <cx:pt idx="151">42.450000000000003</cx:pt>
          <cx:pt idx="152">43.490000000000002</cx:pt>
          <cx:pt idx="153">40.75</cx:pt>
          <cx:pt idx="154">41.020000000000003</cx:pt>
          <cx:pt idx="155">41.93</cx:pt>
          <cx:pt idx="156">41.740000000000002</cx:pt>
          <cx:pt idx="157">43.659999999999997</cx:pt>
          <cx:pt idx="158">41.210000000000001</cx:pt>
          <cx:pt idx="159">42.700000000000003</cx:pt>
          <cx:pt idx="160">40.829999999999998</cx:pt>
          <cx:pt idx="161">41.700000000000003</cx:pt>
          <cx:pt idx="162">42.899999999999999</cx:pt>
          <cx:pt idx="163">41.590000000000003</cx:pt>
          <cx:pt idx="164">42.829999999999998</cx:pt>
          <cx:pt idx="165">42.950000000000003</cx:pt>
          <cx:pt idx="166">40.890000000000001</cx:pt>
          <cx:pt idx="167">42.509999999999998</cx:pt>
          <cx:pt idx="168">42.200000000000003</cx:pt>
          <cx:pt idx="169">40.490000000000002</cx:pt>
          <cx:pt idx="170">40.759999999999998</cx:pt>
          <cx:pt idx="171">40.130000000000003</cx:pt>
          <cx:pt idx="172">43.439999999999998</cx:pt>
          <cx:pt idx="173">43</cx:pt>
          <cx:pt idx="174">41.719999999999999</cx:pt>
          <cx:pt idx="175">42.939999999999998</cx:pt>
          <cx:pt idx="176">40.299999999999997</cx:pt>
          <cx:pt idx="177">42.57</cx:pt>
          <cx:pt idx="178">43.350000000000001</cx:pt>
          <cx:pt idx="179">43.909999999999997</cx:pt>
          <cx:pt idx="180">43.43</cx:pt>
          <cx:pt idx="181">40.189999999999998</cx:pt>
          <cx:pt idx="182">43</cx:pt>
          <cx:pt idx="183">42.659999999999997</cx:pt>
          <cx:pt idx="184">43.009999999999998</cx:pt>
          <cx:pt idx="185">42.590000000000003</cx:pt>
          <cx:pt idx="186">41.32</cx:pt>
          <cx:pt idx="187">42.840000000000003</cx:pt>
          <cx:pt idx="188">42.969999999999999</cx:pt>
          <cx:pt idx="189">40.460000000000001</cx:pt>
          <cx:pt idx="190">43.469999999999999</cx:pt>
          <cx:pt idx="191">42.719999999999999</cx:pt>
          <cx:pt idx="192">41.159999999999997</cx:pt>
          <cx:pt idx="193">42.399999999999999</cx:pt>
          <cx:pt idx="194">41.259999999999998</cx:pt>
          <cx:pt idx="195">42.75</cx:pt>
          <cx:pt idx="196">43.18</cx:pt>
          <cx:pt idx="197">40.810000000000002</cx:pt>
          <cx:pt idx="198">41.659999999999997</cx:pt>
          <cx:pt idx="199">43.060000000000002</cx:pt>
          <cx:pt idx="200">42.520000000000003</cx:pt>
          <cx:pt idx="201">43.299999999999997</cx:pt>
          <cx:pt idx="202">43.299999999999997</cx:pt>
          <cx:pt idx="203">40.189999999999998</cx:pt>
          <cx:pt idx="204">41.93</cx:pt>
          <cx:pt idx="205">42.32</cx:pt>
          <cx:pt idx="206">40.039999999999999</cx:pt>
          <cx:pt idx="207">40.32</cx:pt>
          <cx:pt idx="208">40.619999999999997</cx:pt>
          <cx:pt idx="209">43.310000000000002</cx:pt>
          <cx:pt idx="210">42.409999999999997</cx:pt>
          <cx:pt idx="211">41.289999999999999</cx:pt>
          <cx:pt idx="212">40.390000000000001</cx:pt>
          <cx:pt idx="213">43.600000000000001</cx:pt>
          <cx:pt idx="214">43.18</cx:pt>
          <cx:pt idx="215">40.159999999999997</cx:pt>
          <cx:pt idx="216">40.670000000000002</cx:pt>
          <cx:pt idx="217">42.729999999999997</cx:pt>
          <cx:pt idx="218">40.539999999999999</cx:pt>
          <cx:pt idx="219">40.18</cx:pt>
          <cx:pt idx="220">41.960000000000001</cx:pt>
          <cx:pt idx="221">41.119999999999997</cx:pt>
          <cx:pt idx="222">42.530000000000001</cx:pt>
          <cx:pt idx="223">42.609999999999999</cx:pt>
          <cx:pt idx="224">40.270000000000003</cx:pt>
          <cx:pt idx="225">43.299999999999997</cx:pt>
          <cx:pt idx="226">43.600000000000001</cx:pt>
          <cx:pt idx="227">41.509999999999998</cx:pt>
          <cx:pt idx="228">41.920000000000002</cx:pt>
          <cx:pt idx="229">40.07</cx:pt>
          <cx:pt idx="230">43.640000000000001</cx:pt>
          <cx:pt idx="231">41.259999999999998</cx:pt>
          <cx:pt idx="232">42.189999999999998</cx:pt>
          <cx:pt idx="233">40.009999999999998</cx:pt>
          <cx:pt idx="234">42.609999999999999</cx:pt>
          <cx:pt idx="235">42.32</cx:pt>
          <cx:pt idx="236">40.039999999999999</cx:pt>
          <cx:pt idx="237">40.340000000000003</cx:pt>
          <cx:pt idx="238">40.939999999999998</cx:pt>
          <cx:pt idx="239">43.5</cx:pt>
          <cx:pt idx="240">41.630000000000003</cx:pt>
          <cx:pt idx="241">40.579999999999998</cx:pt>
          <cx:pt idx="242">40.170000000000002</cx:pt>
          <cx:pt idx="243">44.369999999999997</cx:pt>
          <cx:pt idx="244">44.420000000000002</cx:pt>
          <cx:pt idx="245">44.350000000000001</cx:pt>
          <cx:pt idx="246">44.390000000000001</cx:pt>
          <cx:pt idx="247">42.289999999999999</cx:pt>
          <cx:pt idx="248">42.280000000000001</cx:pt>
          <cx:pt idx="249">44.75</cx:pt>
          <cx:pt idx="250">42.119999999999997</cx:pt>
          <cx:pt idx="251">42.82</cx:pt>
          <cx:pt idx="252">43.049999999999997</cx:pt>
          <cx:pt idx="253">43.409999999999997</cx:pt>
          <cx:pt idx="254">44.159999999999997</cx:pt>
          <cx:pt idx="255">42.939999999999998</cx:pt>
          <cx:pt idx="256">42.020000000000003</cx:pt>
          <cx:pt idx="257">42.07</cx:pt>
          <cx:pt idx="258">43.719999999999999</cx:pt>
          <cx:pt idx="259">44.509999999999998</cx:pt>
          <cx:pt idx="260">42.020000000000003</cx:pt>
          <cx:pt idx="261">45</cx:pt>
          <cx:pt idx="262">44.810000000000002</cx:pt>
          <cx:pt idx="263">43.479999999999997</cx:pt>
          <cx:pt idx="264">43.82</cx:pt>
          <cx:pt idx="265">42.380000000000003</cx:pt>
          <cx:pt idx="266">43.049999999999997</cx:pt>
          <cx:pt idx="267">44.530000000000001</cx:pt>
          <cx:pt idx="268">42.450000000000003</cx:pt>
          <cx:pt idx="269">44.700000000000003</cx:pt>
          <cx:pt idx="270">43.450000000000003</cx:pt>
          <cx:pt idx="271">42.270000000000003</cx:pt>
          <cx:pt idx="272">42.299999999999997</cx:pt>
          <cx:pt idx="273">44.219999999999999</cx:pt>
          <cx:pt idx="274">44.799999999999997</cx:pt>
          <cx:pt idx="275">42.200000000000003</cx:pt>
          <cx:pt idx="276">43.590000000000003</cx:pt>
          <cx:pt idx="277">44.789999999999999</cx:pt>
          <cx:pt idx="278">43.5</cx:pt>
          <cx:pt idx="279">42.840000000000003</cx:pt>
          <cx:pt idx="280">44.939999999999998</cx:pt>
          <cx:pt idx="281">42.049999999999997</cx:pt>
          <cx:pt idx="282">44.460000000000001</cx:pt>
          <cx:pt idx="283">42.100000000000001</cx:pt>
          <cx:pt idx="284">43.210000000000001</cx:pt>
          <cx:pt idx="285">42.32</cx:pt>
          <cx:pt idx="286">40.560000000000002</cx:pt>
          <cx:pt idx="287">40.170000000000002</cx:pt>
          <cx:pt idx="288">41.57</cx:pt>
          <cx:pt idx="289">41.009999999999998</cx:pt>
          <cx:pt idx="290">41.600000000000001</cx:pt>
          <cx:pt idx="291">40.729999999999997</cx:pt>
          <cx:pt idx="292">42.840000000000003</cx:pt>
          <cx:pt idx="293">41</cx:pt>
          <cx:pt idx="294">40.079999999999998</cx:pt>
          <cx:pt idx="295">41.670000000000002</cx:pt>
          <cx:pt idx="296">40.130000000000003</cx:pt>
          <cx:pt idx="297">40.460000000000001</cx:pt>
          <cx:pt idx="298">40.460000000000001</cx:pt>
          <cx:pt idx="299">40.130000000000003</cx:pt>
          <cx:pt idx="300">40.68</cx:pt>
          <cx:pt idx="301">42.810000000000002</cx:pt>
          <cx:pt idx="302">41.350000000000001</cx:pt>
          <cx:pt idx="303">41.649999999999999</cx:pt>
          <cx:pt idx="304">43.710000000000001</cx:pt>
          <cx:pt idx="305">44</cx:pt>
          <cx:pt idx="306">42.979999999999997</cx:pt>
          <cx:pt idx="307">40.390000000000001</cx:pt>
          <cx:pt idx="308">41.740000000000002</cx:pt>
          <cx:pt idx="309">40.060000000000002</cx:pt>
          <cx:pt idx="310">41.93</cx:pt>
          <cx:pt idx="311">40.68</cx:pt>
          <cx:pt idx="312">43.350000000000001</cx:pt>
          <cx:pt idx="313">40.200000000000003</cx:pt>
          <cx:pt idx="314">40.219999999999999</cx:pt>
          <cx:pt idx="315">41.640000000000001</cx:pt>
          <cx:pt idx="316">41.590000000000003</cx:pt>
          <cx:pt idx="317">40.43</cx:pt>
          <cx:pt idx="318">41.850000000000001</cx:pt>
          <cx:pt idx="319">40.700000000000003</cx:pt>
          <cx:pt idx="320">41.979999999999997</cx:pt>
          <cx:pt idx="321">43.520000000000003</cx:pt>
          <cx:pt idx="322">43.469999999999999</cx:pt>
          <cx:pt idx="323">40.740000000000002</cx:pt>
          <cx:pt idx="324">41.079999999999998</cx:pt>
          <cx:pt idx="325">43.549999999999997</cx:pt>
          <cx:pt idx="326">41.5</cx:pt>
          <cx:pt idx="327">40.200000000000003</cx:pt>
          <cx:pt idx="328">43.579999999999998</cx:pt>
          <cx:pt idx="329">43.869999999999997</cx:pt>
          <cx:pt idx="330">40.469999999999999</cx:pt>
          <cx:pt idx="331">40.659999999999997</cx:pt>
          <cx:pt idx="332">40.560000000000002</cx:pt>
          <cx:pt idx="333">43.799999999999997</cx:pt>
          <cx:pt idx="334">41.799999999999997</cx:pt>
          <cx:pt idx="335">43.710000000000001</cx:pt>
          <cx:pt idx="336">43.310000000000002</cx:pt>
          <cx:pt idx="337">40.060000000000002</cx:pt>
          <cx:pt idx="338">43.219999999999999</cx:pt>
          <cx:pt idx="339">42.850000000000001</cx:pt>
          <cx:pt idx="340">41.990000000000002</cx:pt>
          <cx:pt idx="341">40.950000000000003</cx:pt>
          <cx:pt idx="342">41.490000000000002</cx:pt>
          <cx:pt idx="343">40.829999999999998</cx:pt>
          <cx:pt idx="344">43.799999999999997</cx:pt>
          <cx:pt idx="345">40.719999999999999</cx:pt>
          <cx:pt idx="346">40.049999999999997</cx:pt>
          <cx:pt idx="347">41.350000000000001</cx:pt>
          <cx:pt idx="348">40.140000000000001</cx:pt>
          <cx:pt idx="349">41.93</cx:pt>
          <cx:pt idx="350">43.539999999999999</cx:pt>
          <cx:pt idx="351">42.829999999999998</cx:pt>
          <cx:pt idx="352">42.759999999999998</cx:pt>
          <cx:pt idx="353">42.960000000000001</cx:pt>
          <cx:pt idx="354">41.490000000000002</cx:pt>
          <cx:pt idx="355">40.340000000000003</cx:pt>
          <cx:pt idx="356">41.960000000000001</cx:pt>
          <cx:pt idx="357">42.560000000000002</cx:pt>
          <cx:pt idx="358">42.810000000000002</cx:pt>
          <cx:pt idx="359">43.710000000000001</cx:pt>
          <cx:pt idx="360">40.75</cx:pt>
          <cx:pt idx="361">41.869999999999997</cx:pt>
          <cx:pt idx="362">40.119999999999997</cx:pt>
          <cx:pt idx="363">41</cx:pt>
          <cx:pt idx="364">42.990000000000002</cx:pt>
          <cx:pt idx="365">42.189999999999998</cx:pt>
          <cx:pt idx="366">41.270000000000003</cx:pt>
          <cx:pt idx="367">43.93</cx:pt>
          <cx:pt idx="368">41.270000000000003</cx:pt>
          <cx:pt idx="369">43.799999999999997</cx:pt>
          <cx:pt idx="370">42.340000000000003</cx:pt>
          <cx:pt idx="371">43.030000000000001</cx:pt>
          <cx:pt idx="372">43.609999999999999</cx:pt>
          <cx:pt idx="373">42.909999999999997</cx:pt>
          <cx:pt idx="374">42.350000000000001</cx:pt>
          <cx:pt idx="375">41.020000000000003</cx:pt>
          <cx:pt idx="376">43.009999999999998</cx:pt>
          <cx:pt idx="377">41.869999999999997</cx:pt>
          <cx:pt idx="378">42.579999999999998</cx:pt>
          <cx:pt idx="379">41.109999999999999</cx:pt>
          <cx:pt idx="380">42.810000000000002</cx:pt>
          <cx:pt idx="381">41.479999999999997</cx:pt>
          <cx:pt idx="382">42.149999999999999</cx:pt>
          <cx:pt idx="383">43.289999999999999</cx:pt>
          <cx:pt idx="384">42.340000000000003</cx:pt>
          <cx:pt idx="385">41.280000000000001</cx:pt>
          <cx:pt idx="386">42.579999999999998</cx:pt>
          <cx:pt idx="387">40.57</cx:pt>
          <cx:pt idx="388">40.829999999999998</cx:pt>
          <cx:pt idx="389">40.369999999999997</cx:pt>
          <cx:pt idx="390">42.329999999999998</cx:pt>
          <cx:pt idx="391">40.090000000000003</cx:pt>
          <cx:pt idx="392">40.240000000000002</cx:pt>
          <cx:pt idx="393">40.869999999999997</cx:pt>
          <cx:pt idx="394">43.340000000000003</cx:pt>
          <cx:pt idx="395">40.159999999999997</cx:pt>
          <cx:pt idx="396">43.439999999999998</cx:pt>
          <cx:pt idx="397">41.579999999999998</cx:pt>
          <cx:pt idx="398">42.520000000000003</cx:pt>
          <cx:pt idx="399">41.880000000000003</cx:pt>
          <cx:pt idx="400">41.560000000000002</cx:pt>
          <cx:pt idx="401">41.079999999999998</cx:pt>
          <cx:pt idx="402">42.799999999999997</cx:pt>
          <cx:pt idx="403">40.969999999999999</cx:pt>
          <cx:pt idx="404">40.869999999999997</cx:pt>
          <cx:pt idx="405">41.859999999999999</cx:pt>
          <cx:pt idx="406">40.170000000000002</cx:pt>
          <cx:pt idx="407">42.82</cx:pt>
          <cx:pt idx="408">40.439999999999998</cx:pt>
          <cx:pt idx="409">43.350000000000001</cx:pt>
          <cx:pt idx="410">41.539999999999999</cx:pt>
          <cx:pt idx="411">42.229999999999997</cx:pt>
          <cx:pt idx="412">41.399999999999999</cx:pt>
          <cx:pt idx="413">42.640000000000001</cx:pt>
          <cx:pt idx="414">43.399999999999999</cx:pt>
          <cx:pt idx="415">43.18</cx:pt>
          <cx:pt idx="416">41.170000000000002</cx:pt>
          <cx:pt idx="417">40.359999999999999</cx:pt>
          <cx:pt idx="418">41.439999999999998</cx:pt>
          <cx:pt idx="419">42.399999999999999</cx:pt>
          <cx:pt idx="420">40.369999999999997</cx:pt>
          <cx:pt idx="421">41</cx:pt>
          <cx:pt idx="422">42.219999999999999</cx:pt>
          <cx:pt idx="423">42.600000000000001</cx:pt>
          <cx:pt idx="424">41.899999999999999</cx:pt>
          <cx:pt idx="425">42.289999999999999</cx:pt>
          <cx:pt idx="426">40.409999999999997</cx:pt>
          <cx:pt idx="427">43.009999999999998</cx:pt>
          <cx:pt idx="428">43.789999999999999</cx:pt>
          <cx:pt idx="429">40.789999999999999</cx:pt>
          <cx:pt idx="430">43.799999999999997</cx:pt>
          <cx:pt idx="431">40.490000000000002</cx:pt>
          <cx:pt idx="432">41.539999999999999</cx:pt>
          <cx:pt idx="433">42.770000000000003</cx:pt>
          <cx:pt idx="434">43.829999999999998</cx:pt>
          <cx:pt idx="435">40.880000000000003</cx:pt>
          <cx:pt idx="436">40.960000000000001</cx:pt>
          <cx:pt idx="437">40.460000000000001</cx:pt>
          <cx:pt idx="438">41.479999999999997</cx:pt>
          <cx:pt idx="439">42.759999999999998</cx:pt>
          <cx:pt idx="440">41.600000000000001</cx:pt>
          <cx:pt idx="441">42.210000000000001</cx:pt>
          <cx:pt idx="442">43.399999999999999</cx:pt>
          <cx:pt idx="443">41.939999999999998</cx:pt>
          <cx:pt idx="444">40.020000000000003</cx:pt>
          <cx:pt idx="445">42.549999999999997</cx:pt>
          <cx:pt idx="446">40.890000000000001</cx:pt>
          <cx:pt idx="447">41.280000000000001</cx:pt>
          <cx:pt idx="448">40.979999999999997</cx:pt>
          <cx:pt idx="449">43.560000000000002</cx:pt>
          <cx:pt idx="450">40.329999999999998</cx:pt>
          <cx:pt idx="451">43.68</cx:pt>
          <cx:pt idx="452">41.729999999999997</cx:pt>
          <cx:pt idx="453">40.310000000000002</cx:pt>
          <cx:pt idx="454">41.210000000000001</cx:pt>
          <cx:pt idx="455">41.619999999999997</cx:pt>
          <cx:pt idx="456">42.030000000000001</cx:pt>
          <cx:pt idx="457">43.509999999999998</cx:pt>
          <cx:pt idx="458">43.979999999999997</cx:pt>
          <cx:pt idx="459">42.850000000000001</cx:pt>
          <cx:pt idx="460">43.520000000000003</cx:pt>
          <cx:pt idx="461">43.399999999999999</cx:pt>
          <cx:pt idx="462">43.380000000000003</cx:pt>
          <cx:pt idx="463">42</cx:pt>
          <cx:pt idx="464">41.43</cx:pt>
          <cx:pt idx="465">41.140000000000001</cx:pt>
          <cx:pt idx="466">43.869999999999997</cx:pt>
          <cx:pt idx="467">41.299999999999997</cx:pt>
          <cx:pt idx="468">40.43</cx:pt>
          <cx:pt idx="469">40.539999999999999</cx:pt>
          <cx:pt idx="470">41.649999999999999</cx:pt>
          <cx:pt idx="471">40.890000000000001</cx:pt>
          <cx:pt idx="472">42.259999999999998</cx:pt>
          <cx:pt idx="473">40.439999999999998</cx:pt>
          <cx:pt idx="474">43.609999999999999</cx:pt>
          <cx:pt idx="475">42.280000000000001</cx:pt>
          <cx:pt idx="476">43</cx:pt>
          <cx:pt idx="477">42.450000000000003</cx:pt>
          <cx:pt idx="478">41.780000000000001</cx:pt>
          <cx:pt idx="479">42.969999999999999</cx:pt>
          <cx:pt idx="480">43.109999999999999</cx:pt>
          <cx:pt idx="481">43.710000000000001</cx:pt>
          <cx:pt idx="482">43.060000000000002</cx:pt>
          <cx:pt idx="483">43</cx:pt>
          <cx:pt idx="484">42.990000000000002</cx:pt>
          <cx:pt idx="485">40.229999999999997</cx:pt>
          <cx:pt idx="486">43.450000000000003</cx:pt>
          <cx:pt idx="487">40.759999999999998</cx:pt>
          <cx:pt idx="488">40.700000000000003</cx:pt>
          <cx:pt idx="489">41.310000000000002</cx:pt>
          <cx:pt idx="490">41.450000000000003</cx:pt>
          <cx:pt idx="491">40.659999999999997</cx:pt>
          <cx:pt idx="492">42.640000000000001</cx:pt>
          <cx:pt idx="493">43.82</cx:pt>
          <cx:pt idx="494">41.270000000000003</cx:pt>
          <cx:pt idx="495">40.020000000000003</cx:pt>
          <cx:pt idx="496">40.329999999999998</cx:pt>
          <cx:pt idx="497">40.07</cx:pt>
          <cx:pt idx="498">42.289999999999999</cx:pt>
          <cx:pt idx="499">43.560000000000002</cx:pt>
          <cx:pt idx="500">43.75</cx:pt>
          <cx:pt idx="501">41.07</cx:pt>
          <cx:pt idx="502">41.990000000000002</cx:pt>
          <cx:pt idx="503">41.43</cx:pt>
          <cx:pt idx="504">41.240000000000002</cx:pt>
          <cx:pt idx="505">42.780000000000001</cx:pt>
          <cx:pt idx="506">41.369999999999997</cx:pt>
          <cx:pt idx="507">41.57</cx:pt>
          <cx:pt idx="508">41.469999999999999</cx:pt>
          <cx:pt idx="509">41.149999999999999</cx:pt>
          <cx:pt idx="510">41.039999999999999</cx:pt>
          <cx:pt idx="511">41.460000000000001</cx:pt>
          <cx:pt idx="512">42.460000000000001</cx:pt>
          <cx:pt idx="513">42.759999999999998</cx:pt>
          <cx:pt idx="514">41.299999999999997</cx:pt>
          <cx:pt idx="515">40.770000000000003</cx:pt>
          <cx:pt idx="516">42.82</cx:pt>
          <cx:pt idx="517">40.719999999999999</cx:pt>
          <cx:pt idx="518">41.880000000000003</cx:pt>
          <cx:pt idx="519">43.219999999999999</cx:pt>
          <cx:pt idx="520">40.619999999999997</cx:pt>
          <cx:pt idx="521">40.600000000000001</cx:pt>
          <cx:pt idx="522">43.079999999999998</cx:pt>
          <cx:pt idx="523">41.579999999999998</cx:pt>
          <cx:pt idx="524">42.479999999999997</cx:pt>
          <cx:pt idx="525">41.030000000000001</cx:pt>
          <cx:pt idx="526">41.140000000000001</cx:pt>
          <cx:pt idx="527">40.780000000000001</cx:pt>
          <cx:pt idx="528">40.469999999999999</cx:pt>
          <cx:pt idx="529">41.719999999999999</cx:pt>
          <cx:pt idx="530">43.189999999999998</cx:pt>
          <cx:pt idx="531">43.649999999999999</cx:pt>
          <cx:pt idx="532">41.030000000000001</cx:pt>
          <cx:pt idx="533">40.060000000000002</cx:pt>
          <cx:pt idx="534">43.390000000000001</cx:pt>
          <cx:pt idx="535">42.219999999999999</cx:pt>
          <cx:pt idx="536">43.390000000000001</cx:pt>
          <cx:pt idx="537">42.039999999999999</cx:pt>
          <cx:pt idx="538">40.420000000000002</cx:pt>
          <cx:pt idx="539">43.210000000000001</cx:pt>
          <cx:pt idx="540">43.939999999999998</cx:pt>
          <cx:pt idx="541">43.75</cx:pt>
          <cx:pt idx="542">42.829999999999998</cx:pt>
          <cx:pt idx="543">41.350000000000001</cx:pt>
          <cx:pt idx="544">42.090000000000003</cx:pt>
          <cx:pt idx="545">42.359999999999999</cx:pt>
          <cx:pt idx="546">43.590000000000003</cx:pt>
          <cx:pt idx="547">43.530000000000001</cx:pt>
          <cx:pt idx="548">41.850000000000001</cx:pt>
          <cx:pt idx="549">43.579999999999998</cx:pt>
          <cx:pt idx="550">41.57</cx:pt>
          <cx:pt idx="551">42</cx:pt>
          <cx:pt idx="552">43.32</cx:pt>
          <cx:pt idx="553">42.090000000000003</cx:pt>
          <cx:pt idx="554">40.479999999999997</cx:pt>
          <cx:pt idx="555">42.289999999999999</cx:pt>
          <cx:pt idx="556">43.07</cx:pt>
          <cx:pt idx="557">40.939999999999998</cx:pt>
          <cx:pt idx="558">43.57</cx:pt>
          <cx:pt idx="559">43.670000000000002</cx:pt>
          <cx:pt idx="560">40.75</cx:pt>
          <cx:pt idx="561">42.32</cx:pt>
          <cx:pt idx="562">43.439999999999998</cx:pt>
          <cx:pt idx="563">42.969999999999999</cx:pt>
          <cx:pt idx="564">43.859999999999999</cx:pt>
          <cx:pt idx="565">42</cx:pt>
          <cx:pt idx="566">43.289999999999999</cx:pt>
          <cx:pt idx="567">40.369999999999997</cx:pt>
          <cx:pt idx="568">40.350000000000001</cx:pt>
          <cx:pt idx="569">43.149999999999999</cx:pt>
          <cx:pt idx="570">42.950000000000003</cx:pt>
          <cx:pt idx="571">40.100000000000001</cx:pt>
          <cx:pt idx="572">40.590000000000003</cx:pt>
          <cx:pt idx="573">43.68</cx:pt>
          <cx:pt idx="574">40.159999999999997</cx:pt>
          <cx:pt idx="575">42</cx:pt>
          <cx:pt idx="576">41.060000000000002</cx:pt>
          <cx:pt idx="577">43.590000000000003</cx:pt>
          <cx:pt idx="578">42.079999999999998</cx:pt>
          <cx:pt idx="579">43.210000000000001</cx:pt>
          <cx:pt idx="580">43.100000000000001</cx:pt>
          <cx:pt idx="581">42.439999999999998</cx:pt>
          <cx:pt idx="582">41.850000000000001</cx:pt>
          <cx:pt idx="583">41.200000000000003</cx:pt>
          <cx:pt idx="584">43.659999999999997</cx:pt>
          <cx:pt idx="585">40.93</cx:pt>
          <cx:pt idx="586">43.810000000000002</cx:pt>
          <cx:pt idx="587">43.210000000000001</cx:pt>
          <cx:pt idx="588">42.990000000000002</cx:pt>
          <cx:pt idx="589">40.100000000000001</cx:pt>
          <cx:pt idx="590">43.75</cx:pt>
          <cx:pt idx="591">43.710000000000001</cx:pt>
          <cx:pt idx="592">40.100000000000001</cx:pt>
          <cx:pt idx="593">40.32</cx:pt>
          <cx:pt idx="594">41.770000000000003</cx:pt>
          <cx:pt idx="595">41.399999999999999</cx:pt>
          <cx:pt idx="596">41.57</cx:pt>
          <cx:pt idx="597">41.630000000000003</cx:pt>
          <cx:pt idx="598">40.390000000000001</cx:pt>
          <cx:pt idx="599">41.729999999999997</cx:pt>
          <cx:pt idx="600">42.770000000000003</cx:pt>
          <cx:pt idx="601">40.329999999999998</cx:pt>
          <cx:pt idx="602">42.670000000000002</cx:pt>
          <cx:pt idx="603">43.950000000000003</cx:pt>
          <cx:pt idx="604">40</cx:pt>
          <cx:pt idx="605">40.869999999999997</cx:pt>
          <cx:pt idx="606">41.590000000000003</cx:pt>
          <cx:pt idx="607">42.829999999999998</cx:pt>
          <cx:pt idx="608">42.630000000000003</cx:pt>
          <cx:pt idx="609">41.719999999999999</cx:pt>
          <cx:pt idx="610">40.689999999999998</cx:pt>
          <cx:pt idx="611">41.990000000000002</cx:pt>
          <cx:pt idx="612">41.009999999999998</cx:pt>
          <cx:pt idx="613">42.25</cx:pt>
          <cx:pt idx="614">40.57</cx:pt>
          <cx:pt idx="615">41.670000000000002</cx:pt>
          <cx:pt idx="616">41.75</cx:pt>
          <cx:pt idx="617">41.670000000000002</cx:pt>
          <cx:pt idx="618">40.530000000000001</cx:pt>
          <cx:pt idx="619">43.329999999999998</cx:pt>
          <cx:pt idx="620">42.75</cx:pt>
          <cx:pt idx="621">41.719999999999999</cx:pt>
          <cx:pt idx="622">42.159999999999997</cx:pt>
          <cx:pt idx="623">41.310000000000002</cx:pt>
          <cx:pt idx="624">43.07</cx:pt>
          <cx:pt idx="625">43.579999999999998</cx:pt>
          <cx:pt idx="626">43.700000000000003</cx:pt>
          <cx:pt idx="627">43.689999999999998</cx:pt>
          <cx:pt idx="628">43.439999999999998</cx:pt>
          <cx:pt idx="629">42.670000000000002</cx:pt>
          <cx:pt idx="630">40.560000000000002</cx:pt>
          <cx:pt idx="631">41.560000000000002</cx:pt>
          <cx:pt idx="632">43.880000000000003</cx:pt>
          <cx:pt idx="633">43.729999999999997</cx:pt>
          <cx:pt idx="634">44.469999999999999</cx:pt>
          <cx:pt idx="635">44.960000000000001</cx:pt>
          <cx:pt idx="636">44.119999999999997</cx:pt>
          <cx:pt idx="637">42.539999999999999</cx:pt>
          <cx:pt idx="638">44.189999999999998</cx:pt>
          <cx:pt idx="639">44.369999999999997</cx:pt>
          <cx:pt idx="640">42.710000000000001</cx:pt>
          <cx:pt idx="641">43.119999999999997</cx:pt>
          <cx:pt idx="642">43.549999999999997</cx:pt>
          <cx:pt idx="643">44.219999999999999</cx:pt>
          <cx:pt idx="644">44.020000000000003</cx:pt>
          <cx:pt idx="645">43.270000000000003</cx:pt>
          <cx:pt idx="646">43.469999999999999</cx:pt>
          <cx:pt idx="647">44.140000000000001</cx:pt>
          <cx:pt idx="648">44.270000000000003</cx:pt>
          <cx:pt idx="649">42.899999999999999</cx:pt>
          <cx:pt idx="650">44.409999999999997</cx:pt>
          <cx:pt idx="651">44.609999999999999</cx:pt>
          <cx:pt idx="652">43.43</cx:pt>
          <cx:pt idx="653">42.509999999999998</cx:pt>
          <cx:pt idx="654">42.880000000000003</cx:pt>
          <cx:pt idx="655">43.259999999999998</cx:pt>
          <cx:pt idx="656">43.5</cx:pt>
          <cx:pt idx="657">43.299999999999997</cx:pt>
          <cx:pt idx="658">42.93</cx:pt>
          <cx:pt idx="659">44.899999999999999</cx:pt>
          <cx:pt idx="660">44.259999999999998</cx:pt>
          <cx:pt idx="661">44.939999999999998</cx:pt>
          <cx:pt idx="662">42.409999999999997</cx:pt>
          <cx:pt idx="663">42.109999999999999</cx:pt>
          <cx:pt idx="664">43.770000000000003</cx:pt>
          <cx:pt idx="665">43.630000000000003</cx:pt>
          <cx:pt idx="666">42.93</cx:pt>
          <cx:pt idx="667">42.049999999999997</cx:pt>
          <cx:pt idx="668">44.719999999999999</cx:pt>
          <cx:pt idx="669">42.759999999999998</cx:pt>
          <cx:pt idx="670">44.350000000000001</cx:pt>
          <cx:pt idx="671">44.850000000000001</cx:pt>
          <cx:pt idx="672">42.299999999999997</cx:pt>
          <cx:pt idx="673">42.799999999999997</cx:pt>
          <cx:pt idx="674">43.170000000000002</cx:pt>
          <cx:pt idx="675">40.560000000000002</cx:pt>
          <cx:pt idx="676">40.25</cx:pt>
          <cx:pt idx="677">42.329999999999998</cx:pt>
          <cx:pt idx="678">43.340000000000003</cx:pt>
          <cx:pt idx="679">41</cx:pt>
          <cx:pt idx="680">41.700000000000003</cx:pt>
          <cx:pt idx="681">40.130000000000003</cx:pt>
          <cx:pt idx="682">43.090000000000003</cx:pt>
          <cx:pt idx="683">42.090000000000003</cx:pt>
          <cx:pt idx="684">42.090000000000003</cx:pt>
          <cx:pt idx="685">40.359999999999999</cx:pt>
          <cx:pt idx="686">43.380000000000003</cx:pt>
          <cx:pt idx="687">42.590000000000003</cx:pt>
          <cx:pt idx="688">44</cx:pt>
          <cx:pt idx="689">41.939999999999998</cx:pt>
          <cx:pt idx="690">40.880000000000003</cx:pt>
          <cx:pt idx="691">42.289999999999999</cx:pt>
          <cx:pt idx="692">42.789999999999999</cx:pt>
          <cx:pt idx="693">40.399999999999999</cx:pt>
          <cx:pt idx="694">43.289999999999999</cx:pt>
          <cx:pt idx="695">40.869999999999997</cx:pt>
          <cx:pt idx="696">40.380000000000003</cx:pt>
          <cx:pt idx="697">40.75</cx:pt>
          <cx:pt idx="698">40.049999999999997</cx:pt>
          <cx:pt idx="699">43.909999999999997</cx:pt>
          <cx:pt idx="700">43.469999999999999</cx:pt>
          <cx:pt idx="701">40.990000000000002</cx:pt>
          <cx:pt idx="702">40.270000000000003</cx:pt>
          <cx:pt idx="703">43.609999999999999</cx:pt>
          <cx:pt idx="704">40.630000000000003</cx:pt>
          <cx:pt idx="705">43.689999999999998</cx:pt>
          <cx:pt idx="706">43.009999999999998</cx:pt>
          <cx:pt idx="707">41.460000000000001</cx:pt>
          <cx:pt idx="708">42.539999999999999</cx:pt>
          <cx:pt idx="709">43.689999999999998</cx:pt>
          <cx:pt idx="710">43.380000000000003</cx:pt>
          <cx:pt idx="711">42.810000000000002</cx:pt>
          <cx:pt idx="712">41.520000000000003</cx:pt>
          <cx:pt idx="713">43.369999999999997</cx:pt>
          <cx:pt idx="714">42.359999999999999</cx:pt>
          <cx:pt idx="715">40.289999999999999</cx:pt>
          <cx:pt idx="716">41.68</cx:pt>
          <cx:pt idx="717">42.579999999999998</cx:pt>
          <cx:pt idx="718">41.82</cx:pt>
          <cx:pt idx="719">43.090000000000003</cx:pt>
          <cx:pt idx="720">43.619999999999997</cx:pt>
          <cx:pt idx="721">40.109999999999999</cx:pt>
          <cx:pt idx="722">40.369999999999997</cx:pt>
          <cx:pt idx="723">42.340000000000003</cx:pt>
          <cx:pt idx="724">41</cx:pt>
          <cx:pt idx="725">42.280000000000001</cx:pt>
          <cx:pt idx="726">40.229999999999997</cx:pt>
          <cx:pt idx="727">41.920000000000002</cx:pt>
          <cx:pt idx="728">40.740000000000002</cx:pt>
          <cx:pt idx="729">41.229999999999997</cx:pt>
          <cx:pt idx="730">41.479999999999997</cx:pt>
          <cx:pt idx="731">43.280000000000001</cx:pt>
          <cx:pt idx="732">42.009999999999998</cx:pt>
          <cx:pt idx="733">41.82</cx:pt>
          <cx:pt idx="734">43.32</cx:pt>
          <cx:pt idx="735">41.799999999999997</cx:pt>
          <cx:pt idx="736">42.649999999999999</cx:pt>
          <cx:pt idx="737">43.340000000000003</cx:pt>
          <cx:pt idx="738">41.909999999999997</cx:pt>
          <cx:pt idx="739">43.479999999999997</cx:pt>
          <cx:pt idx="740">42.490000000000002</cx:pt>
          <cx:pt idx="741">42.710000000000001</cx:pt>
          <cx:pt idx="742">42.780000000000001</cx:pt>
          <cx:pt idx="743">42.520000000000003</cx:pt>
          <cx:pt idx="744">43.670000000000002</cx:pt>
          <cx:pt idx="745">40.149999999999999</cx:pt>
          <cx:pt idx="746">42.469999999999999</cx:pt>
          <cx:pt idx="747">41.770000000000003</cx:pt>
          <cx:pt idx="748">41.979999999999997</cx:pt>
          <cx:pt idx="749">42.600000000000001</cx:pt>
          <cx:pt idx="750">43.810000000000002</cx:pt>
          <cx:pt idx="751">43.939999999999998</cx:pt>
          <cx:pt idx="752">43.75</cx:pt>
          <cx:pt idx="753">40.579999999999998</cx:pt>
          <cx:pt idx="754">43.920000000000002</cx:pt>
          <cx:pt idx="755">43.630000000000003</cx:pt>
          <cx:pt idx="756">40.270000000000003</cx:pt>
          <cx:pt idx="757">40.149999999999999</cx:pt>
          <cx:pt idx="758">42.210000000000001</cx:pt>
          <cx:pt idx="759">40.329999999999998</cx:pt>
          <cx:pt idx="760">43.57</cx:pt>
          <cx:pt idx="761">40</cx:pt>
          <cx:pt idx="762">43.780000000000001</cx:pt>
          <cx:pt idx="763">42.280000000000001</cx:pt>
          <cx:pt idx="764">42.659999999999997</cx:pt>
          <cx:pt idx="765">41.25</cx:pt>
          <cx:pt idx="766">43.079999999999998</cx:pt>
          <cx:pt idx="767">43.270000000000003</cx:pt>
          <cx:pt idx="768">42.689999999999998</cx:pt>
          <cx:pt idx="769">41.939999999999998</cx:pt>
          <cx:pt idx="770">42.869999999999997</cx:pt>
          <cx:pt idx="771">43.490000000000002</cx:pt>
          <cx:pt idx="772">40.899999999999999</cx:pt>
          <cx:pt idx="773">41.829999999999998</cx:pt>
          <cx:pt idx="774">41.600000000000001</cx:pt>
          <cx:pt idx="775">41.640000000000001</cx:pt>
          <cx:pt idx="776">42.299999999999997</cx:pt>
          <cx:pt idx="777">40.350000000000001</cx:pt>
          <cx:pt idx="778">42.119999999999997</cx:pt>
          <cx:pt idx="779">41.219999999999999</cx:pt>
          <cx:pt idx="780">42.640000000000001</cx:pt>
          <cx:pt idx="781">42.039999999999999</cx:pt>
          <cx:pt idx="782">43.140000000000001</cx:pt>
          <cx:pt idx="783">43.5</cx:pt>
          <cx:pt idx="784">42.289999999999999</cx:pt>
          <cx:pt idx="785">40.289999999999999</cx:pt>
          <cx:pt idx="786">41.43</cx:pt>
          <cx:pt idx="787">40.590000000000003</cx:pt>
          <cx:pt idx="788">40.530000000000001</cx:pt>
          <cx:pt idx="789">43.32</cx:pt>
          <cx:pt idx="790">41.969999999999999</cx:pt>
          <cx:pt idx="791">42.189999999999998</cx:pt>
          <cx:pt idx="792">41.670000000000002</cx:pt>
          <cx:pt idx="793">40.68</cx:pt>
          <cx:pt idx="794">42.75</cx:pt>
          <cx:pt idx="795">42.909999999999997</cx:pt>
          <cx:pt idx="796">40.630000000000003</cx:pt>
          <cx:pt idx="797">42.090000000000003</cx:pt>
          <cx:pt idx="798">42.770000000000003</cx:pt>
          <cx:pt idx="799">40.939999999999998</cx:pt>
          <cx:pt idx="800">43.030000000000001</cx:pt>
          <cx:pt idx="801">41.340000000000003</cx:pt>
          <cx:pt idx="802">41.32</cx:pt>
          <cx:pt idx="803">42.780000000000001</cx:pt>
          <cx:pt idx="804">42.740000000000002</cx:pt>
          <cx:pt idx="805">40.350000000000001</cx:pt>
          <cx:pt idx="806">41.979999999999997</cx:pt>
          <cx:pt idx="807">42.840000000000003</cx:pt>
          <cx:pt idx="808">41.920000000000002</cx:pt>
          <cx:pt idx="809">42.789999999999999</cx:pt>
          <cx:pt idx="810">40.409999999999997</cx:pt>
          <cx:pt idx="811">42.789999999999999</cx:pt>
          <cx:pt idx="812">43.259999999999998</cx:pt>
          <cx:pt idx="813">41.390000000000001</cx:pt>
          <cx:pt idx="814">40.07</cx:pt>
          <cx:pt idx="815">43.310000000000002</cx:pt>
          <cx:pt idx="816">42.82</cx:pt>
          <cx:pt idx="817">42.549999999999997</cx:pt>
          <cx:pt idx="818">40.18</cx:pt>
          <cx:pt idx="819">40.710000000000001</cx:pt>
          <cx:pt idx="820">43.939999999999998</cx:pt>
          <cx:pt idx="821">40.869999999999997</cx:pt>
          <cx:pt idx="822">42.049999999999997</cx:pt>
          <cx:pt idx="823">42.340000000000003</cx:pt>
          <cx:pt idx="824">40.909999999999997</cx:pt>
          <cx:pt idx="825">43.240000000000002</cx:pt>
          <cx:pt idx="826">40.700000000000003</cx:pt>
          <cx:pt idx="827">40.850000000000001</cx:pt>
          <cx:pt idx="828">42.420000000000002</cx:pt>
          <cx:pt idx="829">40.829999999999998</cx:pt>
          <cx:pt idx="830">43.170000000000002</cx:pt>
          <cx:pt idx="831">40.200000000000003</cx:pt>
          <cx:pt idx="832">43.409999999999997</cx:pt>
          <cx:pt idx="833">41.299999999999997</cx:pt>
          <cx:pt idx="834">41.710000000000001</cx:pt>
          <cx:pt idx="835">41.640000000000001</cx:pt>
          <cx:pt idx="836">41.909999999999997</cx:pt>
          <cx:pt idx="837">42.969999999999999</cx:pt>
          <cx:pt idx="838">40.539999999999999</cx:pt>
          <cx:pt idx="839">41.030000000000001</cx:pt>
          <cx:pt idx="840">42.189999999999998</cx:pt>
          <cx:pt idx="841">43.539999999999999</cx:pt>
          <cx:pt idx="842">42.439999999999998</cx:pt>
          <cx:pt idx="843">41.420000000000002</cx:pt>
          <cx:pt idx="844">43.770000000000003</cx:pt>
          <cx:pt idx="845">40.109999999999999</cx:pt>
          <cx:pt idx="846">42.130000000000003</cx:pt>
          <cx:pt idx="847">40.130000000000003</cx:pt>
          <cx:pt idx="848">40.590000000000003</cx:pt>
          <cx:pt idx="849">41.359999999999999</cx:pt>
          <cx:pt idx="850">42.659999999999997</cx:pt>
          <cx:pt idx="851">43.590000000000003</cx:pt>
          <cx:pt idx="852">42.479999999999997</cx:pt>
          <cx:pt idx="853">42.609999999999999</cx:pt>
          <cx:pt idx="854">40.439999999999998</cx:pt>
          <cx:pt idx="855">40.960000000000001</cx:pt>
          <cx:pt idx="856">43.090000000000003</cx:pt>
          <cx:pt idx="857">42.82</cx:pt>
          <cx:pt idx="858">41.859999999999999</cx:pt>
          <cx:pt idx="859">41.340000000000003</cx:pt>
          <cx:pt idx="860">41.469999999999999</cx:pt>
          <cx:pt idx="861">42.359999999999999</cx:pt>
          <cx:pt idx="862">41.659999999999997</cx:pt>
          <cx:pt idx="863">40.539999999999999</cx:pt>
          <cx:pt idx="864">40.759999999999998</cx:pt>
          <cx:pt idx="865">42.979999999999997</cx:pt>
          <cx:pt idx="866">40.060000000000002</cx:pt>
          <cx:pt idx="867">43.149999999999999</cx:pt>
          <cx:pt idx="868">40.270000000000003</cx:pt>
          <cx:pt idx="869">41.340000000000003</cx:pt>
          <cx:pt idx="870">43.609999999999999</cx:pt>
          <cx:pt idx="871">41.789999999999999</cx:pt>
          <cx:pt idx="872">42.859999999999999</cx:pt>
          <cx:pt idx="873">41.399999999999999</cx:pt>
          <cx:pt idx="874">41.810000000000002</cx:pt>
          <cx:pt idx="875">41.909999999999997</cx:pt>
          <cx:pt idx="876">40.450000000000003</cx:pt>
          <cx:pt idx="877">42.950000000000003</cx:pt>
          <cx:pt idx="878">42.490000000000002</cx:pt>
          <cx:pt idx="879">42.939999999999998</cx:pt>
          <cx:pt idx="880">42.740000000000002</cx:pt>
          <cx:pt idx="881">42.759999999999998</cx:pt>
          <cx:pt idx="882">43.810000000000002</cx:pt>
          <cx:pt idx="883">41.170000000000002</cx:pt>
          <cx:pt idx="884">43.479999999999997</cx:pt>
          <cx:pt idx="885">40.350000000000001</cx:pt>
          <cx:pt idx="886">43.810000000000002</cx:pt>
          <cx:pt idx="887">41.310000000000002</cx:pt>
          <cx:pt idx="888">41.560000000000002</cx:pt>
          <cx:pt idx="889">43.170000000000002</cx:pt>
          <cx:pt idx="890">43.75</cx:pt>
          <cx:pt idx="891">40.82</cx:pt>
          <cx:pt idx="892">43.479999999999997</cx:pt>
          <cx:pt idx="893">41.719999999999999</cx:pt>
          <cx:pt idx="894">40.030000000000001</cx:pt>
          <cx:pt idx="895">43.979999999999997</cx:pt>
          <cx:pt idx="896">43.640000000000001</cx:pt>
          <cx:pt idx="897">42.75</cx:pt>
          <cx:pt idx="898">43.390000000000001</cx:pt>
          <cx:pt idx="899">41.740000000000002</cx:pt>
          <cx:pt idx="900">42.909999999999997</cx:pt>
          <cx:pt idx="901">42.719999999999999</cx:pt>
          <cx:pt idx="902">40.880000000000003</cx:pt>
          <cx:pt idx="903">42.840000000000003</cx:pt>
          <cx:pt idx="904">42.140000000000001</cx:pt>
          <cx:pt idx="905">41.130000000000003</cx:pt>
          <cx:pt idx="906">41.780000000000001</cx:pt>
          <cx:pt idx="907">41.039999999999999</cx:pt>
          <cx:pt idx="908">41.609999999999999</cx:pt>
          <cx:pt idx="909">41.789999999999999</cx:pt>
          <cx:pt idx="910">43.759999999999998</cx:pt>
          <cx:pt idx="911">41.119999999999997</cx:pt>
          <cx:pt idx="912">41.259999999999998</cx:pt>
          <cx:pt idx="913">43.009999999999998</cx:pt>
          <cx:pt idx="914">43.219999999999999</cx:pt>
          <cx:pt idx="915">40.859999999999999</cx:pt>
          <cx:pt idx="916">42.979999999999997</cx:pt>
          <cx:pt idx="917">42.270000000000003</cx:pt>
          <cx:pt idx="918">41.909999999999997</cx:pt>
          <cx:pt idx="919">43.310000000000002</cx:pt>
          <cx:pt idx="920">42.219999999999999</cx:pt>
          <cx:pt idx="921">40.490000000000002</cx:pt>
          <cx:pt idx="922">42</cx:pt>
          <cx:pt idx="923">43.579999999999998</cx:pt>
          <cx:pt idx="924">40.659999999999997</cx:pt>
          <cx:pt idx="925">41</cx:pt>
          <cx:pt idx="926">42.07</cx:pt>
          <cx:pt idx="927">43.119999999999997</cx:pt>
          <cx:pt idx="928">43.240000000000002</cx:pt>
          <cx:pt idx="929">40.200000000000003</cx:pt>
          <cx:pt idx="930">41.140000000000001</cx:pt>
          <cx:pt idx="931">42.200000000000003</cx:pt>
          <cx:pt idx="932">41.350000000000001</cx:pt>
          <cx:pt idx="933">43.600000000000001</cx:pt>
          <cx:pt idx="934">41.829999999999998</cx:pt>
          <cx:pt idx="935">43.770000000000003</cx:pt>
          <cx:pt idx="936">41.170000000000002</cx:pt>
          <cx:pt idx="937">40.829999999999998</cx:pt>
          <cx:pt idx="938">43.020000000000003</cx:pt>
          <cx:pt idx="939">40.439999999999998</cx:pt>
          <cx:pt idx="940">41.560000000000002</cx:pt>
          <cx:pt idx="941">40.539999999999999</cx:pt>
          <cx:pt idx="942">42.170000000000002</cx:pt>
          <cx:pt idx="943">42.950000000000003</cx:pt>
          <cx:pt idx="944">41.409999999999997</cx:pt>
          <cx:pt idx="945">43.57</cx:pt>
          <cx:pt idx="946">41.840000000000003</cx:pt>
          <cx:pt idx="947">40.469999999999999</cx:pt>
          <cx:pt idx="948">42.299999999999997</cx:pt>
          <cx:pt idx="949">40.57</cx:pt>
          <cx:pt idx="950">41.159999999999997</cx:pt>
          <cx:pt idx="951">40.990000000000002</cx:pt>
          <cx:pt idx="952">43.5</cx:pt>
          <cx:pt idx="953">41.859999999999999</cx:pt>
          <cx:pt idx="954">41.479999999999997</cx:pt>
          <cx:pt idx="955">42.380000000000003</cx:pt>
          <cx:pt idx="956">43.590000000000003</cx:pt>
          <cx:pt idx="957">42.219999999999999</cx:pt>
          <cx:pt idx="958">43.630000000000003</cx:pt>
          <cx:pt idx="959">40.479999999999997</cx:pt>
          <cx:pt idx="960">41.229999999999997</cx:pt>
          <cx:pt idx="961">42.200000000000003</cx:pt>
          <cx:pt idx="962">40.880000000000003</cx:pt>
          <cx:pt idx="963">40.490000000000002</cx:pt>
          <cx:pt idx="964">41.659999999999997</cx:pt>
          <cx:pt idx="965">42.509999999999998</cx:pt>
          <cx:pt idx="966">40.210000000000001</cx:pt>
          <cx:pt idx="967">41.549999999999997</cx:pt>
          <cx:pt idx="968">43.549999999999997</cx:pt>
          <cx:pt idx="969">41.729999999999997</cx:pt>
          <cx:pt idx="970">40.969999999999999</cx:pt>
          <cx:pt idx="971">40.960000000000001</cx:pt>
          <cx:pt idx="972">41.649999999999999</cx:pt>
          <cx:pt idx="973">42.75</cx:pt>
          <cx:pt idx="974">41.789999999999999</cx:pt>
          <cx:pt idx="975">42.479999999999997</cx:pt>
          <cx:pt idx="976">43.719999999999999</cx:pt>
          <cx:pt idx="977">41.130000000000003</cx:pt>
          <cx:pt idx="978">41.789999999999999</cx:pt>
          <cx:pt idx="979">43.149999999999999</cx:pt>
          <cx:pt idx="980">43.420000000000002</cx:pt>
          <cx:pt idx="981">41.460000000000001</cx:pt>
          <cx:pt idx="982">42.469999999999999</cx:pt>
          <cx:pt idx="983">43.060000000000002</cx:pt>
          <cx:pt idx="984">40.280000000000001</cx:pt>
          <cx:pt idx="985">43.990000000000002</cx:pt>
          <cx:pt idx="986">41.079999999999998</cx:pt>
          <cx:pt idx="987">40.219999999999999</cx:pt>
          <cx:pt idx="988">43.200000000000003</cx:pt>
          <cx:pt idx="989">43.880000000000003</cx:pt>
          <cx:pt idx="990">40.450000000000003</cx:pt>
          <cx:pt idx="991">43.530000000000001</cx:pt>
          <cx:pt idx="992">40.409999999999997</cx:pt>
          <cx:pt idx="993">43.219999999999999</cx:pt>
          <cx:pt idx="994">42.520000000000003</cx:pt>
          <cx:pt idx="995">42.43</cx:pt>
          <cx:pt idx="996">40.710000000000001</cx:pt>
          <cx:pt idx="997">40.100000000000001</cx:pt>
          <cx:pt idx="998">43.82</cx:pt>
          <cx:pt idx="999">42.109999999999999</cx:pt>
          <cx:pt idx="1000">42.5</cx:pt>
          <cx:pt idx="1001">43.299999999999997</cx:pt>
          <cx:pt idx="1002">41.18</cx:pt>
          <cx:pt idx="1003">41.240000000000002</cx:pt>
          <cx:pt idx="1004">43.75</cx:pt>
          <cx:pt idx="1005">41.219999999999999</cx:pt>
          <cx:pt idx="1006">41.75</cx:pt>
          <cx:pt idx="1007">42.219999999999999</cx:pt>
          <cx:pt idx="1008">41.43</cx:pt>
          <cx:pt idx="1009">43.219999999999999</cx:pt>
          <cx:pt idx="1010">43.149999999999999</cx:pt>
          <cx:pt idx="1011">42.18</cx:pt>
          <cx:pt idx="1012">40.770000000000003</cx:pt>
          <cx:pt idx="1013">40.619999999999997</cx:pt>
          <cx:pt idx="1014">42.130000000000003</cx:pt>
          <cx:pt idx="1015">41.329999999999998</cx:pt>
          <cx:pt idx="1016">41.119999999999997</cx:pt>
          <cx:pt idx="1017">41.899999999999999</cx:pt>
          <cx:pt idx="1018">43.229999999999997</cx:pt>
          <cx:pt idx="1019">42.509999999999998</cx:pt>
          <cx:pt idx="1020">40.659999999999997</cx:pt>
          <cx:pt idx="1021">43.950000000000003</cx:pt>
          <cx:pt idx="1022">41.159999999999997</cx:pt>
          <cx:pt idx="1023">42.530000000000001</cx:pt>
          <cx:pt idx="1024">42.869999999999997</cx:pt>
          <cx:pt idx="1025">40.82</cx:pt>
          <cx:pt idx="1026">40.469999999999999</cx:pt>
          <cx:pt idx="1027">41.68</cx:pt>
          <cx:pt idx="1028">42.310000000000002</cx:pt>
          <cx:pt idx="1029">42.350000000000001</cx:pt>
          <cx:pt idx="1030">41.719999999999999</cx:pt>
          <cx:pt idx="1031">40.799999999999997</cx:pt>
          <cx:pt idx="1032">43.539999999999999</cx:pt>
          <cx:pt idx="1033">41.520000000000003</cx:pt>
          <cx:pt idx="1034">40.170000000000002</cx:pt>
          <cx:pt idx="1035">42.850000000000001</cx:pt>
          <cx:pt idx="1036">41.32</cx:pt>
          <cx:pt idx="1037">42.329999999999998</cx:pt>
          <cx:pt idx="1038">43.899999999999999</cx:pt>
          <cx:pt idx="1039">42.259999999999998</cx:pt>
          <cx:pt idx="1040">41.649999999999999</cx:pt>
          <cx:pt idx="1041">43.479999999999997</cx:pt>
          <cx:pt idx="1042">42.149999999999999</cx:pt>
          <cx:pt idx="1043">43.899999999999999</cx:pt>
          <cx:pt idx="1044">43.409999999999997</cx:pt>
          <cx:pt idx="1045">41.799999999999997</cx:pt>
          <cx:pt idx="1046">42.259999999999998</cx:pt>
          <cx:pt idx="1047">42.159999999999997</cx:pt>
          <cx:pt idx="1048">43.82</cx:pt>
          <cx:pt idx="1049">40.329999999999998</cx:pt>
          <cx:pt idx="1050">40.93</cx:pt>
          <cx:pt idx="1051">40.450000000000003</cx:pt>
          <cx:pt idx="1052">43.229999999999997</cx:pt>
          <cx:pt idx="1053">42.670000000000002</cx:pt>
          <cx:pt idx="1054">41.890000000000001</cx:pt>
          <cx:pt idx="1055">42.93</cx:pt>
          <cx:pt idx="1056">40.240000000000002</cx:pt>
          <cx:pt idx="1057">41.560000000000002</cx:pt>
          <cx:pt idx="1058">41.07</cx:pt>
          <cx:pt idx="1059">42.380000000000003</cx:pt>
          <cx:pt idx="1060">40.719999999999999</cx:pt>
          <cx:pt idx="1061">41.479999999999997</cx:pt>
          <cx:pt idx="1062">40.229999999999997</cx:pt>
          <cx:pt idx="1063">43.759999999999998</cx:pt>
          <cx:pt idx="1064">40.439999999999998</cx:pt>
          <cx:pt idx="1065">41.890000000000001</cx:pt>
          <cx:pt idx="1066">41.689999999999998</cx:pt>
          <cx:pt idx="1067">40.990000000000002</cx:pt>
          <cx:pt idx="1068">41.920000000000002</cx:pt>
          <cx:pt idx="1069">42.130000000000003</cx:pt>
          <cx:pt idx="1070">42.75</cx:pt>
          <cx:pt idx="1071">42.829999999999998</cx:pt>
          <cx:pt idx="1072">44.079999999999998</cx:pt>
          <cx:pt idx="1073">43.090000000000003</cx:pt>
          <cx:pt idx="1074">44.590000000000003</cx:pt>
          <cx:pt idx="1075">42.869999999999997</cx:pt>
          <cx:pt idx="1076">43.049999999999997</cx:pt>
          <cx:pt idx="1077">43.939999999999998</cx:pt>
          <cx:pt idx="1078">44.460000000000001</cx:pt>
          <cx:pt idx="1079">44.670000000000002</cx:pt>
          <cx:pt idx="1080">43.670000000000002</cx:pt>
          <cx:pt idx="1081">42.740000000000002</cx:pt>
          <cx:pt idx="1082">42.630000000000003</cx:pt>
          <cx:pt idx="1083">44.57</cx:pt>
          <cx:pt idx="1084">44.93</cx:pt>
          <cx:pt idx="1085">42.530000000000001</cx:pt>
          <cx:pt idx="1086">43.770000000000003</cx:pt>
          <cx:pt idx="1087">43.890000000000001</cx:pt>
          <cx:pt idx="1088">43.729999999999997</cx:pt>
          <cx:pt idx="1089">43.329999999999998</cx:pt>
          <cx:pt idx="1090">42.979999999999997</cx:pt>
          <cx:pt idx="1091">44.939999999999998</cx:pt>
          <cx:pt idx="1092">44.030000000000001</cx:pt>
          <cx:pt idx="1093">44.630000000000003</cx:pt>
          <cx:pt idx="1094">44.049999999999997</cx:pt>
          <cx:pt idx="1095">42.240000000000002</cx:pt>
          <cx:pt idx="1096">43.359999999999999</cx:pt>
          <cx:pt idx="1097">44.549999999999997</cx:pt>
          <cx:pt idx="1098">42.060000000000002</cx:pt>
          <cx:pt idx="1099">44.880000000000003</cx:pt>
          <cx:pt idx="1100">42.229999999999997</cx:pt>
          <cx:pt idx="1101">42.799999999999997</cx:pt>
          <cx:pt idx="1102">44.020000000000003</cx:pt>
          <cx:pt idx="1103">42.240000000000002</cx:pt>
          <cx:pt idx="1104">42.93</cx:pt>
          <cx:pt idx="1105">43.079999999999998</cx:pt>
          <cx:pt idx="1106">42.009999999999998</cx:pt>
          <cx:pt idx="1107">42.060000000000002</cx:pt>
          <cx:pt idx="1108">42.450000000000003</cx:pt>
          <cx:pt idx="1109">43.43</cx:pt>
          <cx:pt idx="1110">44.960000000000001</cx:pt>
          <cx:pt idx="1111">44.149999999999999</cx:pt>
          <cx:pt idx="1112">43.969999999999999</cx:pt>
          <cx:pt idx="1113">40.560000000000002</cx:pt>
          <cx:pt idx="1114">43</cx:pt>
          <cx:pt idx="1115">41.93</cx:pt>
          <cx:pt idx="1116">42.399999999999999</cx:pt>
          <cx:pt idx="1117">42.109999999999999</cx:pt>
          <cx:pt idx="1118">40.630000000000003</cx:pt>
          <cx:pt idx="1119">40.369999999999997</cx:pt>
          <cx:pt idx="1120">41.020000000000003</cx:pt>
          <cx:pt idx="1121">40.780000000000001</cx:pt>
          <cx:pt idx="1122">40.450000000000003</cx:pt>
          <cx:pt idx="1123">42.340000000000003</cx:pt>
          <cx:pt idx="1124">40.590000000000003</cx:pt>
          <cx:pt idx="1125">40.350000000000001</cx:pt>
          <cx:pt idx="1126">40.380000000000003</cx:pt>
          <cx:pt idx="1127">40.100000000000001</cx:pt>
          <cx:pt idx="1128">42.75</cx:pt>
          <cx:pt idx="1129">41.810000000000002</cx:pt>
          <cx:pt idx="1130">41.329999999999998</cx:pt>
          <cx:pt idx="1131">41.920000000000002</cx:pt>
          <cx:pt idx="1132">43.329999999999998</cx:pt>
          <cx:pt idx="1133">41.280000000000001</cx:pt>
          <cx:pt idx="1134">40.719999999999999</cx:pt>
          <cx:pt idx="1135">41.509999999999998</cx:pt>
          <cx:pt idx="1136">42.490000000000002</cx:pt>
          <cx:pt idx="1137">40.340000000000003</cx:pt>
          <cx:pt idx="1138">41.950000000000003</cx:pt>
          <cx:pt idx="1139">42.18</cx:pt>
          <cx:pt idx="1140">40.840000000000003</cx:pt>
          <cx:pt idx="1141">40.159999999999997</cx:pt>
          <cx:pt idx="1142">40.68</cx:pt>
          <cx:pt idx="1143">40.630000000000003</cx:pt>
          <cx:pt idx="1144">43.079999999999998</cx:pt>
          <cx:pt idx="1145">44</cx:pt>
          <cx:pt idx="1146">41.740000000000002</cx:pt>
          <cx:pt idx="1147">43.409999999999997</cx:pt>
          <cx:pt idx="1148">40.909999999999997</cx:pt>
          <cx:pt idx="1149">41.659999999999997</cx:pt>
          <cx:pt idx="1150">40.329999999999998</cx:pt>
          <cx:pt idx="1151">43.990000000000002</cx:pt>
          <cx:pt idx="1152">43.810000000000002</cx:pt>
          <cx:pt idx="1153">43.609999999999999</cx:pt>
          <cx:pt idx="1154">41.75</cx:pt>
          <cx:pt idx="1155">42.140000000000001</cx:pt>
          <cx:pt idx="1156">41.670000000000002</cx:pt>
          <cx:pt idx="1157">41</cx:pt>
          <cx:pt idx="1158">40.619999999999997</cx:pt>
          <cx:pt idx="1159">42.689999999999998</cx:pt>
          <cx:pt idx="1160">42.619999999999997</cx:pt>
          <cx:pt idx="1161">42.590000000000003</cx:pt>
          <cx:pt idx="1162">40.619999999999997</cx:pt>
          <cx:pt idx="1163">40</cx:pt>
          <cx:pt idx="1164">43.119999999999997</cx:pt>
          <cx:pt idx="1165">42.079999999999998</cx:pt>
          <cx:pt idx="1166">42.490000000000002</cx:pt>
          <cx:pt idx="1167">42.359999999999999</cx:pt>
          <cx:pt idx="1168">43.060000000000002</cx:pt>
          <cx:pt idx="1169">41.18</cx:pt>
          <cx:pt idx="1170">42.75</cx:pt>
          <cx:pt idx="1171">41.840000000000003</cx:pt>
          <cx:pt idx="1172">41.770000000000003</cx:pt>
          <cx:pt idx="1173">43.649999999999999</cx:pt>
          <cx:pt idx="1174">40.520000000000003</cx:pt>
          <cx:pt idx="1175">41.969999999999999</cx:pt>
          <cx:pt idx="1176">42.259999999999998</cx:pt>
          <cx:pt idx="1177">40.170000000000002</cx:pt>
          <cx:pt idx="1178">40.359999999999999</cx:pt>
          <cx:pt idx="1179">43.539999999999999</cx:pt>
          <cx:pt idx="1180">43.729999999999997</cx:pt>
          <cx:pt idx="1181">40.32</cx:pt>
          <cx:pt idx="1182">42.07</cx:pt>
          <cx:pt idx="1183">40.270000000000003</cx:pt>
          <cx:pt idx="1184">40.590000000000003</cx:pt>
          <cx:pt idx="1185">42.979999999999997</cx:pt>
          <cx:pt idx="1186">42.979999999999997</cx:pt>
          <cx:pt idx="1187">40.530000000000001</cx:pt>
          <cx:pt idx="1188">43.020000000000003</cx:pt>
          <cx:pt idx="1189">40.979999999999997</cx:pt>
          <cx:pt idx="1190">43.100000000000001</cx:pt>
          <cx:pt idx="1191">43.939999999999998</cx:pt>
          <cx:pt idx="1192">40.93</cx:pt>
          <cx:pt idx="1193">43.600000000000001</cx:pt>
          <cx:pt idx="1194">42.740000000000002</cx:pt>
          <cx:pt idx="1195">41.130000000000003</cx:pt>
          <cx:pt idx="1196">43.289999999999999</cx:pt>
          <cx:pt idx="1197">41.590000000000003</cx:pt>
          <cx:pt idx="1198">40.060000000000002</cx:pt>
          <cx:pt idx="1199">40.810000000000002</cx:pt>
          <cx:pt idx="1200">44</cx:pt>
          <cx:pt idx="1201">43.289999999999999</cx:pt>
          <cx:pt idx="1202">41.969999999999999</cx:pt>
          <cx:pt idx="1203">40.439999999999998</cx:pt>
          <cx:pt idx="1204">43.109999999999999</cx:pt>
          <cx:pt idx="1205">43.399999999999999</cx:pt>
          <cx:pt idx="1206">42.159999999999997</cx:pt>
          <cx:pt idx="1207">40.75</cx:pt>
          <cx:pt idx="1208">43.119999999999997</cx:pt>
          <cx:pt idx="1209">40.200000000000003</cx:pt>
          <cx:pt idx="1210">43.560000000000002</cx:pt>
          <cx:pt idx="1211">41.780000000000001</cx:pt>
          <cx:pt idx="1212">42.159999999999997</cx:pt>
          <cx:pt idx="1213">40.789999999999999</cx:pt>
          <cx:pt idx="1214">43.280000000000001</cx:pt>
          <cx:pt idx="1215">40.93</cx:pt>
          <cx:pt idx="1216">40.630000000000003</cx:pt>
          <cx:pt idx="1217">43.210000000000001</cx:pt>
          <cx:pt idx="1218">40.600000000000001</cx:pt>
          <cx:pt idx="1219">41.82</cx:pt>
          <cx:pt idx="1220">42.780000000000001</cx:pt>
          <cx:pt idx="1221">41.689999999999998</cx:pt>
          <cx:pt idx="1222">44</cx:pt>
          <cx:pt idx="1223">43.219999999999999</cx:pt>
          <cx:pt idx="1224">42.229999999999997</cx:pt>
          <cx:pt idx="1225">42.32</cx:pt>
          <cx:pt idx="1226">43.93</cx:pt>
          <cx:pt idx="1227">40.359999999999999</cx:pt>
          <cx:pt idx="1228">41.68</cx:pt>
          <cx:pt idx="1229">42.899999999999999</cx:pt>
          <cx:pt idx="1230">42.710000000000001</cx:pt>
          <cx:pt idx="1231">42.950000000000003</cx:pt>
          <cx:pt idx="1232">41.030000000000001</cx:pt>
          <cx:pt idx="1233">42.289999999999999</cx:pt>
          <cx:pt idx="1234">40.020000000000003</cx:pt>
          <cx:pt idx="1235">43.560000000000002</cx:pt>
          <cx:pt idx="1236">43.280000000000001</cx:pt>
          <cx:pt idx="1237">40.700000000000003</cx:pt>
          <cx:pt idx="1238">42.409999999999997</cx:pt>
          <cx:pt idx="1239">40.350000000000001</cx:pt>
          <cx:pt idx="1240">43.009999999999998</cx:pt>
          <cx:pt idx="1241">42.799999999999997</cx:pt>
          <cx:pt idx="1242">43.020000000000003</cx:pt>
          <cx:pt idx="1243">41.530000000000001</cx:pt>
          <cx:pt idx="1244">41.57</cx:pt>
          <cx:pt idx="1245">41.899999999999999</cx:pt>
          <cx:pt idx="1246">40.640000000000001</cx:pt>
          <cx:pt idx="1247">41.770000000000003</cx:pt>
          <cx:pt idx="1248">40.020000000000003</cx:pt>
          <cx:pt idx="1249">42.969999999999999</cx:pt>
          <cx:pt idx="1250">41.560000000000002</cx:pt>
          <cx:pt idx="1251">40.509999999999998</cx:pt>
          <cx:pt idx="1252">43.030000000000001</cx:pt>
          <cx:pt idx="1253">41.880000000000003</cx:pt>
          <cx:pt idx="1254">41.049999999999997</cx:pt>
          <cx:pt idx="1255">40.759999999999998</cx:pt>
          <cx:pt idx="1256">42.969999999999999</cx:pt>
          <cx:pt idx="1257">43.799999999999997</cx:pt>
          <cx:pt idx="1258">41</cx:pt>
          <cx:pt idx="1259">41.869999999999997</cx:pt>
          <cx:pt idx="1260">40.490000000000002</cx:pt>
          <cx:pt idx="1261">43.329999999999998</cx:pt>
          <cx:pt idx="1262">42.219999999999999</cx:pt>
          <cx:pt idx="1263">44.560000000000002</cx:pt>
          <cx:pt idx="1264">42.5</cx:pt>
          <cx:pt idx="1265">42.049999999999997</cx:pt>
          <cx:pt idx="1266">44.719999999999999</cx:pt>
          <cx:pt idx="1267">43.270000000000003</cx:pt>
          <cx:pt idx="1268">44.479999999999997</cx:pt>
          <cx:pt idx="1269">42.119999999999997</cx:pt>
          <cx:pt idx="1270">42.280000000000001</cx:pt>
          <cx:pt idx="1271">43.950000000000003</cx:pt>
          <cx:pt idx="1272">44.829999999999998</cx:pt>
          <cx:pt idx="1273">42.890000000000001</cx:pt>
          <cx:pt idx="1274">44.479999999999997</cx:pt>
          <cx:pt idx="1275">43.359999999999999</cx:pt>
          <cx:pt idx="1276">43.020000000000003</cx:pt>
          <cx:pt idx="1277">44.219999999999999</cx:pt>
          <cx:pt idx="1278">44.130000000000003</cx:pt>
          <cx:pt idx="1279">44.509999999999998</cx:pt>
          <cx:pt idx="1280">45</cx:pt>
          <cx:pt idx="1281">42.450000000000003</cx:pt>
          <cx:pt idx="1282">42.299999999999997</cx:pt>
          <cx:pt idx="1283">44.68</cx:pt>
          <cx:pt idx="1284">42.659999999999997</cx:pt>
          <cx:pt idx="1285">43</cx:pt>
          <cx:pt idx="1286">44.5</cx:pt>
          <cx:pt idx="1287">44.100000000000001</cx:pt>
          <cx:pt idx="1288">42.789999999999999</cx:pt>
          <cx:pt idx="1289">43.909999999999997</cx:pt>
          <cx:pt idx="1290">43.75</cx:pt>
          <cx:pt idx="1291">44.159999999999997</cx:pt>
          <cx:pt idx="1292">42.969999999999999</cx:pt>
          <cx:pt idx="1293">43.049999999999997</cx:pt>
          <cx:pt idx="1294">44.420000000000002</cx:pt>
          <cx:pt idx="1295">44.149999999999999</cx:pt>
          <cx:pt idx="1296">43.799999999999997</cx:pt>
          <cx:pt idx="1297">44.719999999999999</cx:pt>
          <cx:pt idx="1298">43.140000000000001</cx:pt>
          <cx:pt idx="1299">42.189999999999998</cx:pt>
          <cx:pt idx="1300">42.270000000000003</cx:pt>
          <cx:pt idx="1301">43.990000000000002</cx:pt>
          <cx:pt idx="1302">42.020000000000003</cx:pt>
          <cx:pt idx="1303">44.43</cx:pt>
          <cx:pt idx="1304">42.329999999999998</cx:pt>
          <cx:pt idx="1305">40.560000000000002</cx:pt>
          <cx:pt idx="1306">40.219999999999999</cx:pt>
          <cx:pt idx="1307">40.829999999999998</cx:pt>
          <cx:pt idx="1308">40.780000000000001</cx:pt>
          <cx:pt idx="1309">40.590000000000003</cx:pt>
          <cx:pt idx="1310">42.270000000000003</cx:pt>
          <cx:pt idx="1311">40.200000000000003</cx:pt>
          <cx:pt idx="1312">41</cx:pt>
          <cx:pt idx="1313">43.390000000000001</cx:pt>
          <cx:pt idx="1314">41.539999999999999</cx:pt>
          <cx:pt idx="1315">42.829999999999998</cx:pt>
          <cx:pt idx="1316">43.009999999999998</cx:pt>
          <cx:pt idx="1317">41.18</cx:pt>
          <cx:pt idx="1318">41.719999999999999</cx:pt>
          <cx:pt idx="1319">43.439999999999998</cx:pt>
          <cx:pt idx="1320">43.659999999999997</cx:pt>
          <cx:pt idx="1321">42.350000000000001</cx:pt>
          <cx:pt idx="1322">42.18</cx:pt>
          <cx:pt idx="1323">40.890000000000001</cx:pt>
          <cx:pt idx="1324">42.57</cx:pt>
          <cx:pt idx="1325">42.909999999999997</cx:pt>
          <cx:pt idx="1326">40.479999999999997</cx:pt>
          <cx:pt idx="1327">40.329999999999998</cx:pt>
          <cx:pt idx="1328">42.969999999999999</cx:pt>
          <cx:pt idx="1329">40.109999999999999</cx:pt>
          <cx:pt idx="1330">40.700000000000003</cx:pt>
          <cx:pt idx="1331">40.369999999999997</cx:pt>
          <cx:pt idx="1332">43.549999999999997</cx:pt>
          <cx:pt idx="1333">41.329999999999998</cx:pt>
          <cx:pt idx="1334">40.659999999999997</cx:pt>
          <cx:pt idx="1335">42.200000000000003</cx:pt>
          <cx:pt idx="1336">43.469999999999999</cx:pt>
          <cx:pt idx="1337">42.609999999999999</cx:pt>
          <cx:pt idx="1338">43.770000000000003</cx:pt>
          <cx:pt idx="1339">42.729999999999997</cx:pt>
          <cx:pt idx="1340">43.670000000000002</cx:pt>
          <cx:pt idx="1341">42.68</cx:pt>
          <cx:pt idx="1342">41.32</cx:pt>
          <cx:pt idx="1343">41.049999999999997</cx:pt>
          <cx:pt idx="1344">43.990000000000002</cx:pt>
          <cx:pt idx="1345">42.729999999999997</cx:pt>
          <cx:pt idx="1346">41.130000000000003</cx:pt>
          <cx:pt idx="1347">41.840000000000003</cx:pt>
          <cx:pt idx="1348">43.130000000000003</cx:pt>
          <cx:pt idx="1349">43.119999999999997</cx:pt>
          <cx:pt idx="1350">41.170000000000002</cx:pt>
          <cx:pt idx="1351">41.590000000000003</cx:pt>
          <cx:pt idx="1352">42.549999999999997</cx:pt>
          <cx:pt idx="1353">40.159999999999997</cx:pt>
          <cx:pt idx="1354">42.799999999999997</cx:pt>
          <cx:pt idx="1355">42.369999999999997</cx:pt>
          <cx:pt idx="1356">41.170000000000002</cx:pt>
          <cx:pt idx="1357">42.539999999999999</cx:pt>
          <cx:pt idx="1358">40.68</cx:pt>
          <cx:pt idx="1359">43.799999999999997</cx:pt>
          <cx:pt idx="1360">43.909999999999997</cx:pt>
          <cx:pt idx="1361">40.689999999999998</cx:pt>
          <cx:pt idx="1362">41.82</cx:pt>
          <cx:pt idx="1363">43.810000000000002</cx:pt>
          <cx:pt idx="1364">41.960000000000001</cx:pt>
          <cx:pt idx="1365">41.539999999999999</cx:pt>
          <cx:pt idx="1366">43</cx:pt>
          <cx:pt idx="1367">41.590000000000003</cx:pt>
          <cx:pt idx="1368">42.880000000000003</cx:pt>
          <cx:pt idx="1369">40.189999999999998</cx:pt>
          <cx:pt idx="1370">43.380000000000003</cx:pt>
          <cx:pt idx="1371">40.229999999999997</cx:pt>
          <cx:pt idx="1372">43.68</cx:pt>
          <cx:pt idx="1373">40.439999999999998</cx:pt>
          <cx:pt idx="1374">43.509999999999998</cx:pt>
          <cx:pt idx="1375">42.670000000000002</cx:pt>
          <cx:pt idx="1376">41.390000000000001</cx:pt>
          <cx:pt idx="1377">43.060000000000002</cx:pt>
          <cx:pt idx="1378">41.229999999999997</cx:pt>
          <cx:pt idx="1379">41.469999999999999</cx:pt>
          <cx:pt idx="1380">40.770000000000003</cx:pt>
          <cx:pt idx="1381">42.969999999999999</cx:pt>
          <cx:pt idx="1382">43.82</cx:pt>
          <cx:pt idx="1383">40.590000000000003</cx:pt>
          <cx:pt idx="1384">43.130000000000003</cx:pt>
          <cx:pt idx="1385">43.899999999999999</cx:pt>
          <cx:pt idx="1386">43.270000000000003</cx:pt>
          <cx:pt idx="1387">41.469999999999999</cx:pt>
          <cx:pt idx="1388">43.43</cx:pt>
          <cx:pt idx="1389">42.670000000000002</cx:pt>
          <cx:pt idx="1390">41.119999999999997</cx:pt>
          <cx:pt idx="1391">43.729999999999997</cx:pt>
          <cx:pt idx="1392">42.829999999999998</cx:pt>
          <cx:pt idx="1393">43.25</cx:pt>
          <cx:pt idx="1394">42.32</cx:pt>
          <cx:pt idx="1395">43.390000000000001</cx:pt>
          <cx:pt idx="1396">43.609999999999999</cx:pt>
          <cx:pt idx="1397">43.789999999999999</cx:pt>
          <cx:pt idx="1398">40.960000000000001</cx:pt>
          <cx:pt idx="1399">42.950000000000003</cx:pt>
          <cx:pt idx="1400">43.130000000000003</cx:pt>
          <cx:pt idx="1401">40.490000000000002</cx:pt>
          <cx:pt idx="1402">43.359999999999999</cx:pt>
          <cx:pt idx="1403">41.229999999999997</cx:pt>
          <cx:pt idx="1404">41.759999999999998</cx:pt>
          <cx:pt idx="1405">42.439999999999998</cx:pt>
          <cx:pt idx="1406">40.18</cx:pt>
          <cx:pt idx="1407">40.43</cx:pt>
          <cx:pt idx="1408">43.090000000000003</cx:pt>
          <cx:pt idx="1409">40.399999999999999</cx:pt>
          <cx:pt idx="1410">40.82</cx:pt>
          <cx:pt idx="1411">40.990000000000002</cx:pt>
          <cx:pt idx="1412">43.640000000000001</cx:pt>
          <cx:pt idx="1413">42.649999999999999</cx:pt>
          <cx:pt idx="1414">43.609999999999999</cx:pt>
          <cx:pt idx="1415">41.009999999999998</cx:pt>
          <cx:pt idx="1416">40.340000000000003</cx:pt>
          <cx:pt idx="1417">43.689999999999998</cx:pt>
          <cx:pt idx="1418">41.670000000000002</cx:pt>
          <cx:pt idx="1419">43.009999999999998</cx:pt>
          <cx:pt idx="1420">43.390000000000001</cx:pt>
          <cx:pt idx="1421">40.350000000000001</cx:pt>
          <cx:pt idx="1422">41.210000000000001</cx:pt>
          <cx:pt idx="1423">41.859999999999999</cx:pt>
          <cx:pt idx="1424">41.990000000000002</cx:pt>
          <cx:pt idx="1425">40</cx:pt>
          <cx:pt idx="1426">42.229999999999997</cx:pt>
          <cx:pt idx="1427">41.109999999999999</cx:pt>
          <cx:pt idx="1428">42.979999999999997</cx:pt>
          <cx:pt idx="1429">43.399999999999999</cx:pt>
          <cx:pt idx="1430">43.039999999999999</cx:pt>
          <cx:pt idx="1431">42.159999999999997</cx:pt>
          <cx:pt idx="1432">40.990000000000002</cx:pt>
          <cx:pt idx="1433">40.979999999999997</cx:pt>
          <cx:pt idx="1434">42.850000000000001</cx:pt>
          <cx:pt idx="1435">41.200000000000003</cx:pt>
          <cx:pt idx="1436">40.439999999999998</cx:pt>
          <cx:pt idx="1437">41.530000000000001</cx:pt>
          <cx:pt idx="1438">43.100000000000001</cx:pt>
          <cx:pt idx="1439">43.100000000000001</cx:pt>
          <cx:pt idx="1440">40.259999999999998</cx:pt>
          <cx:pt idx="1441">41.409999999999997</cx:pt>
          <cx:pt idx="1442">41.939999999999998</cx:pt>
          <cx:pt idx="1443">42.939999999999998</cx:pt>
          <cx:pt idx="1444">41.509999999999998</cx:pt>
          <cx:pt idx="1445">42.899999999999999</cx:pt>
          <cx:pt idx="1446">42.859999999999999</cx:pt>
          <cx:pt idx="1447">43.82</cx:pt>
          <cx:pt idx="1448">43.700000000000003</cx:pt>
          <cx:pt idx="1449">41.840000000000003</cx:pt>
          <cx:pt idx="1450">40.5</cx:pt>
          <cx:pt idx="1451">43.450000000000003</cx:pt>
          <cx:pt idx="1452">43.329999999999998</cx:pt>
          <cx:pt idx="1453">41.799999999999997</cx:pt>
          <cx:pt idx="1454">42.090000000000003</cx:pt>
          <cx:pt idx="1455">40.979999999999997</cx:pt>
          <cx:pt idx="1456">40.43</cx:pt>
          <cx:pt idx="1457">41.920000000000002</cx:pt>
          <cx:pt idx="1458">40.299999999999997</cx:pt>
          <cx:pt idx="1459">43</cx:pt>
          <cx:pt idx="1460">43.5</cx:pt>
          <cx:pt idx="1461">42.329999999999998</cx:pt>
          <cx:pt idx="1462">43.409999999999997</cx:pt>
          <cx:pt idx="1463">40.68</cx:pt>
          <cx:pt idx="1464">41.649999999999999</cx:pt>
          <cx:pt idx="1465">43.009999999999998</cx:pt>
          <cx:pt idx="1466">40.689999999999998</cx:pt>
          <cx:pt idx="1467">42.549999999999997</cx:pt>
          <cx:pt idx="1468">42.850000000000001</cx:pt>
          <cx:pt idx="1469">41.520000000000003</cx:pt>
          <cx:pt idx="1470">42.859999999999999</cx:pt>
          <cx:pt idx="1471">43.07</cx:pt>
          <cx:pt idx="1472">42.659999999999997</cx:pt>
          <cx:pt idx="1473">40.43</cx:pt>
          <cx:pt idx="1474">40.979999999999997</cx:pt>
          <cx:pt idx="1475">41.109999999999999</cx:pt>
          <cx:pt idx="1476">43.850000000000001</cx:pt>
          <cx:pt idx="1477">41.409999999999997</cx:pt>
          <cx:pt idx="1478">43.170000000000002</cx:pt>
          <cx:pt idx="1479">42.75</cx:pt>
          <cx:pt idx="1480">40.109999999999999</cx:pt>
          <cx:pt idx="1481">42.409999999999997</cx:pt>
          <cx:pt idx="1482">41.619999999999997</cx:pt>
          <cx:pt idx="1483">41.140000000000001</cx:pt>
          <cx:pt idx="1484">42.710000000000001</cx:pt>
          <cx:pt idx="1485">42.420000000000002</cx:pt>
          <cx:pt idx="1486">41.859999999999999</cx:pt>
          <cx:pt idx="1487">40.170000000000002</cx:pt>
          <cx:pt idx="1488">42.68</cx:pt>
          <cx:pt idx="1489">43.109999999999999</cx:pt>
          <cx:pt idx="1490">41.770000000000003</cx:pt>
          <cx:pt idx="1491">40.859999999999999</cx:pt>
          <cx:pt idx="1492">41.539999999999999</cx:pt>
          <cx:pt idx="1493">43.549999999999997</cx:pt>
          <cx:pt idx="1494">43.170000000000002</cx:pt>
          <cx:pt idx="1495">40.380000000000003</cx:pt>
          <cx:pt idx="1496">42.509999999999998</cx:pt>
          <cx:pt idx="1497">40.159999999999997</cx:pt>
          <cx:pt idx="1498">40.469999999999999</cx:pt>
          <cx:pt idx="1499">41.159999999999997</cx:pt>
          <cx:pt idx="1500">42.549999999999997</cx:pt>
          <cx:pt idx="1501">42.520000000000003</cx:pt>
          <cx:pt idx="1502">41.719999999999999</cx:pt>
          <cx:pt idx="1503">41.210000000000001</cx:pt>
          <cx:pt idx="1504">43.049999999999997</cx:pt>
          <cx:pt idx="1505">42.140000000000001</cx:pt>
          <cx:pt idx="1506">41.289999999999999</cx:pt>
          <cx:pt idx="1507">40.020000000000003</cx:pt>
          <cx:pt idx="1508">40.799999999999997</cx:pt>
          <cx:pt idx="1509">42.579999999999998</cx:pt>
          <cx:pt idx="1510">42.520000000000003</cx:pt>
          <cx:pt idx="1511">43.649999999999999</cx:pt>
          <cx:pt idx="1512">40.469999999999999</cx:pt>
          <cx:pt idx="1513">41.700000000000003</cx:pt>
          <cx:pt idx="1514">43.979999999999997</cx:pt>
          <cx:pt idx="1515">40.020000000000003</cx:pt>
          <cx:pt idx="1516">41.93</cx:pt>
          <cx:pt idx="1517">43.420000000000002</cx:pt>
          <cx:pt idx="1518">41.789999999999999</cx:pt>
          <cx:pt idx="1519">43.170000000000002</cx:pt>
          <cx:pt idx="1520">40.969999999999999</cx:pt>
          <cx:pt idx="1521">43.619999999999997</cx:pt>
          <cx:pt idx="1522">42.670000000000002</cx:pt>
          <cx:pt idx="1523">41.630000000000003</cx:pt>
          <cx:pt idx="1524">42.840000000000003</cx:pt>
          <cx:pt idx="1525">42.200000000000003</cx:pt>
          <cx:pt idx="1526">43.93</cx:pt>
          <cx:pt idx="1527">40.189999999999998</cx:pt>
          <cx:pt idx="1528">40.829999999999998</cx:pt>
          <cx:pt idx="1529">43.460000000000001</cx:pt>
          <cx:pt idx="1530">40.75</cx:pt>
          <cx:pt idx="1531">42.159999999999997</cx:pt>
          <cx:pt idx="1532">42.060000000000002</cx:pt>
          <cx:pt idx="1533">42.399999999999999</cx:pt>
          <cx:pt idx="1534">40.539999999999999</cx:pt>
          <cx:pt idx="1535">40.850000000000001</cx:pt>
          <cx:pt idx="1536">41.280000000000001</cx:pt>
          <cx:pt idx="1537">41.920000000000002</cx:pt>
          <cx:pt idx="1538">42.380000000000003</cx:pt>
          <cx:pt idx="1539">40.43</cx:pt>
          <cx:pt idx="1540">40.020000000000003</cx:pt>
          <cx:pt idx="1541">42.770000000000003</cx:pt>
          <cx:pt idx="1542">41.399999999999999</cx:pt>
          <cx:pt idx="1543">40.009999999999998</cx:pt>
          <cx:pt idx="1544">42.479999999999997</cx:pt>
          <cx:pt idx="1545">41.670000000000002</cx:pt>
          <cx:pt idx="1546">42.219999999999999</cx:pt>
          <cx:pt idx="1547">41.609999999999999</cx:pt>
          <cx:pt idx="1548">42.210000000000001</cx:pt>
          <cx:pt idx="1549">42.310000000000002</cx:pt>
          <cx:pt idx="1550">42.880000000000003</cx:pt>
          <cx:pt idx="1551">41.619999999999997</cx:pt>
          <cx:pt idx="1552">41.899999999999999</cx:pt>
          <cx:pt idx="1553">41.659999999999997</cx:pt>
          <cx:pt idx="1554">41.079999999999998</cx:pt>
          <cx:pt idx="1555">42.82</cx:pt>
          <cx:pt idx="1556">40.850000000000001</cx:pt>
          <cx:pt idx="1557">43.57</cx:pt>
          <cx:pt idx="1558">42.969999999999999</cx:pt>
          <cx:pt idx="1559">40.909999999999997</cx:pt>
          <cx:pt idx="1560">41.82</cx:pt>
          <cx:pt idx="1561">44</cx:pt>
          <cx:pt idx="1562">41.729999999999997</cx:pt>
          <cx:pt idx="1563">42.369999999999997</cx:pt>
          <cx:pt idx="1564">42.57</cx:pt>
          <cx:pt idx="1565">40.869999999999997</cx:pt>
          <cx:pt idx="1566">40.82</cx:pt>
          <cx:pt idx="1567">42.82</cx:pt>
          <cx:pt idx="1568">43.909999999999997</cx:pt>
          <cx:pt idx="1569">41.450000000000003</cx:pt>
          <cx:pt idx="1570">41.359999999999999</cx:pt>
          <cx:pt idx="1571">41.340000000000003</cx:pt>
          <cx:pt idx="1572">41.490000000000002</cx:pt>
          <cx:pt idx="1573">43.579999999999998</cx:pt>
          <cx:pt idx="1574">43.420000000000002</cx:pt>
          <cx:pt idx="1575">43.659999999999997</cx:pt>
          <cx:pt idx="1576">43.280000000000001</cx:pt>
          <cx:pt idx="1577">42.969999999999999</cx:pt>
          <cx:pt idx="1578">41.25</cx:pt>
          <cx:pt idx="1579">40.719999999999999</cx:pt>
          <cx:pt idx="1580">41.850000000000001</cx:pt>
          <cx:pt idx="1581">42.859999999999999</cx:pt>
          <cx:pt idx="1582">42.82</cx:pt>
          <cx:pt idx="1583">43.460000000000001</cx:pt>
          <cx:pt idx="1584">41.039999999999999</cx:pt>
          <cx:pt idx="1585">41.07</cx:pt>
          <cx:pt idx="1586">41.490000000000002</cx:pt>
          <cx:pt idx="1587">43.200000000000003</cx:pt>
          <cx:pt idx="1588">41.990000000000002</cx:pt>
          <cx:pt idx="1589">43.270000000000003</cx:pt>
          <cx:pt idx="1590">41.460000000000001</cx:pt>
          <cx:pt idx="1591">41.259999999999998</cx:pt>
          <cx:pt idx="1592">43.689999999999998</cx:pt>
          <cx:pt idx="1593">42.32</cx:pt>
          <cx:pt idx="1594">40.850000000000001</cx:pt>
          <cx:pt idx="1595">41.079999999999998</cx:pt>
          <cx:pt idx="1596">41.850000000000001</cx:pt>
          <cx:pt idx="1597">43.060000000000002</cx:pt>
          <cx:pt idx="1598">41</cx:pt>
          <cx:pt idx="1599">40.619999999999997</cx:pt>
          <cx:pt idx="1600">43.590000000000003</cx:pt>
          <cx:pt idx="1601">40.299999999999997</cx:pt>
          <cx:pt idx="1602">43.700000000000003</cx:pt>
          <cx:pt idx="1603">41.109999999999999</cx:pt>
          <cx:pt idx="1604">42.539999999999999</cx:pt>
          <cx:pt idx="1605">40.060000000000002</cx:pt>
          <cx:pt idx="1606">42.950000000000003</cx:pt>
          <cx:pt idx="1607">41.32</cx:pt>
          <cx:pt idx="1608">43.600000000000001</cx:pt>
          <cx:pt idx="1609">40.609999999999999</cx:pt>
          <cx:pt idx="1610">40.229999999999997</cx:pt>
          <cx:pt idx="1611">40</cx:pt>
          <cx:pt idx="1612">43.630000000000003</cx:pt>
          <cx:pt idx="1613">42.799999999999997</cx:pt>
          <cx:pt idx="1614">40.25</cx:pt>
          <cx:pt idx="1615">40.350000000000001</cx:pt>
          <cx:pt idx="1616">41.25</cx:pt>
          <cx:pt idx="1617">40.810000000000002</cx:pt>
          <cx:pt idx="1618">43.700000000000003</cx:pt>
          <cx:pt idx="1619">43.82</cx:pt>
          <cx:pt idx="1620">43.789999999999999</cx:pt>
          <cx:pt idx="1621">41.539999999999999</cx:pt>
          <cx:pt idx="1622">41.670000000000002</cx:pt>
          <cx:pt idx="1623">41.280000000000001</cx:pt>
          <cx:pt idx="1624">43.609999999999999</cx:pt>
          <cx:pt idx="1625">40.100000000000001</cx:pt>
          <cx:pt idx="1626">41.719999999999999</cx:pt>
          <cx:pt idx="1627">42.960000000000001</cx:pt>
          <cx:pt idx="1628">42.960000000000001</cx:pt>
          <cx:pt idx="1629">43.649999999999999</cx:pt>
          <cx:pt idx="1630">40.119999999999997</cx:pt>
          <cx:pt idx="1631">42.479999999999997</cx:pt>
          <cx:pt idx="1632">41.240000000000002</cx:pt>
          <cx:pt idx="1633">43.740000000000002</cx:pt>
          <cx:pt idx="1634">41.090000000000003</cx:pt>
          <cx:pt idx="1635">40.609999999999999</cx:pt>
          <cx:pt idx="1636">40.409999999999997</cx:pt>
          <cx:pt idx="1637">40.460000000000001</cx:pt>
          <cx:pt idx="1638">42.520000000000003</cx:pt>
          <cx:pt idx="1639">40.549999999999997</cx:pt>
          <cx:pt idx="1640">43.369999999999997</cx:pt>
          <cx:pt idx="1641">40.880000000000003</cx:pt>
          <cx:pt idx="1642">43.880000000000003</cx:pt>
          <cx:pt idx="1643">40.810000000000002</cx:pt>
          <cx:pt idx="1644">43.259999999999998</cx:pt>
          <cx:pt idx="1645">42.759999999999998</cx:pt>
          <cx:pt idx="1646">41.799999999999997</cx:pt>
          <cx:pt idx="1647">43.219999999999999</cx:pt>
          <cx:pt idx="1648">43.520000000000003</cx:pt>
          <cx:pt idx="1649">43.82</cx:pt>
          <cx:pt idx="1650">43.43</cx:pt>
          <cx:pt idx="1651">42.340000000000003</cx:pt>
          <cx:pt idx="1652">43.25</cx:pt>
          <cx:pt idx="1653">42.030000000000001</cx:pt>
          <cx:pt idx="1654">43.740000000000002</cx:pt>
          <cx:pt idx="1655">41.539999999999999</cx:pt>
          <cx:pt idx="1656">40.439999999999998</cx:pt>
          <cx:pt idx="1657">41.310000000000002</cx:pt>
          <cx:pt idx="1658">41.649999999999999</cx:pt>
          <cx:pt idx="1659">41.880000000000003</cx:pt>
          <cx:pt idx="1660">43.460000000000001</cx:pt>
          <cx:pt idx="1661">43.07</cx:pt>
          <cx:pt idx="1662">42.850000000000001</cx:pt>
          <cx:pt idx="1663">42.490000000000002</cx:pt>
          <cx:pt idx="1664">43.609999999999999</cx:pt>
          <cx:pt idx="1665">43.450000000000003</cx:pt>
          <cx:pt idx="1666">42.490000000000002</cx:pt>
          <cx:pt idx="1667">40.939999999999998</cx:pt>
          <cx:pt idx="1668">42.859999999999999</cx:pt>
          <cx:pt idx="1669">43.119999999999997</cx:pt>
          <cx:pt idx="1670">41.530000000000001</cx:pt>
          <cx:pt idx="1671">40.609999999999999</cx:pt>
          <cx:pt idx="1672">42.659999999999997</cx:pt>
          <cx:pt idx="1673">40.350000000000001</cx:pt>
          <cx:pt idx="1674">42.57</cx:pt>
          <cx:pt idx="1675">40.409999999999997</cx:pt>
          <cx:pt idx="1676">41.479999999999997</cx:pt>
          <cx:pt idx="1677">42.039999999999999</cx:pt>
          <cx:pt idx="1678">41.32</cx:pt>
          <cx:pt idx="1679">43.630000000000003</cx:pt>
          <cx:pt idx="1680">42.539999999999999</cx:pt>
          <cx:pt idx="1681">43.43</cx:pt>
          <cx:pt idx="1682">41.640000000000001</cx:pt>
          <cx:pt idx="1683">42.729999999999997</cx:pt>
          <cx:pt idx="1684">41.659999999999997</cx:pt>
          <cx:pt idx="1685">43.969999999999999</cx:pt>
          <cx:pt idx="1686">41.049999999999997</cx:pt>
          <cx:pt idx="1687">43.390000000000001</cx:pt>
          <cx:pt idx="1688">40.719999999999999</cx:pt>
          <cx:pt idx="1689">42.640000000000001</cx:pt>
          <cx:pt idx="1690">42.579999999999998</cx:pt>
          <cx:pt idx="1691">43.649999999999999</cx:pt>
          <cx:pt idx="1692">41.719999999999999</cx:pt>
          <cx:pt idx="1693">41.600000000000001</cx:pt>
          <cx:pt idx="1694">42.060000000000002</cx:pt>
          <cx:pt idx="1695">43.189999999999998</cx:pt>
          <cx:pt idx="1696">41.920000000000002</cx:pt>
          <cx:pt idx="1697">40.450000000000003</cx:pt>
          <cx:pt idx="1698">41.25</cx:pt>
          <cx:pt idx="1699">42.189999999999998</cx:pt>
          <cx:pt idx="1700">41.759999999999998</cx:pt>
          <cx:pt idx="1701">41.07</cx:pt>
          <cx:pt idx="1702">42.490000000000002</cx:pt>
          <cx:pt idx="1703">40.159999999999997</cx:pt>
          <cx:pt idx="1704">42.009999999999998</cx:pt>
          <cx:pt idx="1705">41.100000000000001</cx:pt>
          <cx:pt idx="1706">42.789999999999999</cx:pt>
          <cx:pt idx="1707">40.689999999999998</cx:pt>
          <cx:pt idx="1708">43.259999999999998</cx:pt>
          <cx:pt idx="1709">42.899999999999999</cx:pt>
          <cx:pt idx="1710">43.780000000000001</cx:pt>
          <cx:pt idx="1711">40.990000000000002</cx:pt>
          <cx:pt idx="1712">42.93</cx:pt>
          <cx:pt idx="1713">41.539999999999999</cx:pt>
          <cx:pt idx="1714">43.789999999999999</cx:pt>
          <cx:pt idx="1715">43.409999999999997</cx:pt>
          <cx:pt idx="1716">41.149999999999999</cx:pt>
          <cx:pt idx="1717">43.409999999999997</cx:pt>
          <cx:pt idx="1718">40.189999999999998</cx:pt>
          <cx:pt idx="1719">43.409999999999997</cx:pt>
          <cx:pt idx="1720">41.859999999999999</cx:pt>
          <cx:pt idx="1721">41.509999999999998</cx:pt>
          <cx:pt idx="1722">43.759999999999998</cx:pt>
          <cx:pt idx="1723">40.240000000000002</cx:pt>
          <cx:pt idx="1724">40.609999999999999</cx:pt>
          <cx:pt idx="1725">40.329999999999998</cx:pt>
          <cx:pt idx="1726">42.479999999999997</cx:pt>
          <cx:pt idx="1727">41.299999999999997</cx:pt>
          <cx:pt idx="1728">41.43</cx:pt>
          <cx:pt idx="1729">44.390000000000001</cx:pt>
          <cx:pt idx="1730">44.75</cx:pt>
          <cx:pt idx="1731">42.439999999999998</cx:pt>
          <cx:pt idx="1732">43.82</cx:pt>
          <cx:pt idx="1733">42.659999999999997</cx:pt>
          <cx:pt idx="1734">44.640000000000001</cx:pt>
          <cx:pt idx="1735">43.799999999999997</cx:pt>
          <cx:pt idx="1736">42.340000000000003</cx:pt>
          <cx:pt idx="1737">43.090000000000003</cx:pt>
          <cx:pt idx="1738">43.869999999999997</cx:pt>
          <cx:pt idx="1739">44.659999999999997</cx:pt>
          <cx:pt idx="1740">42.829999999999998</cx:pt>
          <cx:pt idx="1741">42.149999999999999</cx:pt>
          <cx:pt idx="1742">44.390000000000001</cx:pt>
          <cx:pt idx="1743">42.57</cx:pt>
          <cx:pt idx="1744">43.789999999999999</cx:pt>
          <cx:pt idx="1745">43.420000000000002</cx:pt>
          <cx:pt idx="1746">42.409999999999997</cx:pt>
          <cx:pt idx="1747">43.640000000000001</cx:pt>
          <cx:pt idx="1748">44.829999999999998</cx:pt>
          <cx:pt idx="1749">42.869999999999997</cx:pt>
          <cx:pt idx="1750">44.009999999999998</cx:pt>
          <cx:pt idx="1751">44.219999999999999</cx:pt>
          <cx:pt idx="1752">42.460000000000001</cx:pt>
          <cx:pt idx="1753">42.920000000000002</cx:pt>
          <cx:pt idx="1754">43.880000000000003</cx:pt>
          <cx:pt idx="1755">43.850000000000001</cx:pt>
          <cx:pt idx="1756">42.170000000000002</cx:pt>
          <cx:pt idx="1757">43.840000000000003</cx:pt>
          <cx:pt idx="1758">42.520000000000003</cx:pt>
          <cx:pt idx="1759">44.219999999999999</cx:pt>
          <cx:pt idx="1760">44.509999999999998</cx:pt>
          <cx:pt idx="1761">42.549999999999997</cx:pt>
          <cx:pt idx="1762">42.140000000000001</cx:pt>
          <cx:pt idx="1763">42.32</cx:pt>
          <cx:pt idx="1764">43.280000000000001</cx:pt>
          <cx:pt idx="1765">42.219999999999999</cx:pt>
          <cx:pt idx="1766">44.329999999999998</cx:pt>
          <cx:pt idx="1767">42.829999999999998</cx:pt>
          <cx:pt idx="1768">44.520000000000003</cx:pt>
          <cx:pt idx="1769">42.200000000000003</cx:pt>
          <cx:pt idx="1770">44.039999999999999</cx:pt>
          <cx:pt idx="1771">42.909999999999997</cx:pt>
          <cx:pt idx="1772">40.560000000000002</cx:pt>
          <cx:pt idx="1773">40.490000000000002</cx:pt>
          <cx:pt idx="1774">43.5</cx:pt>
          <cx:pt idx="1775">43.340000000000003</cx:pt>
          <cx:pt idx="1776">43.369999999999997</cx:pt>
          <cx:pt idx="1777">41.100000000000001</cx:pt>
          <cx:pt idx="1778">43.670000000000002</cx:pt>
          <cx:pt idx="1779">41.079999999999998</cx:pt>
          <cx:pt idx="1780">42.439999999999998</cx:pt>
          <cx:pt idx="1781">43.710000000000001</cx:pt>
          <cx:pt idx="1782">40.630000000000003</cx:pt>
          <cx:pt idx="1783">40.060000000000002</cx:pt>
          <cx:pt idx="1784">41.259999999999998</cx:pt>
          <cx:pt idx="1785">42.380000000000003</cx:pt>
          <cx:pt idx="1786">43.159999999999997</cx:pt>
          <cx:pt idx="1787">42.149999999999999</cx:pt>
          <cx:pt idx="1788">43.119999999999997</cx:pt>
          <cx:pt idx="1789">43.880000000000003</cx:pt>
          <cx:pt idx="1790">40.240000000000002</cx:pt>
          <cx:pt idx="1791">40</cx:pt>
          <cx:pt idx="1792">42.539999999999999</cx:pt>
          <cx:pt idx="1793">41.149999999999999</cx:pt>
          <cx:pt idx="1794">43.350000000000001</cx:pt>
          <cx:pt idx="1795">42.280000000000001</cx:pt>
          <cx:pt idx="1796">42.030000000000001</cx:pt>
          <cx:pt idx="1797">43.509999999999998</cx:pt>
          <cx:pt idx="1798">43.130000000000003</cx:pt>
          <cx:pt idx="1799">40.5</cx:pt>
          <cx:pt idx="1800">40.149999999999999</cx:pt>
          <cx:pt idx="1801">40.460000000000001</cx:pt>
          <cx:pt idx="1802">40.950000000000003</cx:pt>
          <cx:pt idx="1803">40.640000000000001</cx:pt>
          <cx:pt idx="1804">42.229999999999997</cx:pt>
          <cx:pt idx="1805">42.659999999999997</cx:pt>
          <cx:pt idx="1806">43.159999999999997</cx:pt>
          <cx:pt idx="1807">41.890000000000001</cx:pt>
          <cx:pt idx="1808">42.509999999999998</cx:pt>
          <cx:pt idx="1809">41.68</cx:pt>
          <cx:pt idx="1810">41.210000000000001</cx:pt>
          <cx:pt idx="1811">41.030000000000001</cx:pt>
          <cx:pt idx="1812">40.090000000000003</cx:pt>
          <cx:pt idx="1813">42.439999999999998</cx:pt>
          <cx:pt idx="1814">40.950000000000003</cx:pt>
          <cx:pt idx="1815">41.340000000000003</cx:pt>
          <cx:pt idx="1816">40.719999999999999</cx:pt>
          <cx:pt idx="1817">41.5</cx:pt>
          <cx:pt idx="1818">41.07</cx:pt>
          <cx:pt idx="1819">42.689999999999998</cx:pt>
          <cx:pt idx="1820">40.850000000000001</cx:pt>
          <cx:pt idx="1821">43.509999999999998</cx:pt>
          <cx:pt idx="1822">42.619999999999997</cx:pt>
          <cx:pt idx="1823">43.090000000000003</cx:pt>
          <cx:pt idx="1824">42.439999999999998</cx:pt>
          <cx:pt idx="1825">40.57</cx:pt>
          <cx:pt idx="1826">42.289999999999999</cx:pt>
          <cx:pt idx="1827">42.350000000000001</cx:pt>
          <cx:pt idx="1828">42.259999999999998</cx:pt>
          <cx:pt idx="1829">40.619999999999997</cx:pt>
          <cx:pt idx="1830">40.289999999999999</cx:pt>
          <cx:pt idx="1831">42</cx:pt>
          <cx:pt idx="1832">40.840000000000003</cx:pt>
          <cx:pt idx="1833">43.979999999999997</cx:pt>
          <cx:pt idx="1834">43.289999999999999</cx:pt>
          <cx:pt idx="1835">42.590000000000003</cx:pt>
          <cx:pt idx="1836">42.259999999999998</cx:pt>
          <cx:pt idx="1837">43.969999999999999</cx:pt>
          <cx:pt idx="1838">41.25</cx:pt>
          <cx:pt idx="1839">40.880000000000003</cx:pt>
          <cx:pt idx="1840">40.109999999999999</cx:pt>
          <cx:pt idx="1841">40.869999999999997</cx:pt>
          <cx:pt idx="1842">40.140000000000001</cx:pt>
          <cx:pt idx="1843">41.369999999999997</cx:pt>
          <cx:pt idx="1844">43.240000000000002</cx:pt>
          <cx:pt idx="1845">42.420000000000002</cx:pt>
          <cx:pt idx="1846">40.299999999999997</cx:pt>
          <cx:pt idx="1847">41.659999999999997</cx:pt>
          <cx:pt idx="1848">43.990000000000002</cx:pt>
          <cx:pt idx="1849">43.670000000000002</cx:pt>
          <cx:pt idx="1850">41.350000000000001</cx:pt>
          <cx:pt idx="1851">43.18</cx:pt>
          <cx:pt idx="1852">43.280000000000001</cx:pt>
          <cx:pt idx="1853">41.689999999999998</cx:pt>
          <cx:pt idx="1854">40.219999999999999</cx:pt>
          <cx:pt idx="1855">41.619999999999997</cx:pt>
          <cx:pt idx="1856">41.289999999999999</cx:pt>
          <cx:pt idx="1857">42.039999999999999</cx:pt>
          <cx:pt idx="1858">40.060000000000002</cx:pt>
          <cx:pt idx="1859">43.350000000000001</cx:pt>
          <cx:pt idx="1860">40.100000000000001</cx:pt>
          <cx:pt idx="1861">42.140000000000001</cx:pt>
          <cx:pt idx="1862">40.240000000000002</cx:pt>
          <cx:pt idx="1863">41.869999999999997</cx:pt>
          <cx:pt idx="1864">40.329999999999998</cx:pt>
          <cx:pt idx="1865">40.810000000000002</cx:pt>
          <cx:pt idx="1866">40.539999999999999</cx:pt>
          <cx:pt idx="1867">42.659999999999997</cx:pt>
          <cx:pt idx="1868">40.270000000000003</cx:pt>
          <cx:pt idx="1869">40.140000000000001</cx:pt>
          <cx:pt idx="1870">40.200000000000003</cx:pt>
          <cx:pt idx="1871">41.880000000000003</cx:pt>
          <cx:pt idx="1872">41.009999999999998</cx:pt>
          <cx:pt idx="1873">42</cx:pt>
          <cx:pt idx="1874">41.659999999999997</cx:pt>
          <cx:pt idx="1875">42.719999999999999</cx:pt>
          <cx:pt idx="1876">43.590000000000003</cx:pt>
          <cx:pt idx="1877">43.149999999999999</cx:pt>
          <cx:pt idx="1878">40.009999999999998</cx:pt>
          <cx:pt idx="1879">41.689999999999998</cx:pt>
          <cx:pt idx="1880">43.25</cx:pt>
          <cx:pt idx="1881">42.469999999999999</cx:pt>
          <cx:pt idx="1882">41.600000000000001</cx:pt>
          <cx:pt idx="1883">40.960000000000001</cx:pt>
          <cx:pt idx="1884">41.729999999999997</cx:pt>
          <cx:pt idx="1885">40.850000000000001</cx:pt>
          <cx:pt idx="1886">40.259999999999998</cx:pt>
          <cx:pt idx="1887">43.439999999999998</cx:pt>
          <cx:pt idx="1888">42.32</cx:pt>
          <cx:pt idx="1889">42.890000000000001</cx:pt>
          <cx:pt idx="1890">40.590000000000003</cx:pt>
          <cx:pt idx="1891">41.5</cx:pt>
          <cx:pt idx="1892">43.109999999999999</cx:pt>
          <cx:pt idx="1893">43.579999999999998</cx:pt>
          <cx:pt idx="1894">41.229999999999997</cx:pt>
          <cx:pt idx="1895">41.68</cx:pt>
          <cx:pt idx="1896">42.490000000000002</cx:pt>
          <cx:pt idx="1897">40.149999999999999</cx:pt>
          <cx:pt idx="1898">43.359999999999999</cx:pt>
          <cx:pt idx="1899">43.640000000000001</cx:pt>
          <cx:pt idx="1900">42.619999999999997</cx:pt>
          <cx:pt idx="1901">42.469999999999999</cx:pt>
          <cx:pt idx="1902">42.420000000000002</cx:pt>
          <cx:pt idx="1903">43.649999999999999</cx:pt>
          <cx:pt idx="1904">42.479999999999997</cx:pt>
          <cx:pt idx="1905">41.030000000000001</cx:pt>
          <cx:pt idx="1906">43.240000000000002</cx:pt>
          <cx:pt idx="1907">41.909999999999997</cx:pt>
          <cx:pt idx="1908">43.119999999999997</cx:pt>
          <cx:pt idx="1909">41.859999999999999</cx:pt>
          <cx:pt idx="1910">40.840000000000003</cx:pt>
          <cx:pt idx="1911">40.75</cx:pt>
          <cx:pt idx="1912">41.130000000000003</cx:pt>
          <cx:pt idx="1913">41.270000000000003</cx:pt>
          <cx:pt idx="1914">40.920000000000002</cx:pt>
          <cx:pt idx="1915">41.829999999999998</cx:pt>
          <cx:pt idx="1916">40.210000000000001</cx:pt>
          <cx:pt idx="1917">42.740000000000002</cx:pt>
          <cx:pt idx="1918">42.340000000000003</cx:pt>
          <cx:pt idx="1919">42.899999999999999</cx:pt>
          <cx:pt idx="1920">44.759999999999998</cx:pt>
          <cx:pt idx="1921">44.75</cx:pt>
          <cx:pt idx="1922">44.490000000000002</cx:pt>
          <cx:pt idx="1923">43.710000000000001</cx:pt>
          <cx:pt idx="1924">44.270000000000003</cx:pt>
          <cx:pt idx="1925">43.200000000000003</cx:pt>
          <cx:pt idx="1926">44.509999999999998</cx:pt>
          <cx:pt idx="1927">44.009999999999998</cx:pt>
          <cx:pt idx="1928">42.439999999999998</cx:pt>
          <cx:pt idx="1929">43.170000000000002</cx:pt>
          <cx:pt idx="1930">44.229999999999997</cx:pt>
          <cx:pt idx="1931">44.149999999999999</cx:pt>
          <cx:pt idx="1932">44.439999999999998</cx:pt>
          <cx:pt idx="1933">43.240000000000002</cx:pt>
          <cx:pt idx="1934">43.079999999999998</cx:pt>
          <cx:pt idx="1935">42.770000000000003</cx:pt>
          <cx:pt idx="1936">43.170000000000002</cx:pt>
          <cx:pt idx="1937">44.740000000000002</cx:pt>
          <cx:pt idx="1938">44.990000000000002</cx:pt>
          <cx:pt idx="1939">44.18</cx:pt>
          <cx:pt idx="1940">43.840000000000003</cx:pt>
          <cx:pt idx="1941">44.659999999999997</cx:pt>
          <cx:pt idx="1942">44.329999999999998</cx:pt>
          <cx:pt idx="1943">42.25</cx:pt>
          <cx:pt idx="1944">44.969999999999999</cx:pt>
          <cx:pt idx="1945">44.579999999999998</cx:pt>
          <cx:pt idx="1946">44.960000000000001</cx:pt>
          <cx:pt idx="1947">42.619999999999997</cx:pt>
          <cx:pt idx="1948">42.82</cx:pt>
          <cx:pt idx="1949">43.109999999999999</cx:pt>
          <cx:pt idx="1950">44.369999999999997</cx:pt>
          <cx:pt idx="1951">42.619999999999997</cx:pt>
          <cx:pt idx="1952">44.380000000000003</cx:pt>
          <cx:pt idx="1953">42.009999999999998</cx:pt>
          <cx:pt idx="1954">42.530000000000001</cx:pt>
          <cx:pt idx="1955">43.149999999999999</cx:pt>
          <cx:pt idx="1956">42.810000000000002</cx:pt>
          <cx:pt idx="1957">43.359999999999999</cx:pt>
          <cx:pt idx="1958">42.859999999999999</cx:pt>
          <cx:pt idx="1959">44.770000000000003</cx:pt>
          <cx:pt idx="1960">40.560000000000002</cx:pt>
          <cx:pt idx="1961">41.950000000000003</cx:pt>
          <cx:pt idx="1962">41.399999999999999</cx:pt>
          <cx:pt idx="1963">43.310000000000002</cx:pt>
          <cx:pt idx="1964">40.049999999999997</cx:pt>
          <cx:pt idx="1965">43.539999999999999</cx:pt>
          <cx:pt idx="1966">41.869999999999997</cx:pt>
          <cx:pt idx="1967">40.990000000000002</cx:pt>
          <cx:pt idx="1968">40.689999999999998</cx:pt>
          <cx:pt idx="1969">41.450000000000003</cx:pt>
          <cx:pt idx="1970">41.799999999999997</cx:pt>
          <cx:pt idx="1971">42.479999999999997</cx:pt>
          <cx:pt idx="1972">43.829999999999998</cx:pt>
          <cx:pt idx="1973">40.210000000000001</cx:pt>
          <cx:pt idx="1974">42.439999999999998</cx:pt>
          <cx:pt idx="1975">42.560000000000002</cx:pt>
          <cx:pt idx="1976">42.350000000000001</cx:pt>
          <cx:pt idx="1977">40.450000000000003</cx:pt>
          <cx:pt idx="1978">40.350000000000001</cx:pt>
          <cx:pt idx="1979">40.409999999999997</cx:pt>
          <cx:pt idx="1980">43.799999999999997</cx:pt>
          <cx:pt idx="1981">42.240000000000002</cx:pt>
          <cx:pt idx="1982">43</cx:pt>
          <cx:pt idx="1983">40.450000000000003</cx:pt>
          <cx:pt idx="1984">40.82</cx:pt>
          <cx:pt idx="1985">43.579999999999998</cx:pt>
          <cx:pt idx="1986">42.079999999999998</cx:pt>
          <cx:pt idx="1987">43.979999999999997</cx:pt>
          <cx:pt idx="1988">42.57</cx:pt>
          <cx:pt idx="1989">42.409999999999997</cx:pt>
          <cx:pt idx="1990">43.409999999999997</cx:pt>
          <cx:pt idx="1991">40.729999999999997</cx:pt>
          <cx:pt idx="1992">40.649999999999999</cx:pt>
          <cx:pt idx="1993">41.770000000000003</cx:pt>
          <cx:pt idx="1994">42.539999999999999</cx:pt>
          <cx:pt idx="1995">40.020000000000003</cx:pt>
          <cx:pt idx="1996">43.450000000000003</cx:pt>
          <cx:pt idx="1997">40.479999999999997</cx:pt>
          <cx:pt idx="1998">43.670000000000002</cx:pt>
          <cx:pt idx="1999">41.93</cx:pt>
          <cx:pt idx="2000">42.32</cx:pt>
          <cx:pt idx="2001">40.43</cx:pt>
          <cx:pt idx="2002">40.719999999999999</cx:pt>
          <cx:pt idx="2003">40.25</cx:pt>
          <cx:pt idx="2004">41.780000000000001</cx:pt>
          <cx:pt idx="2005">40.68</cx:pt>
          <cx:pt idx="2006">40.990000000000002</cx:pt>
          <cx:pt idx="2007">41.770000000000003</cx:pt>
          <cx:pt idx="2008">41.439999999999998</cx:pt>
          <cx:pt idx="2009">42.619999999999997</cx:pt>
          <cx:pt idx="2010">41.68</cx:pt>
          <cx:pt idx="2011">41.649999999999999</cx:pt>
          <cx:pt idx="2012">41.979999999999997</cx:pt>
          <cx:pt idx="2013">42.340000000000003</cx:pt>
          <cx:pt idx="2014">43.729999999999997</cx:pt>
          <cx:pt idx="2015">43.109999999999999</cx:pt>
          <cx:pt idx="2016">41.119999999999997</cx:pt>
          <cx:pt idx="2017">41.119999999999997</cx:pt>
          <cx:pt idx="2018">43.539999999999999</cx:pt>
          <cx:pt idx="2019">42.969999999999999</cx:pt>
          <cx:pt idx="2020">41.590000000000003</cx:pt>
          <cx:pt idx="2021">43.189999999999998</cx:pt>
          <cx:pt idx="2022">40.409999999999997</cx:pt>
          <cx:pt idx="2023">40.119999999999997</cx:pt>
          <cx:pt idx="2024">42.460000000000001</cx:pt>
          <cx:pt idx="2025">41</cx:pt>
          <cx:pt idx="2026">40.130000000000003</cx:pt>
          <cx:pt idx="2027">40.82</cx:pt>
          <cx:pt idx="2028">40.609999999999999</cx:pt>
          <cx:pt idx="2029">41.259999999999998</cx:pt>
          <cx:pt idx="2030">40.689999999999998</cx:pt>
          <cx:pt idx="2031">42.700000000000003</cx:pt>
          <cx:pt idx="2032">40.740000000000002</cx:pt>
          <cx:pt idx="2033">43.799999999999997</cx:pt>
          <cx:pt idx="2034">40.780000000000001</cx:pt>
          <cx:pt idx="2035">42.340000000000003</cx:pt>
          <cx:pt idx="2036">41.439999999999998</cx:pt>
          <cx:pt idx="2037">40.57</cx:pt>
          <cx:pt idx="2038">40.939999999999998</cx:pt>
          <cx:pt idx="2039">41.939999999999998</cx:pt>
          <cx:pt idx="2040">41.759999999999998</cx:pt>
          <cx:pt idx="2041">40.259999999999998</cx:pt>
          <cx:pt idx="2042">41.520000000000003</cx:pt>
          <cx:pt idx="2043">40.729999999999997</cx:pt>
          <cx:pt idx="2044">40.43</cx:pt>
          <cx:pt idx="2045">41.840000000000003</cx:pt>
          <cx:pt idx="2046">43.219999999999999</cx:pt>
          <cx:pt idx="2047">40.350000000000001</cx:pt>
          <cx:pt idx="2048">41.859999999999999</cx:pt>
          <cx:pt idx="2049">42.140000000000001</cx:pt>
          <cx:pt idx="2050">40.340000000000003</cx:pt>
          <cx:pt idx="2051">43.5</cx:pt>
          <cx:pt idx="2052">42.299999999999997</cx:pt>
          <cx:pt idx="2053">42.82</cx:pt>
          <cx:pt idx="2054">43.270000000000003</cx:pt>
          <cx:pt idx="2055">42.25</cx:pt>
          <cx:pt idx="2056">41.420000000000002</cx:pt>
          <cx:pt idx="2057">42</cx:pt>
          <cx:pt idx="2058">40.109999999999999</cx:pt>
          <cx:pt idx="2059">42.289999999999999</cx:pt>
          <cx:pt idx="2060">43.719999999999999</cx:pt>
          <cx:pt idx="2061">40.799999999999997</cx:pt>
          <cx:pt idx="2062">42.159999999999997</cx:pt>
          <cx:pt idx="2063">42.340000000000003</cx:pt>
          <cx:pt idx="2064">42.880000000000003</cx:pt>
          <cx:pt idx="2065">41.289999999999999</cx:pt>
          <cx:pt idx="2066">40</cx:pt>
          <cx:pt idx="2067">43.829999999999998</cx:pt>
          <cx:pt idx="2068">43.25</cx:pt>
          <cx:pt idx="2069">42.640000000000001</cx:pt>
          <cx:pt idx="2070">40.799999999999997</cx:pt>
          <cx:pt idx="2071">42.170000000000002</cx:pt>
          <cx:pt idx="2072">42.909999999999997</cx:pt>
          <cx:pt idx="2073">43.460000000000001</cx:pt>
          <cx:pt idx="2074">40.079999999999998</cx:pt>
          <cx:pt idx="2075">40.469999999999999</cx:pt>
          <cx:pt idx="2076">41.710000000000001</cx:pt>
          <cx:pt idx="2077">40.270000000000003</cx:pt>
          <cx:pt idx="2078">43.840000000000003</cx:pt>
          <cx:pt idx="2079">43</cx:pt>
          <cx:pt idx="2080">43.780000000000001</cx:pt>
          <cx:pt idx="2081">43.990000000000002</cx:pt>
          <cx:pt idx="2082">43.229999999999997</cx:pt>
          <cx:pt idx="2083">41.609999999999999</cx:pt>
          <cx:pt idx="2084">43.789999999999999</cx:pt>
          <cx:pt idx="2085">43.079999999999998</cx:pt>
          <cx:pt idx="2086">42.43</cx:pt>
          <cx:pt idx="2087">43.340000000000003</cx:pt>
          <cx:pt idx="2088">42.700000000000003</cx:pt>
          <cx:pt idx="2089">41.210000000000001</cx:pt>
          <cx:pt idx="2090">42.68</cx:pt>
          <cx:pt idx="2091">40.5</cx:pt>
          <cx:pt idx="2092">43.560000000000002</cx:pt>
          <cx:pt idx="2093">42.689999999999998</cx:pt>
          <cx:pt idx="2094">43.799999999999997</cx:pt>
          <cx:pt idx="2095">42.960000000000001</cx:pt>
          <cx:pt idx="2096">41.280000000000001</cx:pt>
          <cx:pt idx="2097">42.82</cx:pt>
          <cx:pt idx="2098">41.329999999999998</cx:pt>
          <cx:pt idx="2099">43.909999999999997</cx:pt>
          <cx:pt idx="2100">41.390000000000001</cx:pt>
          <cx:pt idx="2101">40.149999999999999</cx:pt>
          <cx:pt idx="2102">41.710000000000001</cx:pt>
          <cx:pt idx="2103">43.079999999999998</cx:pt>
          <cx:pt idx="2104">43.5</cx:pt>
          <cx:pt idx="2105">42.609999999999999</cx:pt>
          <cx:pt idx="2106">42.310000000000002</cx:pt>
          <cx:pt idx="2107">40.960000000000001</cx:pt>
          <cx:pt idx="2108">43.920000000000002</cx:pt>
          <cx:pt idx="2109">43.460000000000001</cx:pt>
          <cx:pt idx="2110">43.899999999999999</cx:pt>
          <cx:pt idx="2111">43.710000000000001</cx:pt>
          <cx:pt idx="2112">40.869999999999997</cx:pt>
          <cx:pt idx="2113">40.600000000000001</cx:pt>
          <cx:pt idx="2114">42.700000000000003</cx:pt>
          <cx:pt idx="2115">40.619999999999997</cx:pt>
          <cx:pt idx="2116">41.82</cx:pt>
          <cx:pt idx="2117">42.369999999999997</cx:pt>
          <cx:pt idx="2118">41.369999999999997</cx:pt>
          <cx:pt idx="2119">43.310000000000002</cx:pt>
          <cx:pt idx="2120">43.979999999999997</cx:pt>
          <cx:pt idx="2121">41.119999999999997</cx:pt>
          <cx:pt idx="2122">41.5</cx:pt>
          <cx:pt idx="2123">42.130000000000003</cx:pt>
          <cx:pt idx="2124">42</cx:pt>
          <cx:pt idx="2125">41.979999999999997</cx:pt>
          <cx:pt idx="2126">43.649999999999999</cx:pt>
          <cx:pt idx="2127">41.659999999999997</cx:pt>
          <cx:pt idx="2128">40</cx:pt>
          <cx:pt idx="2129">43.060000000000002</cx:pt>
          <cx:pt idx="2130">42.100000000000001</cx:pt>
          <cx:pt idx="2131">42.75</cx:pt>
          <cx:pt idx="2132">41.149999999999999</cx:pt>
          <cx:pt idx="2133">41.350000000000001</cx:pt>
          <cx:pt idx="2134">42.149999999999999</cx:pt>
          <cx:pt idx="2135">40.969999999999999</cx:pt>
          <cx:pt idx="2136">42.740000000000002</cx:pt>
          <cx:pt idx="2137">40.829999999999998</cx:pt>
          <cx:pt idx="2138">41.719999999999999</cx:pt>
          <cx:pt idx="2139">43.25</cx:pt>
          <cx:pt idx="2140">41.979999999999997</cx:pt>
          <cx:pt idx="2141">43.810000000000002</cx:pt>
          <cx:pt idx="2142">42.240000000000002</cx:pt>
          <cx:pt idx="2143">43.75</cx:pt>
          <cx:pt idx="2144">43.57</cx:pt>
          <cx:pt idx="2145">40.149999999999999</cx:pt>
          <cx:pt idx="2146">41.479999999999997</cx:pt>
          <cx:pt idx="2147">43.270000000000003</cx:pt>
          <cx:pt idx="2148">41.350000000000001</cx:pt>
          <cx:pt idx="2149">42.030000000000001</cx:pt>
          <cx:pt idx="2150">41.689999999999998</cx:pt>
          <cx:pt idx="2151">42.159999999999997</cx:pt>
          <cx:pt idx="2152">42.049999999999997</cx:pt>
          <cx:pt idx="2153">43.659999999999997</cx:pt>
          <cx:pt idx="2154">41.43</cx:pt>
          <cx:pt idx="2155">42.670000000000002</cx:pt>
          <cx:pt idx="2156">43.899999999999999</cx:pt>
          <cx:pt idx="2157">42.009999999999998</cx:pt>
          <cx:pt idx="2158">40.920000000000002</cx:pt>
          <cx:pt idx="2159">43.670000000000002</cx:pt>
          <cx:pt idx="2160">42.350000000000001</cx:pt>
          <cx:pt idx="2161">41.310000000000002</cx:pt>
          <cx:pt idx="2162">41.219999999999999</cx:pt>
          <cx:pt idx="2163">41.609999999999999</cx:pt>
          <cx:pt idx="2164">42.229999999999997</cx:pt>
          <cx:pt idx="2165">42.630000000000003</cx:pt>
          <cx:pt idx="2166">40.469999999999999</cx:pt>
          <cx:pt idx="2167">43.310000000000002</cx:pt>
          <cx:pt idx="2168">42.909999999999997</cx:pt>
          <cx:pt idx="2169">40.909999999999997</cx:pt>
          <cx:pt idx="2170">40.630000000000003</cx:pt>
          <cx:pt idx="2171">40.539999999999999</cx:pt>
          <cx:pt idx="2172">43.200000000000003</cx:pt>
          <cx:pt idx="2173">43.740000000000002</cx:pt>
          <cx:pt idx="2174">43.009999999999998</cx:pt>
          <cx:pt idx="2175">41.920000000000002</cx:pt>
          <cx:pt idx="2176">43.649999999999999</cx:pt>
          <cx:pt idx="2177">40.630000000000003</cx:pt>
          <cx:pt idx="2178">41.549999999999997</cx:pt>
          <cx:pt idx="2179">43.990000000000002</cx:pt>
          <cx:pt idx="2180">41.770000000000003</cx:pt>
          <cx:pt idx="2181">42.159999999999997</cx:pt>
          <cx:pt idx="2182">41</cx:pt>
          <cx:pt idx="2183">43.75</cx:pt>
          <cx:pt idx="2184">43.380000000000003</cx:pt>
          <cx:pt idx="2185">43.880000000000003</cx:pt>
          <cx:pt idx="2186">41.829999999999998</cx:pt>
          <cx:pt idx="2187">42.140000000000001</cx:pt>
          <cx:pt idx="2188">41.590000000000003</cx:pt>
          <cx:pt idx="2189">43.539999999999999</cx:pt>
          <cx:pt idx="2190">42.740000000000002</cx:pt>
          <cx:pt idx="2191">41.079999999999998</cx:pt>
          <cx:pt idx="2192">40.689999999999998</cx:pt>
          <cx:pt idx="2193">44</cx:pt>
          <cx:pt idx="2194">41.990000000000002</cx:pt>
          <cx:pt idx="2195">41.369999999999997</cx:pt>
          <cx:pt idx="2196">40.890000000000001</cx:pt>
          <cx:pt idx="2197">40.600000000000001</cx:pt>
          <cx:pt idx="2198">42.329999999999998</cx:pt>
          <cx:pt idx="2199">42.609999999999999</cx:pt>
          <cx:pt idx="2200">43.799999999999997</cx:pt>
          <cx:pt idx="2201">43.5</cx:pt>
          <cx:pt idx="2202">42.990000000000002</cx:pt>
          <cx:pt idx="2203">41.469999999999999</cx:pt>
          <cx:pt idx="2204">41.170000000000002</cx:pt>
          <cx:pt idx="2205">43.890000000000001</cx:pt>
          <cx:pt idx="2206">43.780000000000001</cx:pt>
          <cx:pt idx="2207">43.859999999999999</cx:pt>
          <cx:pt idx="2208">42.390000000000001</cx:pt>
          <cx:pt idx="2209">42.079999999999998</cx:pt>
          <cx:pt idx="2210">41.649999999999999</cx:pt>
          <cx:pt idx="2211">40.549999999999997</cx:pt>
          <cx:pt idx="2212">40.280000000000001</cx:pt>
          <cx:pt idx="2213">43.590000000000003</cx:pt>
          <cx:pt idx="2214">41.140000000000001</cx:pt>
          <cx:pt idx="2215">40.549999999999997</cx:pt>
          <cx:pt idx="2216">42.450000000000003</cx:pt>
          <cx:pt idx="2217">42.049999999999997</cx:pt>
          <cx:pt idx="2218">40.789999999999999</cx:pt>
          <cx:pt idx="2219">40.020000000000003</cx:pt>
          <cx:pt idx="2220">43.5</cx:pt>
          <cx:pt idx="2221">42.219999999999999</cx:pt>
          <cx:pt idx="2222">43.439999999999998</cx:pt>
          <cx:pt idx="2223">43.649999999999999</cx:pt>
          <cx:pt idx="2224">43.619999999999997</cx:pt>
          <cx:pt idx="2225">41.18</cx:pt>
          <cx:pt idx="2226">41.979999999999997</cx:pt>
          <cx:pt idx="2227">43.270000000000003</cx:pt>
          <cx:pt idx="2228">42.380000000000003</cx:pt>
          <cx:pt idx="2229">41.939999999999998</cx:pt>
          <cx:pt idx="2230">41.020000000000003</cx:pt>
          <cx:pt idx="2231">43.979999999999997</cx:pt>
          <cx:pt idx="2232">43.509999999999998</cx:pt>
          <cx:pt idx="2233">43.350000000000001</cx:pt>
          <cx:pt idx="2234">40</cx:pt>
          <cx:pt idx="2235">43.409999999999997</cx:pt>
          <cx:pt idx="2236">41.009999999999998</cx:pt>
          <cx:pt idx="2237">41.270000000000003</cx:pt>
          <cx:pt idx="2238">42.670000000000002</cx:pt>
          <cx:pt idx="2239">41.43</cx:pt>
          <cx:pt idx="2240">40.549999999999997</cx:pt>
          <cx:pt idx="2241">43.159999999999997</cx:pt>
          <cx:pt idx="2242">41.859999999999999</cx:pt>
          <cx:pt idx="2243">40.829999999999998</cx:pt>
          <cx:pt idx="2244">41.590000000000003</cx:pt>
          <cx:pt idx="2245">43.780000000000001</cx:pt>
          <cx:pt idx="2246">42.090000000000003</cx:pt>
          <cx:pt idx="2247">40.030000000000001</cx:pt>
          <cx:pt idx="2248">43.329999999999998</cx:pt>
          <cx:pt idx="2249">42.369999999999997</cx:pt>
          <cx:pt idx="2250">40.950000000000003</cx:pt>
          <cx:pt idx="2251">42.390000000000001</cx:pt>
          <cx:pt idx="2252">41.549999999999997</cx:pt>
          <cx:pt idx="2253">35.549999999999997</cx:pt>
          <cx:pt idx="2254">37.609999999999999</cx:pt>
          <cx:pt idx="2255">36.810000000000002</cx:pt>
          <cx:pt idx="2256">45.590000000000003</cx:pt>
          <cx:pt idx="2257">40.490000000000002</cx:pt>
          <cx:pt idx="2258">38.5</cx:pt>
          <cx:pt idx="2259">41.729999999999997</cx:pt>
          <cx:pt idx="2260">39.289999999999999</cx:pt>
          <cx:pt idx="2261">41.729999999999997</cx:pt>
          <cx:pt idx="2262">44.920000000000002</cx:pt>
          <cx:pt idx="2263">44.359999999999999</cx:pt>
          <cx:pt idx="2264">45.840000000000003</cx:pt>
          <cx:pt idx="2265">37.520000000000003</cx:pt>
          <cx:pt idx="2266">44.460000000000001</cx:pt>
          <cx:pt idx="2267">37.009999999999998</cx:pt>
          <cx:pt idx="2268">41.689999999999998</cx:pt>
          <cx:pt idx="2269">37.259999999999998</cx:pt>
          <cx:pt idx="2270">35.579999999999998</cx:pt>
          <cx:pt idx="2271">40.219999999999999</cx:pt>
          <cx:pt idx="2272">38.640000000000001</cx:pt>
          <cx:pt idx="2273">40.560000000000002</cx:pt>
          <cx:pt idx="2274">36.75</cx:pt>
          <cx:pt idx="2275">44.079999999999998</cx:pt>
          <cx:pt idx="2276">35.770000000000003</cx:pt>
          <cx:pt idx="2277">37.32</cx:pt>
          <cx:pt idx="2278">45.039999999999999</cx:pt>
          <cx:pt idx="2279">42.030000000000001</cx:pt>
          <cx:pt idx="2280">43.310000000000002</cx:pt>
          <cx:pt idx="2281">41.07</cx:pt>
          <cx:pt idx="2282">43.590000000000003</cx:pt>
          <cx:pt idx="2283">37.399999999999999</cx:pt>
          <cx:pt idx="2284">36.759999999999998</cx:pt>
          <cx:pt idx="2285">38.890000000000001</cx:pt>
          <cx:pt idx="2286">42.170000000000002</cx:pt>
          <cx:pt idx="2287">35.859999999999999</cx:pt>
          <cx:pt idx="2288">37.539999999999999</cx:pt>
          <cx:pt idx="2289">36.420000000000002</cx:pt>
          <cx:pt idx="2290">37.590000000000003</cx:pt>
          <cx:pt idx="2291">36.359999999999999</cx:pt>
          <cx:pt idx="2292">36.939999999999998</cx:pt>
          <cx:pt idx="2293">37.969999999999999</cx:pt>
          <cx:pt idx="2294">36.340000000000003</cx:pt>
          <cx:pt idx="2295">35.030000000000001</cx:pt>
          <cx:pt idx="2296">37.57</cx:pt>
          <cx:pt idx="2297">37.390000000000001</cx:pt>
          <cx:pt idx="2298">35.399999999999999</cx:pt>
          <cx:pt idx="2299">36.82</cx:pt>
          <cx:pt idx="2300">37.240000000000002</cx:pt>
          <cx:pt idx="2301">36.640000000000001</cx:pt>
          <cx:pt idx="2302">35.060000000000002</cx:pt>
          <cx:pt idx="2303">35.93</cx:pt>
          <cx:pt idx="2304">37.030000000000001</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42.859999999999999</cx:pt>
          <cx:pt idx="2322">42.640000000000001</cx:pt>
          <cx:pt idx="2323">41.490000000000002</cx:pt>
          <cx:pt idx="2324">42.149999999999999</cx:pt>
          <cx:pt idx="2325">42.810000000000002</cx:pt>
          <cx:pt idx="2326">40.490000000000002</cx:pt>
          <cx:pt idx="2327">43.909999999999997</cx:pt>
          <cx:pt idx="2328">41.119999999999997</cx:pt>
          <cx:pt idx="2329">41.289999999999999</cx:pt>
          <cx:pt idx="2330">42.979999999999997</cx:pt>
          <cx:pt idx="2331">40.960000000000001</cx:pt>
          <cx:pt idx="2332">43.170000000000002</cx:pt>
          <cx:pt idx="2333">43.810000000000002</cx:pt>
          <cx:pt idx="2334">43.960000000000001</cx:pt>
          <cx:pt idx="2335">40.890000000000001</cx:pt>
          <cx:pt idx="2336">41.100000000000001</cx:pt>
          <cx:pt idx="2337">42.420000000000002</cx:pt>
          <cx:pt idx="2338">41.299999999999997</cx:pt>
          <cx:pt idx="2339">41.240000000000002</cx:pt>
          <cx:pt idx="2340">42.100000000000001</cx:pt>
          <cx:pt idx="2341">40.729999999999997</cx:pt>
          <cx:pt idx="2342">41.549999999999997</cx:pt>
          <cx:pt idx="2343">42.329999999999998</cx:pt>
          <cx:pt idx="2344">42.939999999999998</cx:pt>
          <cx:pt idx="2345">40.32</cx:pt>
          <cx:pt idx="2346">40.539999999999999</cx:pt>
          <cx:pt idx="2347">40.090000000000003</cx:pt>
          <cx:pt idx="2348">41.329999999999998</cx:pt>
          <cx:pt idx="2349">42.789999999999999</cx:pt>
          <cx:pt idx="2350">42.729999999999997</cx:pt>
          <cx:pt idx="2351">42.469999999999999</cx:pt>
          <cx:pt idx="2352">42.850000000000001</cx:pt>
          <cx:pt idx="2353">40.82</cx:pt>
          <cx:pt idx="2354">40.969999999999999</cx:pt>
          <cx:pt idx="2355">42.719999999999999</cx:pt>
          <cx:pt idx="2356">43.25</cx:pt>
          <cx:pt idx="2357">43.439999999999998</cx:pt>
          <cx:pt idx="2358">42.780000000000001</cx:pt>
          <cx:pt idx="2359">43.759999999999998</cx:pt>
          <cx:pt idx="2360">43.670000000000002</cx:pt>
          <cx:pt idx="2361">43.789999999999999</cx:pt>
          <cx:pt idx="2362">42.009999999999998</cx:pt>
          <cx:pt idx="2363">42.57</cx:pt>
          <cx:pt idx="2364">41.659999999999997</cx:pt>
          <cx:pt idx="2365">41.270000000000003</cx:pt>
          <cx:pt idx="2366">40.030000000000001</cx:pt>
          <cx:pt idx="2367">40.950000000000003</cx:pt>
          <cx:pt idx="2368">43.810000000000002</cx:pt>
          <cx:pt idx="2369">40.159999999999997</cx:pt>
          <cx:pt idx="2370">40.210000000000001</cx:pt>
          <cx:pt idx="2371">42</cx:pt>
          <cx:pt idx="2372">40.259999999999998</cx:pt>
          <cx:pt idx="2373">42.909999999999997</cx:pt>
          <cx:pt idx="2374">40.350000000000001</cx:pt>
          <cx:pt idx="2375">41.229999999999997</cx:pt>
          <cx:pt idx="2376">43.299999999999997</cx:pt>
          <cx:pt idx="2377">41.649999999999999</cx:pt>
          <cx:pt idx="2378">40.18</cx:pt>
          <cx:pt idx="2379">41.600000000000001</cx:pt>
          <cx:pt idx="2380">42.549999999999997</cx:pt>
          <cx:pt idx="2381">42.969999999999999</cx:pt>
          <cx:pt idx="2382">42.990000000000002</cx:pt>
          <cx:pt idx="2383">43.079999999999998</cx:pt>
          <cx:pt idx="2384">42.859999999999999</cx:pt>
          <cx:pt idx="2385">42.640000000000001</cx:pt>
          <cx:pt idx="2386">42.659999999999997</cx:pt>
          <cx:pt idx="2387">41.100000000000001</cx:pt>
          <cx:pt idx="2388">43.939999999999998</cx:pt>
          <cx:pt idx="2389">41.770000000000003</cx:pt>
          <cx:pt idx="2390">42.5</cx:pt>
          <cx:pt idx="2391">40.210000000000001</cx:pt>
          <cx:pt idx="2392">40.630000000000003</cx:pt>
          <cx:pt idx="2393">41.289999999999999</cx:pt>
          <cx:pt idx="2394">42.149999999999999</cx:pt>
          <cx:pt idx="2395">40.359999999999999</cx:pt>
          <cx:pt idx="2396">41.600000000000001</cx:pt>
          <cx:pt idx="2397">40.719999999999999</cx:pt>
          <cx:pt idx="2398">40.840000000000003</cx:pt>
          <cx:pt idx="2399">43.740000000000002</cx:pt>
          <cx:pt idx="2400">40.140000000000001</cx:pt>
          <cx:pt idx="2401">43.079999999999998</cx:pt>
          <cx:pt idx="2402">40.549999999999997</cx:pt>
          <cx:pt idx="2403">40.649999999999999</cx:pt>
          <cx:pt idx="2404">41.049999999999997</cx:pt>
          <cx:pt idx="2405">43.200000000000003</cx:pt>
          <cx:pt idx="2406">43.740000000000002</cx:pt>
          <cx:pt idx="2407">42.530000000000001</cx:pt>
          <cx:pt idx="2408">40.289999999999999</cx:pt>
          <cx:pt idx="2409">40.159999999999997</cx:pt>
          <cx:pt idx="2410">40.520000000000003</cx:pt>
          <cx:pt idx="2411">41.509999999999998</cx:pt>
          <cx:pt idx="2412">42.799999999999997</cx:pt>
          <cx:pt idx="2413">40.390000000000001</cx:pt>
          <cx:pt idx="2414">42.200000000000003</cx:pt>
          <cx:pt idx="2415">41.990000000000002</cx:pt>
          <cx:pt idx="2416">43.469999999999999</cx:pt>
          <cx:pt idx="2417">41.219999999999999</cx:pt>
          <cx:pt idx="2418">40.490000000000002</cx:pt>
          <cx:pt idx="2419">42.719999999999999</cx:pt>
          <cx:pt idx="2420">40.920000000000002</cx:pt>
          <cx:pt idx="2421">43.109999999999999</cx:pt>
          <cx:pt idx="2422">41.490000000000002</cx:pt>
          <cx:pt idx="2423">41.590000000000003</cx:pt>
          <cx:pt idx="2424">41.310000000000002</cx:pt>
          <cx:pt idx="2425">41.880000000000003</cx:pt>
          <cx:pt idx="2426">43.729999999999997</cx:pt>
          <cx:pt idx="2427">41.710000000000001</cx:pt>
          <cx:pt idx="2428">42.219999999999999</cx:pt>
          <cx:pt idx="2429">43.009999999999998</cx:pt>
          <cx:pt idx="2430">43.75</cx:pt>
          <cx:pt idx="2431">41.829999999999998</cx:pt>
          <cx:pt idx="2432">43.520000000000003</cx:pt>
          <cx:pt idx="2433">42</cx:pt>
          <cx:pt idx="2434">41.659999999999997</cx:pt>
          <cx:pt idx="2435">41.920000000000002</cx:pt>
          <cx:pt idx="2436">41.039999999999999</cx:pt>
          <cx:pt idx="2437">40.770000000000003</cx:pt>
          <cx:pt idx="2438">41.600000000000001</cx:pt>
          <cx:pt idx="2439">41</cx:pt>
          <cx:pt idx="2440">42.090000000000003</cx:pt>
          <cx:pt idx="2441">43.210000000000001</cx:pt>
          <cx:pt idx="2442">40.859999999999999</cx:pt>
          <cx:pt idx="2443">42.240000000000002</cx:pt>
          <cx:pt idx="2444">42.479999999999997</cx:pt>
          <cx:pt idx="2445">42.270000000000003</cx:pt>
          <cx:pt idx="2446">42.32</cx:pt>
          <cx:pt idx="2447">43.149999999999999</cx:pt>
          <cx:pt idx="2448">41.609999999999999</cx:pt>
          <cx:pt idx="2449">42.340000000000003</cx:pt>
          <cx:pt idx="2450">40.68</cx:pt>
          <cx:pt idx="2451">42.869999999999997</cx:pt>
        </cx:lvl>
      </cx:numDim>
    </cx:data>
    <cx:data id="2">
      <cx:numDim type="val">
        <cx:f>'Data Repository Table - Raw'!$E$2:$E$2453</cx:f>
        <cx:lvl ptCount="2452" formatCode="General">
          <cx:pt idx="0">98</cx:pt>
          <cx:pt idx="1">92</cx:pt>
          <cx:pt idx="2">80</cx:pt>
          <cx:pt idx="3">83</cx:pt>
          <cx:pt idx="4">90</cx:pt>
          <cx:pt idx="5">92</cx:pt>
          <cx:pt idx="6">86</cx:pt>
          <cx:pt idx="7">98</cx:pt>
          <cx:pt idx="8">91</cx:pt>
          <cx:pt idx="9">83</cx:pt>
          <cx:pt idx="10">85</cx:pt>
          <cx:pt idx="11">82</cx:pt>
          <cx:pt idx="12">81</cx:pt>
          <cx:pt idx="13">88</cx:pt>
          <cx:pt idx="14">90</cx:pt>
          <cx:pt idx="15">88</cx:pt>
          <cx:pt idx="16">90</cx:pt>
          <cx:pt idx="17">90</cx:pt>
          <cx:pt idx="18">87</cx:pt>
          <cx:pt idx="19">83</cx:pt>
          <cx:pt idx="20">91</cx:pt>
          <cx:pt idx="21">93</cx:pt>
          <cx:pt idx="22">88</cx:pt>
          <cx:pt idx="23">82</cx:pt>
          <cx:pt idx="24">97</cx:pt>
          <cx:pt idx="25">83</cx:pt>
          <cx:pt idx="26">98</cx:pt>
          <cx:pt idx="27">82</cx:pt>
          <cx:pt idx="28">97</cx:pt>
          <cx:pt idx="29">92</cx:pt>
          <cx:pt idx="30">97</cx:pt>
          <cx:pt idx="31">81</cx:pt>
          <cx:pt idx="32">97</cx:pt>
          <cx:pt idx="33">95</cx:pt>
          <cx:pt idx="34">81</cx:pt>
          <cx:pt idx="35">90</cx:pt>
          <cx:pt idx="36">87</cx:pt>
          <cx:pt idx="37">84</cx:pt>
          <cx:pt idx="38">81</cx:pt>
          <cx:pt idx="39">81</cx:pt>
          <cx:pt idx="40">89</cx:pt>
          <cx:pt idx="41">81</cx:pt>
          <cx:pt idx="42">93</cx:pt>
          <cx:pt idx="43">93</cx:pt>
          <cx:pt idx="44">94</cx:pt>
          <cx:pt idx="45">91</cx:pt>
          <cx:pt idx="46">96</cx:pt>
          <cx:pt idx="47">96</cx:pt>
          <cx:pt idx="48">88</cx:pt>
          <cx:pt idx="49">81</cx:pt>
          <cx:pt idx="50">81</cx:pt>
          <cx:pt idx="51">88</cx:pt>
          <cx:pt idx="52">86</cx:pt>
          <cx:pt idx="53">82</cx:pt>
          <cx:pt idx="54">85</cx:pt>
          <cx:pt idx="55">81</cx:pt>
          <cx:pt idx="56">98</cx:pt>
          <cx:pt idx="57">90</cx:pt>
          <cx:pt idx="58">86</cx:pt>
          <cx:pt idx="59">80</cx:pt>
          <cx:pt idx="60">93</cx:pt>
          <cx:pt idx="61">81</cx:pt>
          <cx:pt idx="62">86</cx:pt>
          <cx:pt idx="63">88</cx:pt>
          <cx:pt idx="64">100</cx:pt>
          <cx:pt idx="65">80</cx:pt>
          <cx:pt idx="66">88</cx:pt>
          <cx:pt idx="67">87</cx:pt>
          <cx:pt idx="68">95</cx:pt>
          <cx:pt idx="69">84</cx:pt>
          <cx:pt idx="70">85</cx:pt>
          <cx:pt idx="71">83</cx:pt>
          <cx:pt idx="72">85</cx:pt>
          <cx:pt idx="73">81</cx:pt>
          <cx:pt idx="74">85</cx:pt>
          <cx:pt idx="75">91</cx:pt>
          <cx:pt idx="76">82</cx:pt>
          <cx:pt idx="77">85</cx:pt>
          <cx:pt idx="78">95</cx:pt>
          <cx:pt idx="79">81</cx:pt>
          <cx:pt idx="80">92</cx:pt>
          <cx:pt idx="81">100</cx:pt>
          <cx:pt idx="82">84</cx:pt>
          <cx:pt idx="83">88</cx:pt>
          <cx:pt idx="84">97</cx:pt>
          <cx:pt idx="85">88</cx:pt>
          <cx:pt idx="86">93</cx:pt>
          <cx:pt idx="87">90</cx:pt>
          <cx:pt idx="88">97</cx:pt>
          <cx:pt idx="89">96</cx:pt>
          <cx:pt idx="90">88</cx:pt>
          <cx:pt idx="91">93</cx:pt>
          <cx:pt idx="92">89</cx:pt>
          <cx:pt idx="93">91</cx:pt>
          <cx:pt idx="94">95</cx:pt>
          <cx:pt idx="95">85</cx:pt>
          <cx:pt idx="96">84</cx:pt>
          <cx:pt idx="97">92</cx:pt>
          <cx:pt idx="98">93</cx:pt>
          <cx:pt idx="99">85</cx:pt>
          <cx:pt idx="100">97</cx:pt>
          <cx:pt idx="101">100</cx:pt>
          <cx:pt idx="102">94</cx:pt>
          <cx:pt idx="103">93</cx:pt>
          <cx:pt idx="104">83</cx:pt>
          <cx:pt idx="105">93</cx:pt>
          <cx:pt idx="106">96</cx:pt>
          <cx:pt idx="107">93</cx:pt>
          <cx:pt idx="108">87</cx:pt>
          <cx:pt idx="109">88</cx:pt>
          <cx:pt idx="110">97</cx:pt>
          <cx:pt idx="111">98</cx:pt>
          <cx:pt idx="112">89</cx:pt>
          <cx:pt idx="113">95</cx:pt>
          <cx:pt idx="114">84</cx:pt>
          <cx:pt idx="115">95</cx:pt>
          <cx:pt idx="116">82</cx:pt>
          <cx:pt idx="117">99</cx:pt>
          <cx:pt idx="118">95</cx:pt>
          <cx:pt idx="119">93</cx:pt>
          <cx:pt idx="120">95</cx:pt>
          <cx:pt idx="121">93</cx:pt>
          <cx:pt idx="122">82</cx:pt>
          <cx:pt idx="123">81</cx:pt>
          <cx:pt idx="124">88</cx:pt>
          <cx:pt idx="125">81</cx:pt>
          <cx:pt idx="126">89</cx:pt>
          <cx:pt idx="127">92</cx:pt>
          <cx:pt idx="128">94</cx:pt>
          <cx:pt idx="129">96</cx:pt>
          <cx:pt idx="130">84</cx:pt>
          <cx:pt idx="131">80</cx:pt>
          <cx:pt idx="132">94</cx:pt>
          <cx:pt idx="133">84</cx:pt>
          <cx:pt idx="134">97</cx:pt>
          <cx:pt idx="135">90</cx:pt>
          <cx:pt idx="136">91</cx:pt>
          <cx:pt idx="137">82</cx:pt>
          <cx:pt idx="138">92</cx:pt>
          <cx:pt idx="139">98</cx:pt>
          <cx:pt idx="140">86</cx:pt>
          <cx:pt idx="141">99</cx:pt>
          <cx:pt idx="142">93</cx:pt>
          <cx:pt idx="143">93</cx:pt>
          <cx:pt idx="144">89</cx:pt>
          <cx:pt idx="145">89</cx:pt>
          <cx:pt idx="146">83</cx:pt>
          <cx:pt idx="147">92</cx:pt>
          <cx:pt idx="148">81</cx:pt>
          <cx:pt idx="149">94</cx:pt>
          <cx:pt idx="150">85</cx:pt>
          <cx:pt idx="151">90</cx:pt>
          <cx:pt idx="152">85</cx:pt>
          <cx:pt idx="153">87</cx:pt>
          <cx:pt idx="154">85</cx:pt>
          <cx:pt idx="155">91</cx:pt>
          <cx:pt idx="156">90</cx:pt>
          <cx:pt idx="157">100</cx:pt>
          <cx:pt idx="158">82</cx:pt>
          <cx:pt idx="159">96</cx:pt>
          <cx:pt idx="160">97</cx:pt>
          <cx:pt idx="161">83</cx:pt>
          <cx:pt idx="162">87</cx:pt>
          <cx:pt idx="163">96</cx:pt>
          <cx:pt idx="164">86</cx:pt>
          <cx:pt idx="165">85</cx:pt>
          <cx:pt idx="166">89</cx:pt>
          <cx:pt idx="167">80</cx:pt>
          <cx:pt idx="168">94</cx:pt>
          <cx:pt idx="169">89</cx:pt>
          <cx:pt idx="170">86</cx:pt>
          <cx:pt idx="171">96</cx:pt>
          <cx:pt idx="172">80</cx:pt>
          <cx:pt idx="173">82</cx:pt>
          <cx:pt idx="174">96</cx:pt>
          <cx:pt idx="175">85</cx:pt>
          <cx:pt idx="176">86</cx:pt>
          <cx:pt idx="177">89</cx:pt>
          <cx:pt idx="178">83</cx:pt>
          <cx:pt idx="179">92</cx:pt>
          <cx:pt idx="180">92</cx:pt>
          <cx:pt idx="181">89</cx:pt>
          <cx:pt idx="182">99</cx:pt>
          <cx:pt idx="183">98</cx:pt>
          <cx:pt idx="184">90</cx:pt>
          <cx:pt idx="185">84</cx:pt>
          <cx:pt idx="186">99</cx:pt>
          <cx:pt idx="187">98</cx:pt>
          <cx:pt idx="188">96</cx:pt>
          <cx:pt idx="189">90</cx:pt>
          <cx:pt idx="190">90</cx:pt>
          <cx:pt idx="191">80</cx:pt>
          <cx:pt idx="192">88</cx:pt>
          <cx:pt idx="193">96</cx:pt>
          <cx:pt idx="194">90</cx:pt>
          <cx:pt idx="195">93</cx:pt>
          <cx:pt idx="196">81</cx:pt>
          <cx:pt idx="197">95</cx:pt>
          <cx:pt idx="198">91</cx:pt>
          <cx:pt idx="199">91</cx:pt>
          <cx:pt idx="200">91</cx:pt>
          <cx:pt idx="201">95</cx:pt>
          <cx:pt idx="202">81</cx:pt>
          <cx:pt idx="203">97</cx:pt>
          <cx:pt idx="204">96</cx:pt>
          <cx:pt idx="205">90</cx:pt>
          <cx:pt idx="206">89</cx:pt>
          <cx:pt idx="207">85</cx:pt>
          <cx:pt idx="208">93</cx:pt>
          <cx:pt idx="209">85</cx:pt>
          <cx:pt idx="210">80</cx:pt>
          <cx:pt idx="211">84</cx:pt>
          <cx:pt idx="212">80</cx:pt>
          <cx:pt idx="213">88</cx:pt>
          <cx:pt idx="214">83</cx:pt>
          <cx:pt idx="215">81</cx:pt>
          <cx:pt idx="216">82</cx:pt>
          <cx:pt idx="217">83</cx:pt>
          <cx:pt idx="218">85</cx:pt>
          <cx:pt idx="219">100</cx:pt>
          <cx:pt idx="220">94</cx:pt>
          <cx:pt idx="221">80</cx:pt>
          <cx:pt idx="222">90</cx:pt>
          <cx:pt idx="223">82</cx:pt>
          <cx:pt idx="224">86</cx:pt>
          <cx:pt idx="225">93</cx:pt>
          <cx:pt idx="226">95</cx:pt>
          <cx:pt idx="227">80</cx:pt>
          <cx:pt idx="228">98</cx:pt>
          <cx:pt idx="229">86</cx:pt>
          <cx:pt idx="230">95</cx:pt>
          <cx:pt idx="231">94</cx:pt>
          <cx:pt idx="232">93</cx:pt>
          <cx:pt idx="233">96</cx:pt>
          <cx:pt idx="234">92</cx:pt>
          <cx:pt idx="235">84</cx:pt>
          <cx:pt idx="236">84</cx:pt>
          <cx:pt idx="237">95</cx:pt>
          <cx:pt idx="238">98</cx:pt>
          <cx:pt idx="239">87</cx:pt>
          <cx:pt idx="240">84</cx:pt>
          <cx:pt idx="241">88</cx:pt>
          <cx:pt idx="242">94</cx:pt>
          <cx:pt idx="243">97</cx:pt>
          <cx:pt idx="244">99</cx:pt>
          <cx:pt idx="245">104</cx:pt>
          <cx:pt idx="246">102</cx:pt>
          <cx:pt idx="247">99</cx:pt>
          <cx:pt idx="248">103</cx:pt>
          <cx:pt idx="249">97</cx:pt>
          <cx:pt idx="250">98</cx:pt>
          <cx:pt idx="251">98</cx:pt>
          <cx:pt idx="252">97</cx:pt>
          <cx:pt idx="253">100</cx:pt>
          <cx:pt idx="254">100</cx:pt>
          <cx:pt idx="255">100</cx:pt>
          <cx:pt idx="256">98</cx:pt>
          <cx:pt idx="257">98</cx:pt>
          <cx:pt idx="258">102</cx:pt>
          <cx:pt idx="259">99</cx:pt>
          <cx:pt idx="260">98</cx:pt>
          <cx:pt idx="261">102</cx:pt>
          <cx:pt idx="262">96</cx:pt>
          <cx:pt idx="263">102</cx:pt>
          <cx:pt idx="264">95</cx:pt>
          <cx:pt idx="265">103</cx:pt>
          <cx:pt idx="266">100</cx:pt>
          <cx:pt idx="267">102</cx:pt>
          <cx:pt idx="268">100</cx:pt>
          <cx:pt idx="269">95</cx:pt>
          <cx:pt idx="270">102</cx:pt>
          <cx:pt idx="271">95</cx:pt>
          <cx:pt idx="272">104</cx:pt>
          <cx:pt idx="273">105</cx:pt>
          <cx:pt idx="274">105</cx:pt>
          <cx:pt idx="275">98</cx:pt>
          <cx:pt idx="276">96</cx:pt>
          <cx:pt idx="277">96</cx:pt>
          <cx:pt idx="278">98</cx:pt>
          <cx:pt idx="279">96</cx:pt>
          <cx:pt idx="280">100</cx:pt>
          <cx:pt idx="281">101</cx:pt>
          <cx:pt idx="282">97</cx:pt>
          <cx:pt idx="283">99</cx:pt>
          <cx:pt idx="284">102</cx:pt>
          <cx:pt idx="285">95</cx:pt>
          <cx:pt idx="286">97</cx:pt>
          <cx:pt idx="287">89</cx:pt>
          <cx:pt idx="288">89</cx:pt>
          <cx:pt idx="289">83</cx:pt>
          <cx:pt idx="290">88</cx:pt>
          <cx:pt idx="291">90</cx:pt>
          <cx:pt idx="292">97</cx:pt>
          <cx:pt idx="293">84</cx:pt>
          <cx:pt idx="294">88</cx:pt>
          <cx:pt idx="295">97</cx:pt>
          <cx:pt idx="296">89</cx:pt>
          <cx:pt idx="297">84</cx:pt>
          <cx:pt idx="298">85</cx:pt>
          <cx:pt idx="299">91</cx:pt>
          <cx:pt idx="300">85</cx:pt>
          <cx:pt idx="301">95</cx:pt>
          <cx:pt idx="302">91</cx:pt>
          <cx:pt idx="303">82</cx:pt>
          <cx:pt idx="304">86</cx:pt>
          <cx:pt idx="305">91</cx:pt>
          <cx:pt idx="306">87</cx:pt>
          <cx:pt idx="307">88</cx:pt>
          <cx:pt idx="308">100</cx:pt>
          <cx:pt idx="309">90</cx:pt>
          <cx:pt idx="310">91</cx:pt>
          <cx:pt idx="311">89</cx:pt>
          <cx:pt idx="312">94</cx:pt>
          <cx:pt idx="313">92</cx:pt>
          <cx:pt idx="314">89</cx:pt>
          <cx:pt idx="315">97</cx:pt>
          <cx:pt idx="316">80</cx:pt>
          <cx:pt idx="317">97</cx:pt>
          <cx:pt idx="318">96</cx:pt>
          <cx:pt idx="319">84</cx:pt>
          <cx:pt idx="320">86</cx:pt>
          <cx:pt idx="321">88</cx:pt>
          <cx:pt idx="322">97</cx:pt>
          <cx:pt idx="323">94</cx:pt>
          <cx:pt idx="324">95</cx:pt>
          <cx:pt idx="325">89</cx:pt>
          <cx:pt idx="326">89</cx:pt>
          <cx:pt idx="327">90</cx:pt>
          <cx:pt idx="328">90</cx:pt>
          <cx:pt idx="329">100</cx:pt>
          <cx:pt idx="330">98</cx:pt>
          <cx:pt idx="331">85</cx:pt>
          <cx:pt idx="332">81</cx:pt>
          <cx:pt idx="333">91</cx:pt>
          <cx:pt idx="334">98</cx:pt>
          <cx:pt idx="335">89</cx:pt>
          <cx:pt idx="336">85</cx:pt>
          <cx:pt idx="337">94</cx:pt>
          <cx:pt idx="338">99</cx:pt>
          <cx:pt idx="339">98</cx:pt>
          <cx:pt idx="340">94</cx:pt>
          <cx:pt idx="341">99</cx:pt>
          <cx:pt idx="342">87</cx:pt>
          <cx:pt idx="343">82</cx:pt>
          <cx:pt idx="344">93</cx:pt>
          <cx:pt idx="345">99</cx:pt>
          <cx:pt idx="346">92</cx:pt>
          <cx:pt idx="347">96</cx:pt>
          <cx:pt idx="348">96</cx:pt>
          <cx:pt idx="349">83</cx:pt>
          <cx:pt idx="350">93</cx:pt>
          <cx:pt idx="351">80</cx:pt>
          <cx:pt idx="352">84</cx:pt>
          <cx:pt idx="353">100</cx:pt>
          <cx:pt idx="354">87</cx:pt>
          <cx:pt idx="355">83</cx:pt>
          <cx:pt idx="356">84</cx:pt>
          <cx:pt idx="357">80</cx:pt>
          <cx:pt idx="358">85</cx:pt>
          <cx:pt idx="359">99</cx:pt>
          <cx:pt idx="360">98</cx:pt>
          <cx:pt idx="361">84</cx:pt>
          <cx:pt idx="362">87</cx:pt>
          <cx:pt idx="363">80</cx:pt>
          <cx:pt idx="364">91</cx:pt>
          <cx:pt idx="365">100</cx:pt>
          <cx:pt idx="366">96</cx:pt>
          <cx:pt idx="367">98</cx:pt>
          <cx:pt idx="368">85</cx:pt>
          <cx:pt idx="369">99</cx:pt>
          <cx:pt idx="370">94</cx:pt>
          <cx:pt idx="371">99</cx:pt>
          <cx:pt idx="372">92</cx:pt>
          <cx:pt idx="373">89</cx:pt>
          <cx:pt idx="374">93</cx:pt>
          <cx:pt idx="375">90</cx:pt>
          <cx:pt idx="376">85</cx:pt>
          <cx:pt idx="377">80</cx:pt>
          <cx:pt idx="378">87</cx:pt>
          <cx:pt idx="379">86</cx:pt>
          <cx:pt idx="380">99</cx:pt>
          <cx:pt idx="381">97</cx:pt>
          <cx:pt idx="382">98</cx:pt>
          <cx:pt idx="383">95</cx:pt>
          <cx:pt idx="384">84</cx:pt>
          <cx:pt idx="385">83</cx:pt>
          <cx:pt idx="386">89</cx:pt>
          <cx:pt idx="387">82</cx:pt>
          <cx:pt idx="388">81</cx:pt>
          <cx:pt idx="389">90</cx:pt>
          <cx:pt idx="390">89</cx:pt>
          <cx:pt idx="391">80</cx:pt>
          <cx:pt idx="392">80</cx:pt>
          <cx:pt idx="393">83</cx:pt>
          <cx:pt idx="394">82</cx:pt>
          <cx:pt idx="395">89</cx:pt>
          <cx:pt idx="396">100</cx:pt>
          <cx:pt idx="397">95</cx:pt>
          <cx:pt idx="398">94</cx:pt>
          <cx:pt idx="399">100</cx:pt>
          <cx:pt idx="400">89</cx:pt>
          <cx:pt idx="401">88</cx:pt>
          <cx:pt idx="402">87</cx:pt>
          <cx:pt idx="403">92</cx:pt>
          <cx:pt idx="404">100</cx:pt>
          <cx:pt idx="405">80</cx:pt>
          <cx:pt idx="406">80</cx:pt>
          <cx:pt idx="407">81</cx:pt>
          <cx:pt idx="408">86</cx:pt>
          <cx:pt idx="409">94</cx:pt>
          <cx:pt idx="410">90</cx:pt>
          <cx:pt idx="411">98</cx:pt>
          <cx:pt idx="412">81</cx:pt>
          <cx:pt idx="413">86</cx:pt>
          <cx:pt idx="414">99</cx:pt>
          <cx:pt idx="415">86</cx:pt>
          <cx:pt idx="416">80</cx:pt>
          <cx:pt idx="417">81</cx:pt>
          <cx:pt idx="418">84</cx:pt>
          <cx:pt idx="419">98</cx:pt>
          <cx:pt idx="420">80</cx:pt>
          <cx:pt idx="421">81</cx:pt>
          <cx:pt idx="422">100</cx:pt>
          <cx:pt idx="423">100</cx:pt>
          <cx:pt idx="424">100</cx:pt>
          <cx:pt idx="425">96</cx:pt>
          <cx:pt idx="426">94</cx:pt>
          <cx:pt idx="427">87</cx:pt>
          <cx:pt idx="428">98</cx:pt>
          <cx:pt idx="429">83</cx:pt>
          <cx:pt idx="430">88</cx:pt>
          <cx:pt idx="431">86</cx:pt>
          <cx:pt idx="432">87</cx:pt>
          <cx:pt idx="433">95</cx:pt>
          <cx:pt idx="434">84</cx:pt>
          <cx:pt idx="435">89</cx:pt>
          <cx:pt idx="436">96</cx:pt>
          <cx:pt idx="437">96</cx:pt>
          <cx:pt idx="438">95</cx:pt>
          <cx:pt idx="439">88</cx:pt>
          <cx:pt idx="440">90</cx:pt>
          <cx:pt idx="441">81</cx:pt>
          <cx:pt idx="442">92</cx:pt>
          <cx:pt idx="443">90</cx:pt>
          <cx:pt idx="444">97</cx:pt>
          <cx:pt idx="445">85</cx:pt>
          <cx:pt idx="446">98</cx:pt>
          <cx:pt idx="447">84</cx:pt>
          <cx:pt idx="448">95</cx:pt>
          <cx:pt idx="449">80</cx:pt>
          <cx:pt idx="450">81</cx:pt>
          <cx:pt idx="451">94</cx:pt>
          <cx:pt idx="452">84</cx:pt>
          <cx:pt idx="453">85</cx:pt>
          <cx:pt idx="454">88</cx:pt>
          <cx:pt idx="455">80</cx:pt>
          <cx:pt idx="456">86</cx:pt>
          <cx:pt idx="457">94</cx:pt>
          <cx:pt idx="458">87</cx:pt>
          <cx:pt idx="459">100</cx:pt>
          <cx:pt idx="460">82</cx:pt>
          <cx:pt idx="461">80</cx:pt>
          <cx:pt idx="462">80</cx:pt>
          <cx:pt idx="463">99</cx:pt>
          <cx:pt idx="464">99</cx:pt>
          <cx:pt idx="465">93</cx:pt>
          <cx:pt idx="466">85</cx:pt>
          <cx:pt idx="467">80</cx:pt>
          <cx:pt idx="468">99</cx:pt>
          <cx:pt idx="469">82</cx:pt>
          <cx:pt idx="470">90</cx:pt>
          <cx:pt idx="471">91</cx:pt>
          <cx:pt idx="472">89</cx:pt>
          <cx:pt idx="473">93</cx:pt>
          <cx:pt idx="474">82</cx:pt>
          <cx:pt idx="475">80</cx:pt>
          <cx:pt idx="476">92</cx:pt>
          <cx:pt idx="477">83</cx:pt>
          <cx:pt idx="478">94</cx:pt>
          <cx:pt idx="479">87</cx:pt>
          <cx:pt idx="480">100</cx:pt>
          <cx:pt idx="481">80</cx:pt>
          <cx:pt idx="482">82</cx:pt>
          <cx:pt idx="483">82</cx:pt>
          <cx:pt idx="484">99</cx:pt>
          <cx:pt idx="485">100</cx:pt>
          <cx:pt idx="486">93</cx:pt>
          <cx:pt idx="487">98</cx:pt>
          <cx:pt idx="488">87</cx:pt>
          <cx:pt idx="489">90</cx:pt>
          <cx:pt idx="490">80</cx:pt>
          <cx:pt idx="491">82</cx:pt>
          <cx:pt idx="492">80</cx:pt>
          <cx:pt idx="493">85</cx:pt>
          <cx:pt idx="494">86</cx:pt>
          <cx:pt idx="495">97</cx:pt>
          <cx:pt idx="496">87</cx:pt>
          <cx:pt idx="497">98</cx:pt>
          <cx:pt idx="498">81</cx:pt>
          <cx:pt idx="499">86</cx:pt>
          <cx:pt idx="500">90</cx:pt>
          <cx:pt idx="501">83</cx:pt>
          <cx:pt idx="502">96</cx:pt>
          <cx:pt idx="503">98</cx:pt>
          <cx:pt idx="504">96</cx:pt>
          <cx:pt idx="505">90</cx:pt>
          <cx:pt idx="506">91</cx:pt>
          <cx:pt idx="507">99</cx:pt>
          <cx:pt idx="508">85</cx:pt>
          <cx:pt idx="509">93</cx:pt>
          <cx:pt idx="510">90</cx:pt>
          <cx:pt idx="511">86</cx:pt>
          <cx:pt idx="512">89</cx:pt>
          <cx:pt idx="513">99</cx:pt>
          <cx:pt idx="514">98</cx:pt>
          <cx:pt idx="515">96</cx:pt>
          <cx:pt idx="516">93</cx:pt>
          <cx:pt idx="517">97</cx:pt>
          <cx:pt idx="518">84</cx:pt>
          <cx:pt idx="519">93</cx:pt>
          <cx:pt idx="520">100</cx:pt>
          <cx:pt idx="521">91</cx:pt>
          <cx:pt idx="522">89</cx:pt>
          <cx:pt idx="523">85</cx:pt>
          <cx:pt idx="524">93</cx:pt>
          <cx:pt idx="525">88</cx:pt>
          <cx:pt idx="526">82</cx:pt>
          <cx:pt idx="527">90</cx:pt>
          <cx:pt idx="528">95</cx:pt>
          <cx:pt idx="529">84</cx:pt>
          <cx:pt idx="530">84</cx:pt>
          <cx:pt idx="531">95</cx:pt>
          <cx:pt idx="532">94</cx:pt>
          <cx:pt idx="533">92</cx:pt>
          <cx:pt idx="534">100</cx:pt>
          <cx:pt idx="535">83</cx:pt>
          <cx:pt idx="536">100</cx:pt>
          <cx:pt idx="537">99</cx:pt>
          <cx:pt idx="538">95</cx:pt>
          <cx:pt idx="539">96</cx:pt>
          <cx:pt idx="540">87</cx:pt>
          <cx:pt idx="541">81</cx:pt>
          <cx:pt idx="542">93</cx:pt>
          <cx:pt idx="543">96</cx:pt>
          <cx:pt idx="544">95</cx:pt>
          <cx:pt idx="545">91</cx:pt>
          <cx:pt idx="546">90</cx:pt>
          <cx:pt idx="547">84</cx:pt>
          <cx:pt idx="548">82</cx:pt>
          <cx:pt idx="549">87</cx:pt>
          <cx:pt idx="550">97</cx:pt>
          <cx:pt idx="551">83</cx:pt>
          <cx:pt idx="552">100</cx:pt>
          <cx:pt idx="553">96</cx:pt>
          <cx:pt idx="554">81</cx:pt>
          <cx:pt idx="555">84</cx:pt>
          <cx:pt idx="556">95</cx:pt>
          <cx:pt idx="557">97</cx:pt>
          <cx:pt idx="558">97</cx:pt>
          <cx:pt idx="559">91</cx:pt>
          <cx:pt idx="560">86</cx:pt>
          <cx:pt idx="561">86</cx:pt>
          <cx:pt idx="562">99</cx:pt>
          <cx:pt idx="563">87</cx:pt>
          <cx:pt idx="564">85</cx:pt>
          <cx:pt idx="565">89</cx:pt>
          <cx:pt idx="566">100</cx:pt>
          <cx:pt idx="567">99</cx:pt>
          <cx:pt idx="568">88</cx:pt>
          <cx:pt idx="569">80</cx:pt>
          <cx:pt idx="570">84</cx:pt>
          <cx:pt idx="571">87</cx:pt>
          <cx:pt idx="572">85</cx:pt>
          <cx:pt idx="573">92</cx:pt>
          <cx:pt idx="574">98</cx:pt>
          <cx:pt idx="575">93</cx:pt>
          <cx:pt idx="576">84</cx:pt>
          <cx:pt idx="577">81</cx:pt>
          <cx:pt idx="578">95</cx:pt>
          <cx:pt idx="579">83</cx:pt>
          <cx:pt idx="580">80</cx:pt>
          <cx:pt idx="581">96</cx:pt>
          <cx:pt idx="582">91</cx:pt>
          <cx:pt idx="583">80</cx:pt>
          <cx:pt idx="584">90</cx:pt>
          <cx:pt idx="585">93</cx:pt>
          <cx:pt idx="586">81</cx:pt>
          <cx:pt idx="587">90</cx:pt>
          <cx:pt idx="588">84</cx:pt>
          <cx:pt idx="589">80</cx:pt>
          <cx:pt idx="590">87</cx:pt>
          <cx:pt idx="591">95</cx:pt>
          <cx:pt idx="592">97</cx:pt>
          <cx:pt idx="593">98</cx:pt>
          <cx:pt idx="594">86</cx:pt>
          <cx:pt idx="595">95</cx:pt>
          <cx:pt idx="596">96</cx:pt>
          <cx:pt idx="597">88</cx:pt>
          <cx:pt idx="598">98</cx:pt>
          <cx:pt idx="599">99</cx:pt>
          <cx:pt idx="600">93</cx:pt>
          <cx:pt idx="601">82</cx:pt>
          <cx:pt idx="602">81</cx:pt>
          <cx:pt idx="603">100</cx:pt>
          <cx:pt idx="604">92</cx:pt>
          <cx:pt idx="605">86</cx:pt>
          <cx:pt idx="606">88</cx:pt>
          <cx:pt idx="607">94</cx:pt>
          <cx:pt idx="608">85</cx:pt>
          <cx:pt idx="609">81</cx:pt>
          <cx:pt idx="610">83</cx:pt>
          <cx:pt idx="611">85</cx:pt>
          <cx:pt idx="612">94</cx:pt>
          <cx:pt idx="613">87</cx:pt>
          <cx:pt idx="614">91</cx:pt>
          <cx:pt idx="615">81</cx:pt>
          <cx:pt idx="616">96</cx:pt>
          <cx:pt idx="617">80</cx:pt>
          <cx:pt idx="618">80</cx:pt>
          <cx:pt idx="619">90</cx:pt>
          <cx:pt idx="620">91</cx:pt>
          <cx:pt idx="621">91</cx:pt>
          <cx:pt idx="622">100</cx:pt>
          <cx:pt idx="623">87</cx:pt>
          <cx:pt idx="624">80</cx:pt>
          <cx:pt idx="625">84</cx:pt>
          <cx:pt idx="626">86</cx:pt>
          <cx:pt idx="627">84</cx:pt>
          <cx:pt idx="628">84</cx:pt>
          <cx:pt idx="629">94</cx:pt>
          <cx:pt idx="630">98</cx:pt>
          <cx:pt idx="631">98</cx:pt>
          <cx:pt idx="632">97</cx:pt>
          <cx:pt idx="633">103</cx:pt>
          <cx:pt idx="634">98</cx:pt>
          <cx:pt idx="635">95</cx:pt>
          <cx:pt idx="636">99</cx:pt>
          <cx:pt idx="637">101</cx:pt>
          <cx:pt idx="638">98</cx:pt>
          <cx:pt idx="639">99</cx:pt>
          <cx:pt idx="640">102</cx:pt>
          <cx:pt idx="641">105</cx:pt>
          <cx:pt idx="642">95</cx:pt>
          <cx:pt idx="643">98</cx:pt>
          <cx:pt idx="644">103</cx:pt>
          <cx:pt idx="645">95</cx:pt>
          <cx:pt idx="646">95</cx:pt>
          <cx:pt idx="647">95</cx:pt>
          <cx:pt idx="648">98</cx:pt>
          <cx:pt idx="649">101</cx:pt>
          <cx:pt idx="650">100</cx:pt>
          <cx:pt idx="651">96</cx:pt>
          <cx:pt idx="652">99</cx:pt>
          <cx:pt idx="653">100</cx:pt>
          <cx:pt idx="654">98</cx:pt>
          <cx:pt idx="655">104</cx:pt>
          <cx:pt idx="656">105</cx:pt>
          <cx:pt idx="657">103</cx:pt>
          <cx:pt idx="658">103</cx:pt>
          <cx:pt idx="659">100</cx:pt>
          <cx:pt idx="660">97</cx:pt>
          <cx:pt idx="661">101</cx:pt>
          <cx:pt idx="662">97</cx:pt>
          <cx:pt idx="663">95</cx:pt>
          <cx:pt idx="664">95</cx:pt>
          <cx:pt idx="665">103</cx:pt>
          <cx:pt idx="666">103</cx:pt>
          <cx:pt idx="667">97</cx:pt>
          <cx:pt idx="668">98</cx:pt>
          <cx:pt idx="669">102</cx:pt>
          <cx:pt idx="670">97</cx:pt>
          <cx:pt idx="671">97</cx:pt>
          <cx:pt idx="672">98</cx:pt>
          <cx:pt idx="673">105</cx:pt>
          <cx:pt idx="674">98</cx:pt>
          <cx:pt idx="675">104</cx:pt>
          <cx:pt idx="676">100</cx:pt>
          <cx:pt idx="677">96</cx:pt>
          <cx:pt idx="678">98</cx:pt>
          <cx:pt idx="679">80</cx:pt>
          <cx:pt idx="680">87</cx:pt>
          <cx:pt idx="681">92</cx:pt>
          <cx:pt idx="682">82</cx:pt>
          <cx:pt idx="683">80</cx:pt>
          <cx:pt idx="684">99</cx:pt>
          <cx:pt idx="685">82</cx:pt>
          <cx:pt idx="686">90</cx:pt>
          <cx:pt idx="687">88</cx:pt>
          <cx:pt idx="688">89</cx:pt>
          <cx:pt idx="689">82</cx:pt>
          <cx:pt idx="690">83</cx:pt>
          <cx:pt idx="691">94</cx:pt>
          <cx:pt idx="692">90</cx:pt>
          <cx:pt idx="693">90</cx:pt>
          <cx:pt idx="694">100</cx:pt>
          <cx:pt idx="695">93</cx:pt>
          <cx:pt idx="696">90</cx:pt>
          <cx:pt idx="697">95</cx:pt>
          <cx:pt idx="698">85</cx:pt>
          <cx:pt idx="699">86</cx:pt>
          <cx:pt idx="700">90</cx:pt>
          <cx:pt idx="701">98</cx:pt>
          <cx:pt idx="702">87</cx:pt>
          <cx:pt idx="703">89</cx:pt>
          <cx:pt idx="704">85</cx:pt>
          <cx:pt idx="705">97</cx:pt>
          <cx:pt idx="706">100</cx:pt>
          <cx:pt idx="707">94</cx:pt>
          <cx:pt idx="708">95</cx:pt>
          <cx:pt idx="709">93</cx:pt>
          <cx:pt idx="710">86</cx:pt>
          <cx:pt idx="711">96</cx:pt>
          <cx:pt idx="712">88</cx:pt>
          <cx:pt idx="713">93</cx:pt>
          <cx:pt idx="714">80</cx:pt>
          <cx:pt idx="715">85</cx:pt>
          <cx:pt idx="716">99</cx:pt>
          <cx:pt idx="717">89</cx:pt>
          <cx:pt idx="718">95</cx:pt>
          <cx:pt idx="719">88</cx:pt>
          <cx:pt idx="720">90</cx:pt>
          <cx:pt idx="721">89</cx:pt>
          <cx:pt idx="722">89</cx:pt>
          <cx:pt idx="723">82</cx:pt>
          <cx:pt idx="724">91</cx:pt>
          <cx:pt idx="725">96</cx:pt>
          <cx:pt idx="726">100</cx:pt>
          <cx:pt idx="727">86</cx:pt>
          <cx:pt idx="728">95</cx:pt>
          <cx:pt idx="729">98</cx:pt>
          <cx:pt idx="730">87</cx:pt>
          <cx:pt idx="731">80</cx:pt>
          <cx:pt idx="732">89</cx:pt>
          <cx:pt idx="733">86</cx:pt>
          <cx:pt idx="734">83</cx:pt>
          <cx:pt idx="735">88</cx:pt>
          <cx:pt idx="736">81</cx:pt>
          <cx:pt idx="737">94</cx:pt>
          <cx:pt idx="738">84</cx:pt>
          <cx:pt idx="739">81</cx:pt>
          <cx:pt idx="740">97</cx:pt>
          <cx:pt idx="741">87</cx:pt>
          <cx:pt idx="742">84</cx:pt>
          <cx:pt idx="743">91</cx:pt>
          <cx:pt idx="744">81</cx:pt>
          <cx:pt idx="745">83</cx:pt>
          <cx:pt idx="746">81</cx:pt>
          <cx:pt idx="747">93</cx:pt>
          <cx:pt idx="748">84</cx:pt>
          <cx:pt idx="749">82</cx:pt>
          <cx:pt idx="750">92</cx:pt>
          <cx:pt idx="751">97</cx:pt>
          <cx:pt idx="752">89</cx:pt>
          <cx:pt idx="753">90</cx:pt>
          <cx:pt idx="754">88</cx:pt>
          <cx:pt idx="755">99</cx:pt>
          <cx:pt idx="756">87</cx:pt>
          <cx:pt idx="757">88</cx:pt>
          <cx:pt idx="758">87</cx:pt>
          <cx:pt idx="759">98</cx:pt>
          <cx:pt idx="760">88</cx:pt>
          <cx:pt idx="761">85</cx:pt>
          <cx:pt idx="762">85</cx:pt>
          <cx:pt idx="763">84</cx:pt>
          <cx:pt idx="764">84</cx:pt>
          <cx:pt idx="765">85</cx:pt>
          <cx:pt idx="766">81</cx:pt>
          <cx:pt idx="767">94</cx:pt>
          <cx:pt idx="768">99</cx:pt>
          <cx:pt idx="769">84</cx:pt>
          <cx:pt idx="770">81</cx:pt>
          <cx:pt idx="771">84</cx:pt>
          <cx:pt idx="772">88</cx:pt>
          <cx:pt idx="773">98</cx:pt>
          <cx:pt idx="774">89</cx:pt>
          <cx:pt idx="775">93</cx:pt>
          <cx:pt idx="776">100</cx:pt>
          <cx:pt idx="777">87</cx:pt>
          <cx:pt idx="778">89</cx:pt>
          <cx:pt idx="779">98</cx:pt>
          <cx:pt idx="780">81</cx:pt>
          <cx:pt idx="781">100</cx:pt>
          <cx:pt idx="782">87</cx:pt>
          <cx:pt idx="783">89</cx:pt>
          <cx:pt idx="784">83</cx:pt>
          <cx:pt idx="785">96</cx:pt>
          <cx:pt idx="786">96</cx:pt>
          <cx:pt idx="787">90</cx:pt>
          <cx:pt idx="788">81</cx:pt>
          <cx:pt idx="789">82</cx:pt>
          <cx:pt idx="790">83</cx:pt>
          <cx:pt idx="791">89</cx:pt>
          <cx:pt idx="792">91</cx:pt>
          <cx:pt idx="793">93</cx:pt>
          <cx:pt idx="794">94</cx:pt>
          <cx:pt idx="795">94</cx:pt>
          <cx:pt idx="796">93</cx:pt>
          <cx:pt idx="797">86</cx:pt>
          <cx:pt idx="798">84</cx:pt>
          <cx:pt idx="799">86</cx:pt>
          <cx:pt idx="800">80</cx:pt>
          <cx:pt idx="801">95</cx:pt>
          <cx:pt idx="802">97</cx:pt>
          <cx:pt idx="803">92</cx:pt>
          <cx:pt idx="804">87</cx:pt>
          <cx:pt idx="805">91</cx:pt>
          <cx:pt idx="806">98</cx:pt>
          <cx:pt idx="807">94</cx:pt>
          <cx:pt idx="808">96</cx:pt>
          <cx:pt idx="809">85</cx:pt>
          <cx:pt idx="810">87</cx:pt>
          <cx:pt idx="811">99</cx:pt>
          <cx:pt idx="812">92</cx:pt>
          <cx:pt idx="813">81</cx:pt>
          <cx:pt idx="814">89</cx:pt>
          <cx:pt idx="815">81</cx:pt>
          <cx:pt idx="816">88</cx:pt>
          <cx:pt idx="817">100</cx:pt>
          <cx:pt idx="818">92</cx:pt>
          <cx:pt idx="819">91</cx:pt>
          <cx:pt idx="820">88</cx:pt>
          <cx:pt idx="821">86</cx:pt>
          <cx:pt idx="822">80</cx:pt>
          <cx:pt idx="823">98</cx:pt>
          <cx:pt idx="824">92</cx:pt>
          <cx:pt idx="825">89</cx:pt>
          <cx:pt idx="826">97</cx:pt>
          <cx:pt idx="827">86</cx:pt>
          <cx:pt idx="828">93</cx:pt>
          <cx:pt idx="829">88</cx:pt>
          <cx:pt idx="830">95</cx:pt>
          <cx:pt idx="831">85</cx:pt>
          <cx:pt idx="832">93</cx:pt>
          <cx:pt idx="833">96</cx:pt>
          <cx:pt idx="834">81</cx:pt>
          <cx:pt idx="835">94</cx:pt>
          <cx:pt idx="836">80</cx:pt>
          <cx:pt idx="837">92</cx:pt>
          <cx:pt idx="838">84</cx:pt>
          <cx:pt idx="839">93</cx:pt>
          <cx:pt idx="840">92</cx:pt>
          <cx:pt idx="841">87</cx:pt>
          <cx:pt idx="842">100</cx:pt>
          <cx:pt idx="843">86</cx:pt>
          <cx:pt idx="844">94</cx:pt>
          <cx:pt idx="845">97</cx:pt>
          <cx:pt idx="846">86</cx:pt>
          <cx:pt idx="847">86</cx:pt>
          <cx:pt idx="848">86</cx:pt>
          <cx:pt idx="849">88</cx:pt>
          <cx:pt idx="850">81</cx:pt>
          <cx:pt idx="851">94</cx:pt>
          <cx:pt idx="852">84</cx:pt>
          <cx:pt idx="853">97</cx:pt>
          <cx:pt idx="854">80</cx:pt>
          <cx:pt idx="855">93</cx:pt>
          <cx:pt idx="856">99</cx:pt>
          <cx:pt idx="857">85</cx:pt>
          <cx:pt idx="858">86</cx:pt>
          <cx:pt idx="859">90</cx:pt>
          <cx:pt idx="860">98</cx:pt>
          <cx:pt idx="861">96</cx:pt>
          <cx:pt idx="862">81</cx:pt>
          <cx:pt idx="863">86</cx:pt>
          <cx:pt idx="864">83</cx:pt>
          <cx:pt idx="865">86</cx:pt>
          <cx:pt idx="866">94</cx:pt>
          <cx:pt idx="867">89</cx:pt>
          <cx:pt idx="868">93</cx:pt>
          <cx:pt idx="869">95</cx:pt>
          <cx:pt idx="870">90</cx:pt>
          <cx:pt idx="871">95</cx:pt>
          <cx:pt idx="872">89</cx:pt>
          <cx:pt idx="873">94</cx:pt>
          <cx:pt idx="874">94</cx:pt>
          <cx:pt idx="875">95</cx:pt>
          <cx:pt idx="876">95</cx:pt>
          <cx:pt idx="877">83</cx:pt>
          <cx:pt idx="878">95</cx:pt>
          <cx:pt idx="879">100</cx:pt>
          <cx:pt idx="880">83</cx:pt>
          <cx:pt idx="881">92</cx:pt>
          <cx:pt idx="882">91</cx:pt>
          <cx:pt idx="883">92</cx:pt>
          <cx:pt idx="884">95</cx:pt>
          <cx:pt idx="885">85</cx:pt>
          <cx:pt idx="886">88</cx:pt>
          <cx:pt idx="887">96</cx:pt>
          <cx:pt idx="888">85</cx:pt>
          <cx:pt idx="889">100</cx:pt>
          <cx:pt idx="890">97</cx:pt>
          <cx:pt idx="891">88</cx:pt>
          <cx:pt idx="892">93</cx:pt>
          <cx:pt idx="893">95</cx:pt>
          <cx:pt idx="894">89</cx:pt>
          <cx:pt idx="895">99</cx:pt>
          <cx:pt idx="896">91</cx:pt>
          <cx:pt idx="897">83</cx:pt>
          <cx:pt idx="898">92</cx:pt>
          <cx:pt idx="899">93</cx:pt>
          <cx:pt idx="900">85</cx:pt>
          <cx:pt idx="901">80</cx:pt>
          <cx:pt idx="902">94</cx:pt>
          <cx:pt idx="903">94</cx:pt>
          <cx:pt idx="904">92</cx:pt>
          <cx:pt idx="905">84</cx:pt>
          <cx:pt idx="906">83</cx:pt>
          <cx:pt idx="907">82</cx:pt>
          <cx:pt idx="908">94</cx:pt>
          <cx:pt idx="909">88</cx:pt>
          <cx:pt idx="910">84</cx:pt>
          <cx:pt idx="911">91</cx:pt>
          <cx:pt idx="912">87</cx:pt>
          <cx:pt idx="913">85</cx:pt>
          <cx:pt idx="914">80</cx:pt>
          <cx:pt idx="915">80</cx:pt>
          <cx:pt idx="916">100</cx:pt>
          <cx:pt idx="917">92</cx:pt>
          <cx:pt idx="918">87</cx:pt>
          <cx:pt idx="919">99</cx:pt>
          <cx:pt idx="920">100</cx:pt>
          <cx:pt idx="921">94</cx:pt>
          <cx:pt idx="922">82</cx:pt>
          <cx:pt idx="923">92</cx:pt>
          <cx:pt idx="924">80</cx:pt>
          <cx:pt idx="925">94</cx:pt>
          <cx:pt idx="926">96</cx:pt>
          <cx:pt idx="927">84</cx:pt>
          <cx:pt idx="928">88</cx:pt>
          <cx:pt idx="929">82</cx:pt>
          <cx:pt idx="930">92</cx:pt>
          <cx:pt idx="931">80</cx:pt>
          <cx:pt idx="932">99</cx:pt>
          <cx:pt idx="933">95</cx:pt>
          <cx:pt idx="934">98</cx:pt>
          <cx:pt idx="935">91</cx:pt>
          <cx:pt idx="936">98</cx:pt>
          <cx:pt idx="937">94</cx:pt>
          <cx:pt idx="938">95</cx:pt>
          <cx:pt idx="939">86</cx:pt>
          <cx:pt idx="940">84</cx:pt>
          <cx:pt idx="941">83</cx:pt>
          <cx:pt idx="942">92</cx:pt>
          <cx:pt idx="943">90</cx:pt>
          <cx:pt idx="944">96</cx:pt>
          <cx:pt idx="945">81</cx:pt>
          <cx:pt idx="946">91</cx:pt>
          <cx:pt idx="947">80</cx:pt>
          <cx:pt idx="948">86</cx:pt>
          <cx:pt idx="949">92</cx:pt>
          <cx:pt idx="950">89</cx:pt>
          <cx:pt idx="951">86</cx:pt>
          <cx:pt idx="952">91</cx:pt>
          <cx:pt idx="953">80</cx:pt>
          <cx:pt idx="954">93</cx:pt>
          <cx:pt idx="955">81</cx:pt>
          <cx:pt idx="956">81</cx:pt>
          <cx:pt idx="957">94</cx:pt>
          <cx:pt idx="958">85</cx:pt>
          <cx:pt idx="959">80</cx:pt>
          <cx:pt idx="960">92</cx:pt>
          <cx:pt idx="961">97</cx:pt>
          <cx:pt idx="962">87</cx:pt>
          <cx:pt idx="963">96</cx:pt>
          <cx:pt idx="964">90</cx:pt>
          <cx:pt idx="965">84</cx:pt>
          <cx:pt idx="966">94</cx:pt>
          <cx:pt idx="967">88</cx:pt>
          <cx:pt idx="968">99</cx:pt>
          <cx:pt idx="969">98</cx:pt>
          <cx:pt idx="970">88</cx:pt>
          <cx:pt idx="971">96</cx:pt>
          <cx:pt idx="972">88</cx:pt>
          <cx:pt idx="973">91</cx:pt>
          <cx:pt idx="974">84</cx:pt>
          <cx:pt idx="975">87</cx:pt>
          <cx:pt idx="976">97</cx:pt>
          <cx:pt idx="977">85</cx:pt>
          <cx:pt idx="978">94</cx:pt>
          <cx:pt idx="979">91</cx:pt>
          <cx:pt idx="980">88</cx:pt>
          <cx:pt idx="981">82</cx:pt>
          <cx:pt idx="982">85</cx:pt>
          <cx:pt idx="983">93</cx:pt>
          <cx:pt idx="984">98</cx:pt>
          <cx:pt idx="985">87</cx:pt>
          <cx:pt idx="986">91</cx:pt>
          <cx:pt idx="987">88</cx:pt>
          <cx:pt idx="988">85</cx:pt>
          <cx:pt idx="989">92</cx:pt>
          <cx:pt idx="990">99</cx:pt>
          <cx:pt idx="991">89</cx:pt>
          <cx:pt idx="992">93</cx:pt>
          <cx:pt idx="993">91</cx:pt>
          <cx:pt idx="994">95</cx:pt>
          <cx:pt idx="995">96</cx:pt>
          <cx:pt idx="996">91</cx:pt>
          <cx:pt idx="997">90</cx:pt>
          <cx:pt idx="998">87</cx:pt>
          <cx:pt idx="999">80</cx:pt>
          <cx:pt idx="1000">86</cx:pt>
          <cx:pt idx="1001">99</cx:pt>
          <cx:pt idx="1002">80</cx:pt>
          <cx:pt idx="1003">89</cx:pt>
          <cx:pt idx="1004">96</cx:pt>
          <cx:pt idx="1005">85</cx:pt>
          <cx:pt idx="1006">89</cx:pt>
          <cx:pt idx="1007">85</cx:pt>
          <cx:pt idx="1008">94</cx:pt>
          <cx:pt idx="1009">82</cx:pt>
          <cx:pt idx="1010">82</cx:pt>
          <cx:pt idx="1011">97</cx:pt>
          <cx:pt idx="1012">100</cx:pt>
          <cx:pt idx="1013">98</cx:pt>
          <cx:pt idx="1014">84</cx:pt>
          <cx:pt idx="1015">84</cx:pt>
          <cx:pt idx="1016">88</cx:pt>
          <cx:pt idx="1017">98</cx:pt>
          <cx:pt idx="1018">82</cx:pt>
          <cx:pt idx="1019">94</cx:pt>
          <cx:pt idx="1020">91</cx:pt>
          <cx:pt idx="1021">90</cx:pt>
          <cx:pt idx="1022">83</cx:pt>
          <cx:pt idx="1023">93</cx:pt>
          <cx:pt idx="1024">90</cx:pt>
          <cx:pt idx="1025">96</cx:pt>
          <cx:pt idx="1026">98</cx:pt>
          <cx:pt idx="1027">89</cx:pt>
          <cx:pt idx="1028">94</cx:pt>
          <cx:pt idx="1029">95</cx:pt>
          <cx:pt idx="1030">91</cx:pt>
          <cx:pt idx="1031">86</cx:pt>
          <cx:pt idx="1032">94</cx:pt>
          <cx:pt idx="1033">96</cx:pt>
          <cx:pt idx="1034">97</cx:pt>
          <cx:pt idx="1035">86</cx:pt>
          <cx:pt idx="1036">94</cx:pt>
          <cx:pt idx="1037">80</cx:pt>
          <cx:pt idx="1038">93</cx:pt>
          <cx:pt idx="1039">98</cx:pt>
          <cx:pt idx="1040">86</cx:pt>
          <cx:pt idx="1041">83</cx:pt>
          <cx:pt idx="1042">97</cx:pt>
          <cx:pt idx="1043">100</cx:pt>
          <cx:pt idx="1044">94</cx:pt>
          <cx:pt idx="1045">100</cx:pt>
          <cx:pt idx="1046">81</cx:pt>
          <cx:pt idx="1047">89</cx:pt>
          <cx:pt idx="1048">93</cx:pt>
          <cx:pt idx="1049">90</cx:pt>
          <cx:pt idx="1050">95</cx:pt>
          <cx:pt idx="1051">97</cx:pt>
          <cx:pt idx="1052">95</cx:pt>
          <cx:pt idx="1053">97</cx:pt>
          <cx:pt idx="1054">95</cx:pt>
          <cx:pt idx="1055">89</cx:pt>
          <cx:pt idx="1056">82</cx:pt>
          <cx:pt idx="1057">91</cx:pt>
          <cx:pt idx="1058">91</cx:pt>
          <cx:pt idx="1059">93</cx:pt>
          <cx:pt idx="1060">88</cx:pt>
          <cx:pt idx="1061">84</cx:pt>
          <cx:pt idx="1062">95</cx:pt>
          <cx:pt idx="1063">86</cx:pt>
          <cx:pt idx="1064">90</cx:pt>
          <cx:pt idx="1065">93</cx:pt>
          <cx:pt idx="1066">84</cx:pt>
          <cx:pt idx="1067">93</cx:pt>
          <cx:pt idx="1068">85</cx:pt>
          <cx:pt idx="1069">93</cx:pt>
          <cx:pt idx="1070">101</cx:pt>
          <cx:pt idx="1071">97</cx:pt>
          <cx:pt idx="1072">98</cx:pt>
          <cx:pt idx="1073">100</cx:pt>
          <cx:pt idx="1074">98</cx:pt>
          <cx:pt idx="1075">100</cx:pt>
          <cx:pt idx="1076">100</cx:pt>
          <cx:pt idx="1077">95</cx:pt>
          <cx:pt idx="1078">101</cx:pt>
          <cx:pt idx="1079">104</cx:pt>
          <cx:pt idx="1080">99</cx:pt>
          <cx:pt idx="1081">102</cx:pt>
          <cx:pt idx="1082">101</cx:pt>
          <cx:pt idx="1083">103</cx:pt>
          <cx:pt idx="1084">98</cx:pt>
          <cx:pt idx="1085">104</cx:pt>
          <cx:pt idx="1086">102</cx:pt>
          <cx:pt idx="1087">101</cx:pt>
          <cx:pt idx="1088">95</cx:pt>
          <cx:pt idx="1089">99</cx:pt>
          <cx:pt idx="1090">98</cx:pt>
          <cx:pt idx="1091">99</cx:pt>
          <cx:pt idx="1092">99</cx:pt>
          <cx:pt idx="1093">100</cx:pt>
          <cx:pt idx="1094">101</cx:pt>
          <cx:pt idx="1095">98</cx:pt>
          <cx:pt idx="1096">104</cx:pt>
          <cx:pt idx="1097">98</cx:pt>
          <cx:pt idx="1098">104</cx:pt>
          <cx:pt idx="1099">104</cx:pt>
          <cx:pt idx="1100">102</cx:pt>
          <cx:pt idx="1101">101</cx:pt>
          <cx:pt idx="1102">96</cx:pt>
          <cx:pt idx="1103">105</cx:pt>
          <cx:pt idx="1104">105</cx:pt>
          <cx:pt idx="1105">95</cx:pt>
          <cx:pt idx="1106">101</cx:pt>
          <cx:pt idx="1107">99</cx:pt>
          <cx:pt idx="1108">102</cx:pt>
          <cx:pt idx="1109">104</cx:pt>
          <cx:pt idx="1110">96</cx:pt>
          <cx:pt idx="1111">104</cx:pt>
          <cx:pt idx="1112">105</cx:pt>
          <cx:pt idx="1113">97</cx:pt>
          <cx:pt idx="1114">98</cx:pt>
          <cx:pt idx="1115">101</cx:pt>
          <cx:pt idx="1116">103</cx:pt>
          <cx:pt idx="1117">104</cx:pt>
          <cx:pt idx="1118">97</cx:pt>
          <cx:pt idx="1119">100</cx:pt>
          <cx:pt idx="1120">103</cx:pt>
          <cx:pt idx="1121">100</cx:pt>
          <cx:pt idx="1122">103</cx:pt>
          <cx:pt idx="1123">100</cx:pt>
          <cx:pt idx="1124">103</cx:pt>
          <cx:pt idx="1125">99</cx:pt>
          <cx:pt idx="1126">89</cx:pt>
          <cx:pt idx="1127">93</cx:pt>
          <cx:pt idx="1128">93</cx:pt>
          <cx:pt idx="1129">97</cx:pt>
          <cx:pt idx="1130">89</cx:pt>
          <cx:pt idx="1131">93</cx:pt>
          <cx:pt idx="1132">93</cx:pt>
          <cx:pt idx="1133">97</cx:pt>
          <cx:pt idx="1134">98</cx:pt>
          <cx:pt idx="1135">82</cx:pt>
          <cx:pt idx="1136">83</cx:pt>
          <cx:pt idx="1137">86</cx:pt>
          <cx:pt idx="1138">95</cx:pt>
          <cx:pt idx="1139">87</cx:pt>
          <cx:pt idx="1140">99</cx:pt>
          <cx:pt idx="1141">93</cx:pt>
          <cx:pt idx="1142">91</cx:pt>
          <cx:pt idx="1143">92</cx:pt>
          <cx:pt idx="1144">92</cx:pt>
          <cx:pt idx="1145">83</cx:pt>
          <cx:pt idx="1146">89</cx:pt>
          <cx:pt idx="1147">92</cx:pt>
          <cx:pt idx="1148">80</cx:pt>
          <cx:pt idx="1149">97</cx:pt>
          <cx:pt idx="1150">100</cx:pt>
          <cx:pt idx="1151">91</cx:pt>
          <cx:pt idx="1152">89</cx:pt>
          <cx:pt idx="1153">83</cx:pt>
          <cx:pt idx="1154">86</cx:pt>
          <cx:pt idx="1155">99</cx:pt>
          <cx:pt idx="1156">84</cx:pt>
          <cx:pt idx="1157">82</cx:pt>
          <cx:pt idx="1158">88</cx:pt>
          <cx:pt idx="1159">80</cx:pt>
          <cx:pt idx="1160">80</cx:pt>
          <cx:pt idx="1161">99</cx:pt>
          <cx:pt idx="1162">83</cx:pt>
          <cx:pt idx="1163">85</cx:pt>
          <cx:pt idx="1164">89</cx:pt>
          <cx:pt idx="1165">100</cx:pt>
          <cx:pt idx="1166">99</cx:pt>
          <cx:pt idx="1167">95</cx:pt>
          <cx:pt idx="1168">80</cx:pt>
          <cx:pt idx="1169">83</cx:pt>
          <cx:pt idx="1170">91</cx:pt>
          <cx:pt idx="1171">98</cx:pt>
          <cx:pt idx="1172">89</cx:pt>
          <cx:pt idx="1173">96</cx:pt>
          <cx:pt idx="1174">80</cx:pt>
          <cx:pt idx="1175">80</cx:pt>
          <cx:pt idx="1176">96</cx:pt>
          <cx:pt idx="1177">98</cx:pt>
          <cx:pt idx="1178">100</cx:pt>
          <cx:pt idx="1179">85</cx:pt>
          <cx:pt idx="1180">94</cx:pt>
          <cx:pt idx="1181">93</cx:pt>
          <cx:pt idx="1182">80</cx:pt>
          <cx:pt idx="1183">90</cx:pt>
          <cx:pt idx="1184">99</cx:pt>
          <cx:pt idx="1185">80</cx:pt>
          <cx:pt idx="1186">100</cx:pt>
          <cx:pt idx="1187">99</cx:pt>
          <cx:pt idx="1188">96</cx:pt>
          <cx:pt idx="1189">84</cx:pt>
          <cx:pt idx="1190">81</cx:pt>
          <cx:pt idx="1191">93</cx:pt>
          <cx:pt idx="1192">87</cx:pt>
          <cx:pt idx="1193">91</cx:pt>
          <cx:pt idx="1194">82</cx:pt>
          <cx:pt idx="1195">93</cx:pt>
          <cx:pt idx="1196">81</cx:pt>
          <cx:pt idx="1197">84</cx:pt>
          <cx:pt idx="1198">91</cx:pt>
          <cx:pt idx="1199">84</cx:pt>
          <cx:pt idx="1200">91</cx:pt>
          <cx:pt idx="1201">83</cx:pt>
          <cx:pt idx="1202">86</cx:pt>
          <cx:pt idx="1203">92</cx:pt>
          <cx:pt idx="1204">95</cx:pt>
          <cx:pt idx="1205">83</cx:pt>
          <cx:pt idx="1206">85</cx:pt>
          <cx:pt idx="1207">86</cx:pt>
          <cx:pt idx="1208">86</cx:pt>
          <cx:pt idx="1209">91</cx:pt>
          <cx:pt idx="1210">93</cx:pt>
          <cx:pt idx="1211">86</cx:pt>
          <cx:pt idx="1212">88</cx:pt>
          <cx:pt idx="1213">82</cx:pt>
          <cx:pt idx="1214">91</cx:pt>
          <cx:pt idx="1215">82</cx:pt>
          <cx:pt idx="1216">89</cx:pt>
          <cx:pt idx="1217">100</cx:pt>
          <cx:pt idx="1218">97</cx:pt>
          <cx:pt idx="1219">83</cx:pt>
          <cx:pt idx="1220">92</cx:pt>
          <cx:pt idx="1221">95</cx:pt>
          <cx:pt idx="1222">99</cx:pt>
          <cx:pt idx="1223">98</cx:pt>
          <cx:pt idx="1224">90</cx:pt>
          <cx:pt idx="1225">91</cx:pt>
          <cx:pt idx="1226">93</cx:pt>
          <cx:pt idx="1227">80</cx:pt>
          <cx:pt idx="1228">85</cx:pt>
          <cx:pt idx="1229">83</cx:pt>
          <cx:pt idx="1230">84</cx:pt>
          <cx:pt idx="1231">81</cx:pt>
          <cx:pt idx="1232">96</cx:pt>
          <cx:pt idx="1233">96</cx:pt>
          <cx:pt idx="1234">80</cx:pt>
          <cx:pt idx="1235">91</cx:pt>
          <cx:pt idx="1236">91</cx:pt>
          <cx:pt idx="1237">95</cx:pt>
          <cx:pt idx="1238">81</cx:pt>
          <cx:pt idx="1239">87</cx:pt>
          <cx:pt idx="1240">100</cx:pt>
          <cx:pt idx="1241">80</cx:pt>
          <cx:pt idx="1242">86</cx:pt>
          <cx:pt idx="1243">85</cx:pt>
          <cx:pt idx="1244">93</cx:pt>
          <cx:pt idx="1245">88</cx:pt>
          <cx:pt idx="1246">97</cx:pt>
          <cx:pt idx="1247">83</cx:pt>
          <cx:pt idx="1248">95</cx:pt>
          <cx:pt idx="1249">98</cx:pt>
          <cx:pt idx="1250">98</cx:pt>
          <cx:pt idx="1251">83</cx:pt>
          <cx:pt idx="1252">80</cx:pt>
          <cx:pt idx="1253">80</cx:pt>
          <cx:pt idx="1254">92</cx:pt>
          <cx:pt idx="1255">98</cx:pt>
          <cx:pt idx="1256">81</cx:pt>
          <cx:pt idx="1257">93</cx:pt>
          <cx:pt idx="1258">96</cx:pt>
          <cx:pt idx="1259">94</cx:pt>
          <cx:pt idx="1260">94</cx:pt>
          <cx:pt idx="1261">99</cx:pt>
          <cx:pt idx="1262">105</cx:pt>
          <cx:pt idx="1263">103</cx:pt>
          <cx:pt idx="1264">101</cx:pt>
          <cx:pt idx="1265">100</cx:pt>
          <cx:pt idx="1266">98</cx:pt>
          <cx:pt idx="1267">99</cx:pt>
          <cx:pt idx="1268">96</cx:pt>
          <cx:pt idx="1269">105</cx:pt>
          <cx:pt idx="1270">95</cx:pt>
          <cx:pt idx="1271">103</cx:pt>
          <cx:pt idx="1272">97</cx:pt>
          <cx:pt idx="1273">103</cx:pt>
          <cx:pt idx="1274">104</cx:pt>
          <cx:pt idx="1275">98</cx:pt>
          <cx:pt idx="1276">96</cx:pt>
          <cx:pt idx="1277">99</cx:pt>
          <cx:pt idx="1278">104</cx:pt>
          <cx:pt idx="1279">102</cx:pt>
          <cx:pt idx="1280">102</cx:pt>
          <cx:pt idx="1281">98</cx:pt>
          <cx:pt idx="1282">95</cx:pt>
          <cx:pt idx="1283">101</cx:pt>
          <cx:pt idx="1284">100</cx:pt>
          <cx:pt idx="1285">104</cx:pt>
          <cx:pt idx="1286">96</cx:pt>
          <cx:pt idx="1287">105</cx:pt>
          <cx:pt idx="1288">105</cx:pt>
          <cx:pt idx="1289">95</cx:pt>
          <cx:pt idx="1290">100</cx:pt>
          <cx:pt idx="1291">100</cx:pt>
          <cx:pt idx="1292">105</cx:pt>
          <cx:pt idx="1293">105</cx:pt>
          <cx:pt idx="1294">105</cx:pt>
          <cx:pt idx="1295">99</cx:pt>
          <cx:pt idx="1296">104</cx:pt>
          <cx:pt idx="1297">95</cx:pt>
          <cx:pt idx="1298">103</cx:pt>
          <cx:pt idx="1299">104</cx:pt>
          <cx:pt idx="1300">100</cx:pt>
          <cx:pt idx="1301">100</cx:pt>
          <cx:pt idx="1302">104</cx:pt>
          <cx:pt idx="1303">99</cx:pt>
          <cx:pt idx="1304">103</cx:pt>
          <cx:pt idx="1305">102</cx:pt>
          <cx:pt idx="1306">96</cx:pt>
          <cx:pt idx="1307">96</cx:pt>
          <cx:pt idx="1308">81</cx:pt>
          <cx:pt idx="1309">82</cx:pt>
          <cx:pt idx="1310">99</cx:pt>
          <cx:pt idx="1311">96</cx:pt>
          <cx:pt idx="1312">92</cx:pt>
          <cx:pt idx="1313">84</cx:pt>
          <cx:pt idx="1314">83</cx:pt>
          <cx:pt idx="1315">85</cx:pt>
          <cx:pt idx="1316">100</cx:pt>
          <cx:pt idx="1317">90</cx:pt>
          <cx:pt idx="1318">87</cx:pt>
          <cx:pt idx="1319">90</cx:pt>
          <cx:pt idx="1320">98</cx:pt>
          <cx:pt idx="1321">88</cx:pt>
          <cx:pt idx="1322">95</cx:pt>
          <cx:pt idx="1323">96</cx:pt>
          <cx:pt idx="1324">91</cx:pt>
          <cx:pt idx="1325">92</cx:pt>
          <cx:pt idx="1326">83</cx:pt>
          <cx:pt idx="1327">85</cx:pt>
          <cx:pt idx="1328">87</cx:pt>
          <cx:pt idx="1329">92</cx:pt>
          <cx:pt idx="1330">98</cx:pt>
          <cx:pt idx="1331">80</cx:pt>
          <cx:pt idx="1332">83</cx:pt>
          <cx:pt idx="1333">99</cx:pt>
          <cx:pt idx="1334">98</cx:pt>
          <cx:pt idx="1335">100</cx:pt>
          <cx:pt idx="1336">83</cx:pt>
          <cx:pt idx="1337">95</cx:pt>
          <cx:pt idx="1338">98</cx:pt>
          <cx:pt idx="1339">83</cx:pt>
          <cx:pt idx="1340">86</cx:pt>
          <cx:pt idx="1341">99</cx:pt>
          <cx:pt idx="1342">86</cx:pt>
          <cx:pt idx="1343">88</cx:pt>
          <cx:pt idx="1344">93</cx:pt>
          <cx:pt idx="1345">98</cx:pt>
          <cx:pt idx="1346">82</cx:pt>
          <cx:pt idx="1347">93</cx:pt>
          <cx:pt idx="1348">80</cx:pt>
          <cx:pt idx="1349">90</cx:pt>
          <cx:pt idx="1350">95</cx:pt>
          <cx:pt idx="1351">90</cx:pt>
          <cx:pt idx="1352">88</cx:pt>
          <cx:pt idx="1353">98</cx:pt>
          <cx:pt idx="1354">100</cx:pt>
          <cx:pt idx="1355">96</cx:pt>
          <cx:pt idx="1356">98</cx:pt>
          <cx:pt idx="1357">89</cx:pt>
          <cx:pt idx="1358">85</cx:pt>
          <cx:pt idx="1359">85</cx:pt>
          <cx:pt idx="1360">96</cx:pt>
          <cx:pt idx="1361">91</cx:pt>
          <cx:pt idx="1362">88</cx:pt>
          <cx:pt idx="1363">87</cx:pt>
          <cx:pt idx="1364">80</cx:pt>
          <cx:pt idx="1365">87</cx:pt>
          <cx:pt idx="1366">95</cx:pt>
          <cx:pt idx="1367">83</cx:pt>
          <cx:pt idx="1368">86</cx:pt>
          <cx:pt idx="1369">82</cx:pt>
          <cx:pt idx="1370">81</cx:pt>
          <cx:pt idx="1371">90</cx:pt>
          <cx:pt idx="1372">80</cx:pt>
          <cx:pt idx="1373">92</cx:pt>
          <cx:pt idx="1374">86</cx:pt>
          <cx:pt idx="1375">85</cx:pt>
          <cx:pt idx="1376">85</cx:pt>
          <cx:pt idx="1377">91</cx:pt>
          <cx:pt idx="1378">96</cx:pt>
          <cx:pt idx="1379">87</cx:pt>
          <cx:pt idx="1380">89</cx:pt>
          <cx:pt idx="1381">99</cx:pt>
          <cx:pt idx="1382">94</cx:pt>
          <cx:pt idx="1383">100</cx:pt>
          <cx:pt idx="1384">86</cx:pt>
          <cx:pt idx="1385">88</cx:pt>
          <cx:pt idx="1386">93</cx:pt>
          <cx:pt idx="1387">96</cx:pt>
          <cx:pt idx="1388">100</cx:pt>
          <cx:pt idx="1389">85</cx:pt>
          <cx:pt idx="1390">84</cx:pt>
          <cx:pt idx="1391">94</cx:pt>
          <cx:pt idx="1392">83</cx:pt>
          <cx:pt idx="1393">85</cx:pt>
          <cx:pt idx="1394">91</cx:pt>
          <cx:pt idx="1395">86</cx:pt>
          <cx:pt idx="1396">81</cx:pt>
          <cx:pt idx="1397">99</cx:pt>
          <cx:pt idx="1398">87</cx:pt>
          <cx:pt idx="1399">80</cx:pt>
          <cx:pt idx="1400">89</cx:pt>
          <cx:pt idx="1401">93</cx:pt>
          <cx:pt idx="1402">97</cx:pt>
          <cx:pt idx="1403">83</cx:pt>
          <cx:pt idx="1404">99</cx:pt>
          <cx:pt idx="1405">100</cx:pt>
          <cx:pt idx="1406">85</cx:pt>
          <cx:pt idx="1407">87</cx:pt>
          <cx:pt idx="1408">80</cx:pt>
          <cx:pt idx="1409">90</cx:pt>
          <cx:pt idx="1410">91</cx:pt>
          <cx:pt idx="1411">85</cx:pt>
          <cx:pt idx="1412">90</cx:pt>
          <cx:pt idx="1413">98</cx:pt>
          <cx:pt idx="1414">94</cx:pt>
          <cx:pt idx="1415">87</cx:pt>
          <cx:pt idx="1416">87</cx:pt>
          <cx:pt idx="1417">82</cx:pt>
          <cx:pt idx="1418">86</cx:pt>
          <cx:pt idx="1419">97</cx:pt>
          <cx:pt idx="1420">82</cx:pt>
          <cx:pt idx="1421">81</cx:pt>
          <cx:pt idx="1422">90</cx:pt>
          <cx:pt idx="1423">81</cx:pt>
          <cx:pt idx="1424">95</cx:pt>
          <cx:pt idx="1425">97</cx:pt>
          <cx:pt idx="1426">87</cx:pt>
          <cx:pt idx="1427">92</cx:pt>
          <cx:pt idx="1428">99</cx:pt>
          <cx:pt idx="1429">80</cx:pt>
          <cx:pt idx="1430">97</cx:pt>
          <cx:pt idx="1431">93</cx:pt>
          <cx:pt idx="1432">81</cx:pt>
          <cx:pt idx="1433">90</cx:pt>
          <cx:pt idx="1434">89</cx:pt>
          <cx:pt idx="1435">89</cx:pt>
          <cx:pt idx="1436">97</cx:pt>
          <cx:pt idx="1437">96</cx:pt>
          <cx:pt idx="1438">95</cx:pt>
          <cx:pt idx="1439">87</cx:pt>
          <cx:pt idx="1440">81</cx:pt>
          <cx:pt idx="1441">83</cx:pt>
          <cx:pt idx="1442">80</cx:pt>
          <cx:pt idx="1443">96</cx:pt>
          <cx:pt idx="1444">83</cx:pt>
          <cx:pt idx="1445">89</cx:pt>
          <cx:pt idx="1446">91</cx:pt>
          <cx:pt idx="1447">98</cx:pt>
          <cx:pt idx="1448">99</cx:pt>
          <cx:pt idx="1449">92</cx:pt>
          <cx:pt idx="1450">90</cx:pt>
          <cx:pt idx="1451">82</cx:pt>
          <cx:pt idx="1452">83</cx:pt>
          <cx:pt idx="1453">81</cx:pt>
          <cx:pt idx="1454">99</cx:pt>
          <cx:pt idx="1455">97</cx:pt>
          <cx:pt idx="1456">86</cx:pt>
          <cx:pt idx="1457">82</cx:pt>
          <cx:pt idx="1458">89</cx:pt>
          <cx:pt idx="1459">99</cx:pt>
          <cx:pt idx="1460">84</cx:pt>
          <cx:pt idx="1461">91</cx:pt>
          <cx:pt idx="1462">86</cx:pt>
          <cx:pt idx="1463">82</cx:pt>
          <cx:pt idx="1464">85</cx:pt>
          <cx:pt idx="1465">83</cx:pt>
          <cx:pt idx="1466">97</cx:pt>
          <cx:pt idx="1467">84</cx:pt>
          <cx:pt idx="1468">84</cx:pt>
          <cx:pt idx="1469">91</cx:pt>
          <cx:pt idx="1470">93</cx:pt>
          <cx:pt idx="1471">90</cx:pt>
          <cx:pt idx="1472">81</cx:pt>
          <cx:pt idx="1473">86</cx:pt>
          <cx:pt idx="1474">81</cx:pt>
          <cx:pt idx="1475">99</cx:pt>
          <cx:pt idx="1476">96</cx:pt>
          <cx:pt idx="1477">94</cx:pt>
          <cx:pt idx="1478">98</cx:pt>
          <cx:pt idx="1479">81</cx:pt>
          <cx:pt idx="1480">99</cx:pt>
          <cx:pt idx="1481">81</cx:pt>
          <cx:pt idx="1482">95</cx:pt>
          <cx:pt idx="1483">80</cx:pt>
          <cx:pt idx="1484">87</cx:pt>
          <cx:pt idx="1485">88</cx:pt>
          <cx:pt idx="1486">85</cx:pt>
          <cx:pt idx="1487">84</cx:pt>
          <cx:pt idx="1488">87</cx:pt>
          <cx:pt idx="1489">89</cx:pt>
          <cx:pt idx="1490">80</cx:pt>
          <cx:pt idx="1491">88</cx:pt>
          <cx:pt idx="1492">82</cx:pt>
          <cx:pt idx="1493">96</cx:pt>
          <cx:pt idx="1494">99</cx:pt>
          <cx:pt idx="1495">87</cx:pt>
          <cx:pt idx="1496">84</cx:pt>
          <cx:pt idx="1497">83</cx:pt>
          <cx:pt idx="1498">82</cx:pt>
          <cx:pt idx="1499">87</cx:pt>
          <cx:pt idx="1500">84</cx:pt>
          <cx:pt idx="1501">83</cx:pt>
          <cx:pt idx="1502">99</cx:pt>
          <cx:pt idx="1503">97</cx:pt>
          <cx:pt idx="1504">81</cx:pt>
          <cx:pt idx="1505">92</cx:pt>
          <cx:pt idx="1506">81</cx:pt>
          <cx:pt idx="1507">89</cx:pt>
          <cx:pt idx="1508">98</cx:pt>
          <cx:pt idx="1509">85</cx:pt>
          <cx:pt idx="1510">82</cx:pt>
          <cx:pt idx="1511">94</cx:pt>
          <cx:pt idx="1512">89</cx:pt>
          <cx:pt idx="1513">86</cx:pt>
          <cx:pt idx="1514">96</cx:pt>
          <cx:pt idx="1515">100</cx:pt>
          <cx:pt idx="1516">90</cx:pt>
          <cx:pt idx="1517">81</cx:pt>
          <cx:pt idx="1518">86</cx:pt>
          <cx:pt idx="1519">86</cx:pt>
          <cx:pt idx="1520">88</cx:pt>
          <cx:pt idx="1521">91</cx:pt>
          <cx:pt idx="1522">93</cx:pt>
          <cx:pt idx="1523">97</cx:pt>
          <cx:pt idx="1524">87</cx:pt>
          <cx:pt idx="1525">88</cx:pt>
          <cx:pt idx="1526">88</cx:pt>
          <cx:pt idx="1527">87</cx:pt>
          <cx:pt idx="1528">83</cx:pt>
          <cx:pt idx="1529">98</cx:pt>
          <cx:pt idx="1530">93</cx:pt>
          <cx:pt idx="1531">82</cx:pt>
          <cx:pt idx="1532">97</cx:pt>
          <cx:pt idx="1533">97</cx:pt>
          <cx:pt idx="1534">87</cx:pt>
          <cx:pt idx="1535">82</cx:pt>
          <cx:pt idx="1536">92</cx:pt>
          <cx:pt idx="1537">92</cx:pt>
          <cx:pt idx="1538">99</cx:pt>
          <cx:pt idx="1539">96</cx:pt>
          <cx:pt idx="1540">90</cx:pt>
          <cx:pt idx="1541">91</cx:pt>
          <cx:pt idx="1542">81</cx:pt>
          <cx:pt idx="1543">99</cx:pt>
          <cx:pt idx="1544">93</cx:pt>
          <cx:pt idx="1545">92</cx:pt>
          <cx:pt idx="1546">92</cx:pt>
          <cx:pt idx="1547">84</cx:pt>
          <cx:pt idx="1548">97</cx:pt>
          <cx:pt idx="1549">82</cx:pt>
          <cx:pt idx="1550">81</cx:pt>
          <cx:pt idx="1551">98</cx:pt>
          <cx:pt idx="1552">89</cx:pt>
          <cx:pt idx="1553">85</cx:pt>
          <cx:pt idx="1554">95</cx:pt>
          <cx:pt idx="1555">92</cx:pt>
          <cx:pt idx="1556">100</cx:pt>
          <cx:pt idx="1557">93</cx:pt>
          <cx:pt idx="1558">97</cx:pt>
          <cx:pt idx="1559">95</cx:pt>
          <cx:pt idx="1560">96</cx:pt>
          <cx:pt idx="1561">80</cx:pt>
          <cx:pt idx="1562">99</cx:pt>
          <cx:pt idx="1563">95</cx:pt>
          <cx:pt idx="1564">94</cx:pt>
          <cx:pt idx="1565">86</cx:pt>
          <cx:pt idx="1566">85</cx:pt>
          <cx:pt idx="1567">91</cx:pt>
          <cx:pt idx="1568">81</cx:pt>
          <cx:pt idx="1569">92</cx:pt>
          <cx:pt idx="1570">91</cx:pt>
          <cx:pt idx="1571">88</cx:pt>
          <cx:pt idx="1572">88</cx:pt>
          <cx:pt idx="1573">87</cx:pt>
          <cx:pt idx="1574">100</cx:pt>
          <cx:pt idx="1575">86</cx:pt>
          <cx:pt idx="1576">81</cx:pt>
          <cx:pt idx="1577">96</cx:pt>
          <cx:pt idx="1578">96</cx:pt>
          <cx:pt idx="1579">85</cx:pt>
          <cx:pt idx="1580">99</cx:pt>
          <cx:pt idx="1581">88</cx:pt>
          <cx:pt idx="1582">88</cx:pt>
          <cx:pt idx="1583">88</cx:pt>
          <cx:pt idx="1584">94</cx:pt>
          <cx:pt idx="1585">97</cx:pt>
          <cx:pt idx="1586">85</cx:pt>
          <cx:pt idx="1587">88</cx:pt>
          <cx:pt idx="1588">81</cx:pt>
          <cx:pt idx="1589">95</cx:pt>
          <cx:pt idx="1590">99</cx:pt>
          <cx:pt idx="1591">88</cx:pt>
          <cx:pt idx="1592">88</cx:pt>
          <cx:pt idx="1593">85</cx:pt>
          <cx:pt idx="1594">85</cx:pt>
          <cx:pt idx="1595">92</cx:pt>
          <cx:pt idx="1596">90</cx:pt>
          <cx:pt idx="1597">95</cx:pt>
          <cx:pt idx="1598">90</cx:pt>
          <cx:pt idx="1599">93</cx:pt>
          <cx:pt idx="1600">99</cx:pt>
          <cx:pt idx="1601">92</cx:pt>
          <cx:pt idx="1602">87</cx:pt>
          <cx:pt idx="1603">88</cx:pt>
          <cx:pt idx="1604">89</cx:pt>
          <cx:pt idx="1605">91</cx:pt>
          <cx:pt idx="1606">88</cx:pt>
          <cx:pt idx="1607">87</cx:pt>
          <cx:pt idx="1608">89</cx:pt>
          <cx:pt idx="1609">99</cx:pt>
          <cx:pt idx="1610">99</cx:pt>
          <cx:pt idx="1611">91</cx:pt>
          <cx:pt idx="1612">96</cx:pt>
          <cx:pt idx="1613">93</cx:pt>
          <cx:pt idx="1614">97</cx:pt>
          <cx:pt idx="1615">93</cx:pt>
          <cx:pt idx="1616">93</cx:pt>
          <cx:pt idx="1617">88</cx:pt>
          <cx:pt idx="1618">94</cx:pt>
          <cx:pt idx="1619">96</cx:pt>
          <cx:pt idx="1620">88</cx:pt>
          <cx:pt idx="1621">96</cx:pt>
          <cx:pt idx="1622">100</cx:pt>
          <cx:pt idx="1623">99</cx:pt>
          <cx:pt idx="1624">82</cx:pt>
          <cx:pt idx="1625">94</cx:pt>
          <cx:pt idx="1626">87</cx:pt>
          <cx:pt idx="1627">100</cx:pt>
          <cx:pt idx="1628">88</cx:pt>
          <cx:pt idx="1629">91</cx:pt>
          <cx:pt idx="1630">90</cx:pt>
          <cx:pt idx="1631">99</cx:pt>
          <cx:pt idx="1632">86</cx:pt>
          <cx:pt idx="1633">92</cx:pt>
          <cx:pt idx="1634">90</cx:pt>
          <cx:pt idx="1635">95</cx:pt>
          <cx:pt idx="1636">87</cx:pt>
          <cx:pt idx="1637">94</cx:pt>
          <cx:pt idx="1638">92</cx:pt>
          <cx:pt idx="1639">90</cx:pt>
          <cx:pt idx="1640">81</cx:pt>
          <cx:pt idx="1641">100</cx:pt>
          <cx:pt idx="1642">93</cx:pt>
          <cx:pt idx="1643">82</cx:pt>
          <cx:pt idx="1644">93</cx:pt>
          <cx:pt idx="1645">83</cx:pt>
          <cx:pt idx="1646">85</cx:pt>
          <cx:pt idx="1647">90</cx:pt>
          <cx:pt idx="1648">83</cx:pt>
          <cx:pt idx="1649">84</cx:pt>
          <cx:pt idx="1650">80</cx:pt>
          <cx:pt idx="1651">100</cx:pt>
          <cx:pt idx="1652">86</cx:pt>
          <cx:pt idx="1653">82</cx:pt>
          <cx:pt idx="1654">86</cx:pt>
          <cx:pt idx="1655">99</cx:pt>
          <cx:pt idx="1656">91</cx:pt>
          <cx:pt idx="1657">80</cx:pt>
          <cx:pt idx="1658">87</cx:pt>
          <cx:pt idx="1659">97</cx:pt>
          <cx:pt idx="1660">96</cx:pt>
          <cx:pt idx="1661">93</cx:pt>
          <cx:pt idx="1662">93</cx:pt>
          <cx:pt idx="1663">92</cx:pt>
          <cx:pt idx="1664">92</cx:pt>
          <cx:pt idx="1665">90</cx:pt>
          <cx:pt idx="1666">97</cx:pt>
          <cx:pt idx="1667">89</cx:pt>
          <cx:pt idx="1668">96</cx:pt>
          <cx:pt idx="1669">90</cx:pt>
          <cx:pt idx="1670">94</cx:pt>
          <cx:pt idx="1671">95</cx:pt>
          <cx:pt idx="1672">88</cx:pt>
          <cx:pt idx="1673">89</cx:pt>
          <cx:pt idx="1674">83</cx:pt>
          <cx:pt idx="1675">93</cx:pt>
          <cx:pt idx="1676">95</cx:pt>
          <cx:pt idx="1677">89</cx:pt>
          <cx:pt idx="1678">100</cx:pt>
          <cx:pt idx="1679">100</cx:pt>
          <cx:pt idx="1680">99</cx:pt>
          <cx:pt idx="1681">99</cx:pt>
          <cx:pt idx="1682">89</cx:pt>
          <cx:pt idx="1683">83</cx:pt>
          <cx:pt idx="1684">95</cx:pt>
          <cx:pt idx="1685">87</cx:pt>
          <cx:pt idx="1686">92</cx:pt>
          <cx:pt idx="1687">86</cx:pt>
          <cx:pt idx="1688">91</cx:pt>
          <cx:pt idx="1689">93</cx:pt>
          <cx:pt idx="1690">83</cx:pt>
          <cx:pt idx="1691">88</cx:pt>
          <cx:pt idx="1692">89</cx:pt>
          <cx:pt idx="1693">98</cx:pt>
          <cx:pt idx="1694">91</cx:pt>
          <cx:pt idx="1695">82</cx:pt>
          <cx:pt idx="1696">95</cx:pt>
          <cx:pt idx="1697">91</cx:pt>
          <cx:pt idx="1698">94</cx:pt>
          <cx:pt idx="1699">88</cx:pt>
          <cx:pt idx="1700">100</cx:pt>
          <cx:pt idx="1701">96</cx:pt>
          <cx:pt idx="1702">98</cx:pt>
          <cx:pt idx="1703">81</cx:pt>
          <cx:pt idx="1704">88</cx:pt>
          <cx:pt idx="1705">88</cx:pt>
          <cx:pt idx="1706">84</cx:pt>
          <cx:pt idx="1707">85</cx:pt>
          <cx:pt idx="1708">84</cx:pt>
          <cx:pt idx="1709">95</cx:pt>
          <cx:pt idx="1710">92</cx:pt>
          <cx:pt idx="1711">90</cx:pt>
          <cx:pt idx="1712">81</cx:pt>
          <cx:pt idx="1713">93</cx:pt>
          <cx:pt idx="1714">99</cx:pt>
          <cx:pt idx="1715">89</cx:pt>
          <cx:pt idx="1716">89</cx:pt>
          <cx:pt idx="1717">83</cx:pt>
          <cx:pt idx="1718">92</cx:pt>
          <cx:pt idx="1719">85</cx:pt>
          <cx:pt idx="1720">97</cx:pt>
          <cx:pt idx="1721">80</cx:pt>
          <cx:pt idx="1722">99</cx:pt>
          <cx:pt idx="1723">97</cx:pt>
          <cx:pt idx="1724">89</cx:pt>
          <cx:pt idx="1725">80</cx:pt>
          <cx:pt idx="1726">93</cx:pt>
          <cx:pt idx="1727">85</cx:pt>
          <cx:pt idx="1728">88</cx:pt>
          <cx:pt idx="1729">105</cx:pt>
          <cx:pt idx="1730">102</cx:pt>
          <cx:pt idx="1731">103</cx:pt>
          <cx:pt idx="1732">95</cx:pt>
          <cx:pt idx="1733">104</cx:pt>
          <cx:pt idx="1734">98</cx:pt>
          <cx:pt idx="1735">101</cx:pt>
          <cx:pt idx="1736">105</cx:pt>
          <cx:pt idx="1737">97</cx:pt>
          <cx:pt idx="1738">98</cx:pt>
          <cx:pt idx="1739">95</cx:pt>
          <cx:pt idx="1740">95</cx:pt>
          <cx:pt idx="1741">102</cx:pt>
          <cx:pt idx="1742">103</cx:pt>
          <cx:pt idx="1743">100</cx:pt>
          <cx:pt idx="1744">96</cx:pt>
          <cx:pt idx="1745">97</cx:pt>
          <cx:pt idx="1746">95</cx:pt>
          <cx:pt idx="1747">96</cx:pt>
          <cx:pt idx="1748">103</cx:pt>
          <cx:pt idx="1749">105</cx:pt>
          <cx:pt idx="1750">105</cx:pt>
          <cx:pt idx="1751">100</cx:pt>
          <cx:pt idx="1752">102</cx:pt>
          <cx:pt idx="1753">103</cx:pt>
          <cx:pt idx="1754">97</cx:pt>
          <cx:pt idx="1755">104</cx:pt>
          <cx:pt idx="1756">96</cx:pt>
          <cx:pt idx="1757">105</cx:pt>
          <cx:pt idx="1758">105</cx:pt>
          <cx:pt idx="1759">102</cx:pt>
          <cx:pt idx="1760">95</cx:pt>
          <cx:pt idx="1761">100</cx:pt>
          <cx:pt idx="1762">96</cx:pt>
          <cx:pt idx="1763">97</cx:pt>
          <cx:pt idx="1764">101</cx:pt>
          <cx:pt idx="1765">104</cx:pt>
          <cx:pt idx="1766">105</cx:pt>
          <cx:pt idx="1767">105</cx:pt>
          <cx:pt idx="1768">97</cx:pt>
          <cx:pt idx="1769">100</cx:pt>
          <cx:pt idx="1770">99</cx:pt>
          <cx:pt idx="1771">100</cx:pt>
          <cx:pt idx="1772">105</cx:pt>
          <cx:pt idx="1773">95</cx:pt>
          <cx:pt idx="1774">81</cx:pt>
          <cx:pt idx="1775">82</cx:pt>
          <cx:pt idx="1776">89</cx:pt>
          <cx:pt idx="1777">84</cx:pt>
          <cx:pt idx="1778">100</cx:pt>
          <cx:pt idx="1779">96</cx:pt>
          <cx:pt idx="1780">94</cx:pt>
          <cx:pt idx="1781">94</cx:pt>
          <cx:pt idx="1782">83</cx:pt>
          <cx:pt idx="1783">95</cx:pt>
          <cx:pt idx="1784">86</cx:pt>
          <cx:pt idx="1785">93</cx:pt>
          <cx:pt idx="1786">89</cx:pt>
          <cx:pt idx="1787">89</cx:pt>
          <cx:pt idx="1788">91</cx:pt>
          <cx:pt idx="1789">88</cx:pt>
          <cx:pt idx="1790">92</cx:pt>
          <cx:pt idx="1791">89</cx:pt>
          <cx:pt idx="1792">86</cx:pt>
          <cx:pt idx="1793">83</cx:pt>
          <cx:pt idx="1794">87</cx:pt>
          <cx:pt idx="1795">100</cx:pt>
          <cx:pt idx="1796">85</cx:pt>
          <cx:pt idx="1797">95</cx:pt>
          <cx:pt idx="1798">95</cx:pt>
          <cx:pt idx="1799">85</cx:pt>
          <cx:pt idx="1800">89</cx:pt>
          <cx:pt idx="1801">91</cx:pt>
          <cx:pt idx="1802">82</cx:pt>
          <cx:pt idx="1803">89</cx:pt>
          <cx:pt idx="1804">93</cx:pt>
          <cx:pt idx="1805">84</cx:pt>
          <cx:pt idx="1806">92</cx:pt>
          <cx:pt idx="1807">82</cx:pt>
          <cx:pt idx="1808">100</cx:pt>
          <cx:pt idx="1809">99</cx:pt>
          <cx:pt idx="1810">87</cx:pt>
          <cx:pt idx="1811">93</cx:pt>
          <cx:pt idx="1812">82</cx:pt>
          <cx:pt idx="1813">93</cx:pt>
          <cx:pt idx="1814">82</cx:pt>
          <cx:pt idx="1815">90</cx:pt>
          <cx:pt idx="1816">97</cx:pt>
          <cx:pt idx="1817">98</cx:pt>
          <cx:pt idx="1818">98</cx:pt>
          <cx:pt idx="1819">100</cx:pt>
          <cx:pt idx="1820">81</cx:pt>
          <cx:pt idx="1821">86</cx:pt>
          <cx:pt idx="1822">98</cx:pt>
          <cx:pt idx="1823">82</cx:pt>
          <cx:pt idx="1824">85</cx:pt>
          <cx:pt idx="1825">94</cx:pt>
          <cx:pt idx="1826">97</cx:pt>
          <cx:pt idx="1827">88</cx:pt>
          <cx:pt idx="1828">88</cx:pt>
          <cx:pt idx="1829">99</cx:pt>
          <cx:pt idx="1830">83</cx:pt>
          <cx:pt idx="1831">83</cx:pt>
          <cx:pt idx="1832">84</cx:pt>
          <cx:pt idx="1833">95</cx:pt>
          <cx:pt idx="1834">84</cx:pt>
          <cx:pt idx="1835">87</cx:pt>
          <cx:pt idx="1836">93</cx:pt>
          <cx:pt idx="1837">88</cx:pt>
          <cx:pt idx="1838">100</cx:pt>
          <cx:pt idx="1839">94</cx:pt>
          <cx:pt idx="1840">98</cx:pt>
          <cx:pt idx="1841">93</cx:pt>
          <cx:pt idx="1842">81</cx:pt>
          <cx:pt idx="1843">85</cx:pt>
          <cx:pt idx="1844">96</cx:pt>
          <cx:pt idx="1845">93</cx:pt>
          <cx:pt idx="1846">98</cx:pt>
          <cx:pt idx="1847">81</cx:pt>
          <cx:pt idx="1848">90</cx:pt>
          <cx:pt idx="1849">95</cx:pt>
          <cx:pt idx="1850">81</cx:pt>
          <cx:pt idx="1851">98</cx:pt>
          <cx:pt idx="1852">89</cx:pt>
          <cx:pt idx="1853">91</cx:pt>
          <cx:pt idx="1854">82</cx:pt>
          <cx:pt idx="1855">89</cx:pt>
          <cx:pt idx="1856">80</cx:pt>
          <cx:pt idx="1857">86</cx:pt>
          <cx:pt idx="1858">91</cx:pt>
          <cx:pt idx="1859">92</cx:pt>
          <cx:pt idx="1860">88</cx:pt>
          <cx:pt idx="1861">100</cx:pt>
          <cx:pt idx="1862">92</cx:pt>
          <cx:pt idx="1863">88</cx:pt>
          <cx:pt idx="1864">93</cx:pt>
          <cx:pt idx="1865">93</cx:pt>
          <cx:pt idx="1866">87</cx:pt>
          <cx:pt idx="1867">87</cx:pt>
          <cx:pt idx="1868">84</cx:pt>
          <cx:pt idx="1869">83</cx:pt>
          <cx:pt idx="1870">82</cx:pt>
          <cx:pt idx="1871">85</cx:pt>
          <cx:pt idx="1872">93</cx:pt>
          <cx:pt idx="1873">93</cx:pt>
          <cx:pt idx="1874">99</cx:pt>
          <cx:pt idx="1875">89</cx:pt>
          <cx:pt idx="1876">85</cx:pt>
          <cx:pt idx="1877">96</cx:pt>
          <cx:pt idx="1878">94</cx:pt>
          <cx:pt idx="1879">94</cx:pt>
          <cx:pt idx="1880">96</cx:pt>
          <cx:pt idx="1881">98</cx:pt>
          <cx:pt idx="1882">99</cx:pt>
          <cx:pt idx="1883">80</cx:pt>
          <cx:pt idx="1884">90</cx:pt>
          <cx:pt idx="1885">89</cx:pt>
          <cx:pt idx="1886">86</cx:pt>
          <cx:pt idx="1887">99</cx:pt>
          <cx:pt idx="1888">81</cx:pt>
          <cx:pt idx="1889">81</cx:pt>
          <cx:pt idx="1890">100</cx:pt>
          <cx:pt idx="1891">80</cx:pt>
          <cx:pt idx="1892">84</cx:pt>
          <cx:pt idx="1893">88</cx:pt>
          <cx:pt idx="1894">87</cx:pt>
          <cx:pt idx="1895">82</cx:pt>
          <cx:pt idx="1896">98</cx:pt>
          <cx:pt idx="1897">88</cx:pt>
          <cx:pt idx="1898">99</cx:pt>
          <cx:pt idx="1899">97</cx:pt>
          <cx:pt idx="1900">88</cx:pt>
          <cx:pt idx="1901">97</cx:pt>
          <cx:pt idx="1902">82</cx:pt>
          <cx:pt idx="1903">80</cx:pt>
          <cx:pt idx="1904">99</cx:pt>
          <cx:pt idx="1905">84</cx:pt>
          <cx:pt idx="1906">100</cx:pt>
          <cx:pt idx="1907">91</cx:pt>
          <cx:pt idx="1908">100</cx:pt>
          <cx:pt idx="1909">96</cx:pt>
          <cx:pt idx="1910">100</cx:pt>
          <cx:pt idx="1911">99</cx:pt>
          <cx:pt idx="1912">88</cx:pt>
          <cx:pt idx="1913">100</cx:pt>
          <cx:pt idx="1914">87</cx:pt>
          <cx:pt idx="1915">97</cx:pt>
          <cx:pt idx="1916">99</cx:pt>
          <cx:pt idx="1917">100</cx:pt>
          <cx:pt idx="1918">95</cx:pt>
          <cx:pt idx="1919">103</cx:pt>
          <cx:pt idx="1920">102</cx:pt>
          <cx:pt idx="1921">100</cx:pt>
          <cx:pt idx="1922">100</cx:pt>
          <cx:pt idx="1923">97</cx:pt>
          <cx:pt idx="1924">102</cx:pt>
          <cx:pt idx="1925">97</cx:pt>
          <cx:pt idx="1926">100</cx:pt>
          <cx:pt idx="1927">96</cx:pt>
          <cx:pt idx="1928">104</cx:pt>
          <cx:pt idx="1929">102</cx:pt>
          <cx:pt idx="1930">99</cx:pt>
          <cx:pt idx="1931">104</cx:pt>
          <cx:pt idx="1932">96</cx:pt>
          <cx:pt idx="1933">105</cx:pt>
          <cx:pt idx="1934">96</cx:pt>
          <cx:pt idx="1935">101</cx:pt>
          <cx:pt idx="1936">96</cx:pt>
          <cx:pt idx="1937">105</cx:pt>
          <cx:pt idx="1938">104</cx:pt>
          <cx:pt idx="1939">103</cx:pt>
          <cx:pt idx="1940">97</cx:pt>
          <cx:pt idx="1941">97</cx:pt>
          <cx:pt idx="1942">96</cx:pt>
          <cx:pt idx="1943">101</cx:pt>
          <cx:pt idx="1944">104</cx:pt>
          <cx:pt idx="1945">97</cx:pt>
          <cx:pt idx="1946">99</cx:pt>
          <cx:pt idx="1947">98</cx:pt>
          <cx:pt idx="1948">105</cx:pt>
          <cx:pt idx="1949">103</cx:pt>
          <cx:pt idx="1950">102</cx:pt>
          <cx:pt idx="1951">95</cx:pt>
          <cx:pt idx="1952">96</cx:pt>
          <cx:pt idx="1953">96</cx:pt>
          <cx:pt idx="1954">100</cx:pt>
          <cx:pt idx="1955">101</cx:pt>
          <cx:pt idx="1956">101</cx:pt>
          <cx:pt idx="1957">104</cx:pt>
          <cx:pt idx="1958">98</cx:pt>
          <cx:pt idx="1959">100</cx:pt>
          <cx:pt idx="1960">95</cx:pt>
          <cx:pt idx="1961">97</cx:pt>
          <cx:pt idx="1962">96</cx:pt>
          <cx:pt idx="1963">88</cx:pt>
          <cx:pt idx="1964">91</cx:pt>
          <cx:pt idx="1965">90</cx:pt>
          <cx:pt idx="1966">97</cx:pt>
          <cx:pt idx="1967">94</cx:pt>
          <cx:pt idx="1968">86</cx:pt>
          <cx:pt idx="1969">92</cx:pt>
          <cx:pt idx="1970">100</cx:pt>
          <cx:pt idx="1971">87</cx:pt>
          <cx:pt idx="1972">83</cx:pt>
          <cx:pt idx="1973">95</cx:pt>
          <cx:pt idx="1974">83</cx:pt>
          <cx:pt idx="1975">98</cx:pt>
          <cx:pt idx="1976">95</cx:pt>
          <cx:pt idx="1977">85</cx:pt>
          <cx:pt idx="1978">85</cx:pt>
          <cx:pt idx="1979">80</cx:pt>
          <cx:pt idx="1980">86</cx:pt>
          <cx:pt idx="1981">87</cx:pt>
          <cx:pt idx="1982">91</cx:pt>
          <cx:pt idx="1983">99</cx:pt>
          <cx:pt idx="1984">93</cx:pt>
          <cx:pt idx="1985">93</cx:pt>
          <cx:pt idx="1986">94</cx:pt>
          <cx:pt idx="1987">89</cx:pt>
          <cx:pt idx="1988">83</cx:pt>
          <cx:pt idx="1989">93</cx:pt>
          <cx:pt idx="1990">81</cx:pt>
          <cx:pt idx="1991">80</cx:pt>
          <cx:pt idx="1992">82</cx:pt>
          <cx:pt idx="1993">84</cx:pt>
          <cx:pt idx="1994">99</cx:pt>
          <cx:pt idx="1995">90</cx:pt>
          <cx:pt idx="1996">96</cx:pt>
          <cx:pt idx="1997">86</cx:pt>
          <cx:pt idx="1998">93</cx:pt>
          <cx:pt idx="1999">85</cx:pt>
          <cx:pt idx="2000">97</cx:pt>
          <cx:pt idx="2001">82</cx:pt>
          <cx:pt idx="2002">86</cx:pt>
          <cx:pt idx="2003">87</cx:pt>
          <cx:pt idx="2004">82</cx:pt>
          <cx:pt idx="2005">95</cx:pt>
          <cx:pt idx="2006">86</cx:pt>
          <cx:pt idx="2007">81</cx:pt>
          <cx:pt idx="2008">80</cx:pt>
          <cx:pt idx="2009">81</cx:pt>
          <cx:pt idx="2010">86</cx:pt>
          <cx:pt idx="2011">95</cx:pt>
          <cx:pt idx="2012">92</cx:pt>
          <cx:pt idx="2013">92</cx:pt>
          <cx:pt idx="2014">87</cx:pt>
          <cx:pt idx="2015">100</cx:pt>
          <cx:pt idx="2016">90</cx:pt>
          <cx:pt idx="2017">93</cx:pt>
          <cx:pt idx="2018">89</cx:pt>
          <cx:pt idx="2019">83</cx:pt>
          <cx:pt idx="2020">88</cx:pt>
          <cx:pt idx="2021">83</cx:pt>
          <cx:pt idx="2022">100</cx:pt>
          <cx:pt idx="2023">98</cx:pt>
          <cx:pt idx="2024">88</cx:pt>
          <cx:pt idx="2025">91</cx:pt>
          <cx:pt idx="2026">100</cx:pt>
          <cx:pt idx="2027">82</cx:pt>
          <cx:pt idx="2028">82</cx:pt>
          <cx:pt idx="2029">88</cx:pt>
          <cx:pt idx="2030">89</cx:pt>
          <cx:pt idx="2031">96</cx:pt>
          <cx:pt idx="2032">94</cx:pt>
          <cx:pt idx="2033">92</cx:pt>
          <cx:pt idx="2034">81</cx:pt>
          <cx:pt idx="2035">93</cx:pt>
          <cx:pt idx="2036">81</cx:pt>
          <cx:pt idx="2037">82</cx:pt>
          <cx:pt idx="2038">81</cx:pt>
          <cx:pt idx="2039">83</cx:pt>
          <cx:pt idx="2040">83</cx:pt>
          <cx:pt idx="2041">80</cx:pt>
          <cx:pt idx="2042">87</cx:pt>
          <cx:pt idx="2043">83</cx:pt>
          <cx:pt idx="2044">85</cx:pt>
          <cx:pt idx="2045">89</cx:pt>
          <cx:pt idx="2046">100</cx:pt>
          <cx:pt idx="2047">84</cx:pt>
          <cx:pt idx="2048">90</cx:pt>
          <cx:pt idx="2049">92</cx:pt>
          <cx:pt idx="2050">84</cx:pt>
          <cx:pt idx="2051">95</cx:pt>
          <cx:pt idx="2052">80</cx:pt>
          <cx:pt idx="2053">91</cx:pt>
          <cx:pt idx="2054">95</cx:pt>
          <cx:pt idx="2055">96</cx:pt>
          <cx:pt idx="2056">87</cx:pt>
          <cx:pt idx="2057">100</cx:pt>
          <cx:pt idx="2058">82</cx:pt>
          <cx:pt idx="2059">84</cx:pt>
          <cx:pt idx="2060">95</cx:pt>
          <cx:pt idx="2061">81</cx:pt>
          <cx:pt idx="2062">85</cx:pt>
          <cx:pt idx="2063">82</cx:pt>
          <cx:pt idx="2064">89</cx:pt>
          <cx:pt idx="2065">95</cx:pt>
          <cx:pt idx="2066">97</cx:pt>
          <cx:pt idx="2067">96</cx:pt>
          <cx:pt idx="2068">84</cx:pt>
          <cx:pt idx="2069">97</cx:pt>
          <cx:pt idx="2070">95</cx:pt>
          <cx:pt idx="2071">92</cx:pt>
          <cx:pt idx="2072">83</cx:pt>
          <cx:pt idx="2073">81</cx:pt>
          <cx:pt idx="2074">85</cx:pt>
          <cx:pt idx="2075">80</cx:pt>
          <cx:pt idx="2076">80</cx:pt>
          <cx:pt idx="2077">83</cx:pt>
          <cx:pt idx="2078">93</cx:pt>
          <cx:pt idx="2079">90</cx:pt>
          <cx:pt idx="2080">83</cx:pt>
          <cx:pt idx="2081">95</cx:pt>
          <cx:pt idx="2082">85</cx:pt>
          <cx:pt idx="2083">85</cx:pt>
          <cx:pt idx="2084">80</cx:pt>
          <cx:pt idx="2085">84</cx:pt>
          <cx:pt idx="2086">87</cx:pt>
          <cx:pt idx="2087">84</cx:pt>
          <cx:pt idx="2088">92</cx:pt>
          <cx:pt idx="2089">93</cx:pt>
          <cx:pt idx="2090">93</cx:pt>
          <cx:pt idx="2091">95</cx:pt>
          <cx:pt idx="2092">89</cx:pt>
          <cx:pt idx="2093">96</cx:pt>
          <cx:pt idx="2094">93</cx:pt>
          <cx:pt idx="2095">93</cx:pt>
          <cx:pt idx="2096">87</cx:pt>
          <cx:pt idx="2097">99</cx:pt>
          <cx:pt idx="2098">92</cx:pt>
          <cx:pt idx="2099">92</cx:pt>
          <cx:pt idx="2100">93</cx:pt>
          <cx:pt idx="2101">94</cx:pt>
          <cx:pt idx="2102">85</cx:pt>
          <cx:pt idx="2103">97</cx:pt>
          <cx:pt idx="2104">82</cx:pt>
          <cx:pt idx="2105">87</cx:pt>
          <cx:pt idx="2106">94</cx:pt>
          <cx:pt idx="2107">88</cx:pt>
          <cx:pt idx="2108">80</cx:pt>
          <cx:pt idx="2109">85</cx:pt>
          <cx:pt idx="2110">100</cx:pt>
          <cx:pt idx="2111">95</cx:pt>
          <cx:pt idx="2112">100</cx:pt>
          <cx:pt idx="2113">90</cx:pt>
          <cx:pt idx="2114">97</cx:pt>
          <cx:pt idx="2115">94</cx:pt>
          <cx:pt idx="2116">96</cx:pt>
          <cx:pt idx="2117">98</cx:pt>
          <cx:pt idx="2118">81</cx:pt>
          <cx:pt idx="2119">94</cx:pt>
          <cx:pt idx="2120">83</cx:pt>
          <cx:pt idx="2121">89</cx:pt>
          <cx:pt idx="2122">91</cx:pt>
          <cx:pt idx="2123">98</cx:pt>
          <cx:pt idx="2124">85</cx:pt>
          <cx:pt idx="2125">92</cx:pt>
          <cx:pt idx="2126">87</cx:pt>
          <cx:pt idx="2127">88</cx:pt>
          <cx:pt idx="2128">88</cx:pt>
          <cx:pt idx="2129">81</cx:pt>
          <cx:pt idx="2130">84</cx:pt>
          <cx:pt idx="2131">87</cx:pt>
          <cx:pt idx="2132">81</cx:pt>
          <cx:pt idx="2133">100</cx:pt>
          <cx:pt idx="2134">92</cx:pt>
          <cx:pt idx="2135">95</cx:pt>
          <cx:pt idx="2136">88</cx:pt>
          <cx:pt idx="2137">81</cx:pt>
          <cx:pt idx="2138">87</cx:pt>
          <cx:pt idx="2139">82</cx:pt>
          <cx:pt idx="2140">90</cx:pt>
          <cx:pt idx="2141">92</cx:pt>
          <cx:pt idx="2142">81</cx:pt>
          <cx:pt idx="2143">87</cx:pt>
          <cx:pt idx="2144">80</cx:pt>
          <cx:pt idx="2145">93</cx:pt>
          <cx:pt idx="2146">86</cx:pt>
          <cx:pt idx="2147">93</cx:pt>
          <cx:pt idx="2148">100</cx:pt>
          <cx:pt idx="2149">98</cx:pt>
          <cx:pt idx="2150">96</cx:pt>
          <cx:pt idx="2151">93</cx:pt>
          <cx:pt idx="2152">94</cx:pt>
          <cx:pt idx="2153">92</cx:pt>
          <cx:pt idx="2154">85</cx:pt>
          <cx:pt idx="2155">90</cx:pt>
          <cx:pt idx="2156">90</cx:pt>
          <cx:pt idx="2157">95</cx:pt>
          <cx:pt idx="2158">96</cx:pt>
          <cx:pt idx="2159">97</cx:pt>
          <cx:pt idx="2160">91</cx:pt>
          <cx:pt idx="2161">96</cx:pt>
          <cx:pt idx="2162">93</cx:pt>
          <cx:pt idx="2163">92</cx:pt>
          <cx:pt idx="2164">80</cx:pt>
          <cx:pt idx="2165">83</cx:pt>
          <cx:pt idx="2166">96</cx:pt>
          <cx:pt idx="2167">82</cx:pt>
          <cx:pt idx="2168">88</cx:pt>
          <cx:pt idx="2169">98</cx:pt>
          <cx:pt idx="2170">89</cx:pt>
          <cx:pt idx="2171">98</cx:pt>
          <cx:pt idx="2172">93</cx:pt>
          <cx:pt idx="2173">89</cx:pt>
          <cx:pt idx="2174">96</cx:pt>
          <cx:pt idx="2175">86</cx:pt>
          <cx:pt idx="2176">94</cx:pt>
          <cx:pt idx="2177">96</cx:pt>
          <cx:pt idx="2178">100</cx:pt>
          <cx:pt idx="2179">90</cx:pt>
          <cx:pt idx="2180">83</cx:pt>
          <cx:pt idx="2181">99</cx:pt>
          <cx:pt idx="2182">89</cx:pt>
          <cx:pt idx="2183">80</cx:pt>
          <cx:pt idx="2184">97</cx:pt>
          <cx:pt idx="2185">96</cx:pt>
          <cx:pt idx="2186">87</cx:pt>
          <cx:pt idx="2187">97</cx:pt>
          <cx:pt idx="2188">84</cx:pt>
          <cx:pt idx="2189">81</cx:pt>
          <cx:pt idx="2190">96</cx:pt>
          <cx:pt idx="2191">91</cx:pt>
          <cx:pt idx="2192">97</cx:pt>
          <cx:pt idx="2193">99</cx:pt>
          <cx:pt idx="2194">89</cx:pt>
          <cx:pt idx="2195">90</cx:pt>
          <cx:pt idx="2196">100</cx:pt>
          <cx:pt idx="2197">83</cx:pt>
          <cx:pt idx="2198">84</cx:pt>
          <cx:pt idx="2199">80</cx:pt>
          <cx:pt idx="2200">81</cx:pt>
          <cx:pt idx="2201">93</cx:pt>
          <cx:pt idx="2202">83</cx:pt>
          <cx:pt idx="2203">89</cx:pt>
          <cx:pt idx="2204">81</cx:pt>
          <cx:pt idx="2205">85</cx:pt>
          <cx:pt idx="2206">99</cx:pt>
          <cx:pt idx="2207">96</cx:pt>
          <cx:pt idx="2208">87</cx:pt>
          <cx:pt idx="2209">92</cx:pt>
          <cx:pt idx="2210">82</cx:pt>
          <cx:pt idx="2211">82</cx:pt>
          <cx:pt idx="2212">96</cx:pt>
          <cx:pt idx="2213">86</cx:pt>
          <cx:pt idx="2214">98</cx:pt>
          <cx:pt idx="2215">92</cx:pt>
          <cx:pt idx="2216">97</cx:pt>
          <cx:pt idx="2217">89</cx:pt>
          <cx:pt idx="2218">99</cx:pt>
          <cx:pt idx="2219">92</cx:pt>
          <cx:pt idx="2220">81</cx:pt>
          <cx:pt idx="2221">95</cx:pt>
          <cx:pt idx="2222">94</cx:pt>
          <cx:pt idx="2223">84</cx:pt>
          <cx:pt idx="2224">90</cx:pt>
          <cx:pt idx="2225">83</cx:pt>
          <cx:pt idx="2226">97</cx:pt>
          <cx:pt idx="2227">100</cx:pt>
          <cx:pt idx="2228">90</cx:pt>
          <cx:pt idx="2229">82</cx:pt>
          <cx:pt idx="2230">89</cx:pt>
          <cx:pt idx="2231">99</cx:pt>
          <cx:pt idx="2232">94</cx:pt>
          <cx:pt idx="2233">93</cx:pt>
          <cx:pt idx="2234">84</cx:pt>
          <cx:pt idx="2235">83</cx:pt>
          <cx:pt idx="2236">98</cx:pt>
          <cx:pt idx="2237">84</cx:pt>
          <cx:pt idx="2238">94</cx:pt>
          <cx:pt idx="2239">90</cx:pt>
          <cx:pt idx="2240">87</cx:pt>
          <cx:pt idx="2241">91</cx:pt>
          <cx:pt idx="2242">82</cx:pt>
          <cx:pt idx="2243">89</cx:pt>
          <cx:pt idx="2244">83</cx:pt>
          <cx:pt idx="2245">80</cx:pt>
          <cx:pt idx="2246">94</cx:pt>
          <cx:pt idx="2247">99</cx:pt>
          <cx:pt idx="2248">96</cx:pt>
          <cx:pt idx="2249">96</cx:pt>
          <cx:pt idx="2250">93</cx:pt>
          <cx:pt idx="2251">96</cx:pt>
          <cx:pt idx="2252">90</cx:pt>
          <cx:pt idx="2253">108</cx:pt>
          <cx:pt idx="2254">113</cx:pt>
          <cx:pt idx="2255">112</cx:pt>
          <cx:pt idx="2256">100</cx:pt>
          <cx:pt idx="2257">108</cx:pt>
          <cx:pt idx="2258">111</cx:pt>
          <cx:pt idx="2259">109</cx:pt>
          <cx:pt idx="2260">101</cx:pt>
          <cx:pt idx="2261">107</cx:pt>
          <cx:pt idx="2262">108</cx:pt>
          <cx:pt idx="2263">103</cx:pt>
          <cx:pt idx="2264">103</cx:pt>
          <cx:pt idx="2265">104</cx:pt>
          <cx:pt idx="2266">109</cx:pt>
          <cx:pt idx="2267">114</cx:pt>
          <cx:pt idx="2268">107</cx:pt>
          <cx:pt idx="2269">106</cx:pt>
          <cx:pt idx="2270">101</cx:pt>
          <cx:pt idx="2271">110</cx:pt>
          <cx:pt idx="2272">99</cx:pt>
          <cx:pt idx="2273">100</cx:pt>
          <cx:pt idx="2274">103</cx:pt>
          <cx:pt idx="2275">115</cx:pt>
          <cx:pt idx="2276">100</cx:pt>
          <cx:pt idx="2277">114</cx:pt>
          <cx:pt idx="2278">101</cx:pt>
          <cx:pt idx="2279">104</cx:pt>
          <cx:pt idx="2280">102</cx:pt>
          <cx:pt idx="2281">102</cx:pt>
          <cx:pt idx="2282">99</cx:pt>
          <cx:pt idx="2283">109</cx:pt>
          <cx:pt idx="2284">100</cx:pt>
          <cx:pt idx="2285">113</cx:pt>
          <cx:pt idx="2286">107</cx:pt>
          <cx:pt idx="2287">100</cx:pt>
          <cx:pt idx="2288">107</cx:pt>
          <cx:pt idx="2289">104</cx:pt>
          <cx:pt idx="2290">113</cx:pt>
          <cx:pt idx="2291">110</cx:pt>
          <cx:pt idx="2292">113</cx:pt>
          <cx:pt idx="2293">108</cx:pt>
          <cx:pt idx="2294">114</cx:pt>
          <cx:pt idx="2295">114</cx:pt>
          <cx:pt idx="2296">116</cx:pt>
          <cx:pt idx="2297">119</cx:pt>
          <cx:pt idx="2298">124</cx:pt>
          <cx:pt idx="2299">117</cx:pt>
          <cx:pt idx="2300">118</cx:pt>
          <cx:pt idx="2301">121</cx:pt>
          <cx:pt idx="2302">120</cx:pt>
          <cx:pt idx="2303">121</cx:pt>
          <cx:pt idx="2304">119</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98</cx:pt>
          <cx:pt idx="2322">89</cx:pt>
          <cx:pt idx="2323">100</cx:pt>
          <cx:pt idx="2324">98</cx:pt>
          <cx:pt idx="2325">89</cx:pt>
          <cx:pt idx="2326">90</cx:pt>
          <cx:pt idx="2327">97</cx:pt>
          <cx:pt idx="2328">82</cx:pt>
          <cx:pt idx="2329">89</cx:pt>
          <cx:pt idx="2330">89</cx:pt>
          <cx:pt idx="2331">82</cx:pt>
          <cx:pt idx="2332">90</cx:pt>
          <cx:pt idx="2333">80</cx:pt>
          <cx:pt idx="2334">89</cx:pt>
          <cx:pt idx="2335">92</cx:pt>
          <cx:pt idx="2336">100</cx:pt>
          <cx:pt idx="2337">93</cx:pt>
          <cx:pt idx="2338">89</cx:pt>
          <cx:pt idx="2339">89</cx:pt>
          <cx:pt idx="2340">93</cx:pt>
          <cx:pt idx="2341">96</cx:pt>
          <cx:pt idx="2342">90</cx:pt>
          <cx:pt idx="2343">87</cx:pt>
          <cx:pt idx="2344">98</cx:pt>
          <cx:pt idx="2345">97</cx:pt>
          <cx:pt idx="2346">98</cx:pt>
          <cx:pt idx="2347">100</cx:pt>
          <cx:pt idx="2348">82</cx:pt>
          <cx:pt idx="2349">96</cx:pt>
          <cx:pt idx="2350">81</cx:pt>
          <cx:pt idx="2351">96</cx:pt>
          <cx:pt idx="2352">90</cx:pt>
          <cx:pt idx="2353">87</cx:pt>
          <cx:pt idx="2354">80</cx:pt>
          <cx:pt idx="2355">100</cx:pt>
          <cx:pt idx="2356">94</cx:pt>
          <cx:pt idx="2357">94</cx:pt>
          <cx:pt idx="2358">84</cx:pt>
          <cx:pt idx="2359">100</cx:pt>
          <cx:pt idx="2360">86</cx:pt>
          <cx:pt idx="2361">94</cx:pt>
          <cx:pt idx="2362">83</cx:pt>
          <cx:pt idx="2363">87</cx:pt>
          <cx:pt idx="2364">84</cx:pt>
          <cx:pt idx="2365">82</cx:pt>
          <cx:pt idx="2366">80</cx:pt>
          <cx:pt idx="2367">81</cx:pt>
          <cx:pt idx="2368">83</cx:pt>
          <cx:pt idx="2369">90</cx:pt>
          <cx:pt idx="2370">84</cx:pt>
          <cx:pt idx="2371">81</cx:pt>
          <cx:pt idx="2372">82</cx:pt>
          <cx:pt idx="2373">88</cx:pt>
          <cx:pt idx="2374">81</cx:pt>
          <cx:pt idx="2375">89</cx:pt>
          <cx:pt idx="2376">83</cx:pt>
          <cx:pt idx="2377">90</cx:pt>
          <cx:pt idx="2378">96</cx:pt>
          <cx:pt idx="2379">89</cx:pt>
          <cx:pt idx="2380">97</cx:pt>
          <cx:pt idx="2381">94</cx:pt>
          <cx:pt idx="2382">92</cx:pt>
          <cx:pt idx="2383">87</cx:pt>
          <cx:pt idx="2384">89</cx:pt>
          <cx:pt idx="2385">96</cx:pt>
          <cx:pt idx="2386">94</cx:pt>
          <cx:pt idx="2387">94</cx:pt>
          <cx:pt idx="2388">86</cx:pt>
          <cx:pt idx="2389">95</cx:pt>
          <cx:pt idx="2390">81</cx:pt>
          <cx:pt idx="2391">96</cx:pt>
          <cx:pt idx="2392">81</cx:pt>
          <cx:pt idx="2393">80</cx:pt>
          <cx:pt idx="2394">83</cx:pt>
          <cx:pt idx="2395">86</cx:pt>
          <cx:pt idx="2396">99</cx:pt>
          <cx:pt idx="2397">84</cx:pt>
          <cx:pt idx="2398">97</cx:pt>
          <cx:pt idx="2399">85</cx:pt>
          <cx:pt idx="2400">90</cx:pt>
          <cx:pt idx="2401">94</cx:pt>
          <cx:pt idx="2402">82</cx:pt>
          <cx:pt idx="2403">99</cx:pt>
          <cx:pt idx="2404">93</cx:pt>
          <cx:pt idx="2405">99</cx:pt>
          <cx:pt idx="2406">80</cx:pt>
          <cx:pt idx="2407">81</cx:pt>
          <cx:pt idx="2408">81</cx:pt>
          <cx:pt idx="2409">85</cx:pt>
          <cx:pt idx="2410">84</cx:pt>
          <cx:pt idx="2411">93</cx:pt>
          <cx:pt idx="2412">91</cx:pt>
          <cx:pt idx="2413">83</cx:pt>
          <cx:pt idx="2414">91</cx:pt>
          <cx:pt idx="2415">97</cx:pt>
          <cx:pt idx="2416">97</cx:pt>
          <cx:pt idx="2417">99</cx:pt>
          <cx:pt idx="2418">97</cx:pt>
          <cx:pt idx="2419">80</cx:pt>
          <cx:pt idx="2420">89</cx:pt>
          <cx:pt idx="2421">87</cx:pt>
          <cx:pt idx="2422">88</cx:pt>
          <cx:pt idx="2423">83</cx:pt>
          <cx:pt idx="2424">96</cx:pt>
          <cx:pt idx="2425">81</cx:pt>
          <cx:pt idx="2426">93</cx:pt>
          <cx:pt idx="2427">98</cx:pt>
          <cx:pt idx="2428">84</cx:pt>
          <cx:pt idx="2429">92</cx:pt>
          <cx:pt idx="2430">80</cx:pt>
          <cx:pt idx="2431">100</cx:pt>
          <cx:pt idx="2432">94</cx:pt>
          <cx:pt idx="2433">90</cx:pt>
          <cx:pt idx="2434">92</cx:pt>
          <cx:pt idx="2435">81</cx:pt>
          <cx:pt idx="2436">91</cx:pt>
          <cx:pt idx="2437">95</cx:pt>
          <cx:pt idx="2438">100</cx:pt>
          <cx:pt idx="2439">94</cx:pt>
          <cx:pt idx="2440">95</cx:pt>
          <cx:pt idx="2441">82</cx:pt>
          <cx:pt idx="2442">88</cx:pt>
          <cx:pt idx="2443">85</cx:pt>
          <cx:pt idx="2444">86</cx:pt>
          <cx:pt idx="2445">99</cx:pt>
          <cx:pt idx="2446">94</cx:pt>
          <cx:pt idx="2447">93</cx:pt>
          <cx:pt idx="2448">87</cx:pt>
          <cx:pt idx="2449">100</cx:pt>
          <cx:pt idx="2450">89</cx:pt>
          <cx:pt idx="2451">89</cx:pt>
        </cx:lvl>
      </cx:numDim>
    </cx:data>
    <cx:data id="3">
      <cx:numDim type="val">
        <cx:f>'Data Repository Table - Raw'!$F$2:$F$2453</cx:f>
        <cx:lvl ptCount="2452" formatCode="General">
          <cx:pt idx="0">207</cx:pt>
          <cx:pt idx="1">212</cx:pt>
          <cx:pt idx="2">207</cx:pt>
          <cx:pt idx="3">190</cx:pt>
          <cx:pt idx="4">195</cx:pt>
          <cx:pt idx="5">220</cx:pt>
          <cx:pt idx="6">211</cx:pt>
          <cx:pt idx="7">196</cx:pt>
          <cx:pt idx="8">186</cx:pt>
          <cx:pt idx="9">189</cx:pt>
          <cx:pt idx="10">205</cx:pt>
          <cx:pt idx="11">204</cx:pt>
          <cx:pt idx="12">216</cx:pt>
          <cx:pt idx="13">188</cx:pt>
          <cx:pt idx="14">198</cx:pt>
          <cx:pt idx="15">184</cx:pt>
          <cx:pt idx="16">200</cx:pt>
          <cx:pt idx="17">193</cx:pt>
          <cx:pt idx="18">182</cx:pt>
          <cx:pt idx="19">193</cx:pt>
          <cx:pt idx="20">220</cx:pt>
          <cx:pt idx="21">215</cx:pt>
          <cx:pt idx="22">219</cx:pt>
          <cx:pt idx="23">206</cx:pt>
          <cx:pt idx="24">217</cx:pt>
          <cx:pt idx="25">192</cx:pt>
          <cx:pt idx="26">205</cx:pt>
          <cx:pt idx="27">214</cx:pt>
          <cx:pt idx="28">213</cx:pt>
          <cx:pt idx="29">211</cx:pt>
          <cx:pt idx="30">197</cx:pt>
          <cx:pt idx="31">218</cx:pt>
          <cx:pt idx="32">191</cx:pt>
          <cx:pt idx="33">185</cx:pt>
          <cx:pt idx="34">191</cx:pt>
          <cx:pt idx="35">194</cx:pt>
          <cx:pt idx="36">212</cx:pt>
          <cx:pt idx="37">190</cx:pt>
          <cx:pt idx="38">183</cx:pt>
          <cx:pt idx="39">189</cx:pt>
          <cx:pt idx="40">219</cx:pt>
          <cx:pt idx="41">199</cx:pt>
          <cx:pt idx="42">200</cx:pt>
          <cx:pt idx="43">209</cx:pt>
          <cx:pt idx="44">199</cx:pt>
          <cx:pt idx="45">217</cx:pt>
          <cx:pt idx="46">188</cx:pt>
          <cx:pt idx="47">201</cx:pt>
          <cx:pt idx="48">198</cx:pt>
          <cx:pt idx="49">191</cx:pt>
          <cx:pt idx="50">184</cx:pt>
          <cx:pt idx="51">207</cx:pt>
          <cx:pt idx="52">203</cx:pt>
          <cx:pt idx="53">214</cx:pt>
          <cx:pt idx="54">190</cx:pt>
          <cx:pt idx="55">208</cx:pt>
          <cx:pt idx="56">182</cx:pt>
          <cx:pt idx="57">192</cx:pt>
          <cx:pt idx="58">193</cx:pt>
          <cx:pt idx="59">209</cx:pt>
          <cx:pt idx="60">202</cx:pt>
          <cx:pt idx="61">188</cx:pt>
          <cx:pt idx="62">203</cx:pt>
          <cx:pt idx="63">213</cx:pt>
          <cx:pt idx="64">184</cx:pt>
          <cx:pt idx="65">213</cx:pt>
          <cx:pt idx="66">186</cx:pt>
          <cx:pt idx="67">191</cx:pt>
          <cx:pt idx="68">191</cx:pt>
          <cx:pt idx="69">183</cx:pt>
          <cx:pt idx="70">212</cx:pt>
          <cx:pt idx="71">201</cx:pt>
          <cx:pt idx="72">184</cx:pt>
          <cx:pt idx="73">214</cx:pt>
          <cx:pt idx="74">218</cx:pt>
          <cx:pt idx="75">188</cx:pt>
          <cx:pt idx="76">210</cx:pt>
          <cx:pt idx="77">184</cx:pt>
          <cx:pt idx="78">211</cx:pt>
          <cx:pt idx="79">214</cx:pt>
          <cx:pt idx="80">220</cx:pt>
          <cx:pt idx="81">199</cx:pt>
          <cx:pt idx="82">193</cx:pt>
          <cx:pt idx="83">186</cx:pt>
          <cx:pt idx="84">212</cx:pt>
          <cx:pt idx="85">194</cx:pt>
          <cx:pt idx="86">192</cx:pt>
          <cx:pt idx="87">203</cx:pt>
          <cx:pt idx="88">188</cx:pt>
          <cx:pt idx="89">185</cx:pt>
          <cx:pt idx="90">199</cx:pt>
          <cx:pt idx="91">219</cx:pt>
          <cx:pt idx="92">217</cx:pt>
          <cx:pt idx="93">218</cx:pt>
          <cx:pt idx="94">187</cx:pt>
          <cx:pt idx="95">201</cx:pt>
          <cx:pt idx="96">197</cx:pt>
          <cx:pt idx="97">210</cx:pt>
          <cx:pt idx="98">209</cx:pt>
          <cx:pt idx="99">198</cx:pt>
          <cx:pt idx="100">213</cx:pt>
          <cx:pt idx="101">195</cx:pt>
          <cx:pt idx="102">194</cx:pt>
          <cx:pt idx="103">205</cx:pt>
          <cx:pt idx="104">216</cx:pt>
          <cx:pt idx="105">181</cx:pt>
          <cx:pt idx="106">183</cx:pt>
          <cx:pt idx="107">195</cx:pt>
          <cx:pt idx="108">190</cx:pt>
          <cx:pt idx="109">212</cx:pt>
          <cx:pt idx="110">207</cx:pt>
          <cx:pt idx="111">184</cx:pt>
          <cx:pt idx="112">218</cx:pt>
          <cx:pt idx="113">215</cx:pt>
          <cx:pt idx="114">214</cx:pt>
          <cx:pt idx="115">195</cx:pt>
          <cx:pt idx="116">218</cx:pt>
          <cx:pt idx="117">184</cx:pt>
          <cx:pt idx="118">219</cx:pt>
          <cx:pt idx="119">210</cx:pt>
          <cx:pt idx="120">203</cx:pt>
          <cx:pt idx="121">180</cx:pt>
          <cx:pt idx="122">192</cx:pt>
          <cx:pt idx="123">219</cx:pt>
          <cx:pt idx="124">185</cx:pt>
          <cx:pt idx="125">201</cx:pt>
          <cx:pt idx="126">198</cx:pt>
          <cx:pt idx="127">202</cx:pt>
          <cx:pt idx="128">193</cx:pt>
          <cx:pt idx="129">198</cx:pt>
          <cx:pt idx="130">204</cx:pt>
          <cx:pt idx="131">196</cx:pt>
          <cx:pt idx="132">213</cx:pt>
          <cx:pt idx="133">189</cx:pt>
          <cx:pt idx="134">180</cx:pt>
          <cx:pt idx="135">212</cx:pt>
          <cx:pt idx="136">204</cx:pt>
          <cx:pt idx="137">219</cx:pt>
          <cx:pt idx="138">195</cx:pt>
          <cx:pt idx="139">195</cx:pt>
          <cx:pt idx="140">210</cx:pt>
          <cx:pt idx="141">180</cx:pt>
          <cx:pt idx="142">181</cx:pt>
          <cx:pt idx="143">218</cx:pt>
          <cx:pt idx="144">181</cx:pt>
          <cx:pt idx="145">217</cx:pt>
          <cx:pt idx="146">185</cx:pt>
          <cx:pt idx="147">196</cx:pt>
          <cx:pt idx="148">212</cx:pt>
          <cx:pt idx="149">180</cx:pt>
          <cx:pt idx="150">207</cx:pt>
          <cx:pt idx="151">199</cx:pt>
          <cx:pt idx="152">198</cx:pt>
          <cx:pt idx="153">185</cx:pt>
          <cx:pt idx="154">205</cx:pt>
          <cx:pt idx="155">213</cx:pt>
          <cx:pt idx="156">208</cx:pt>
          <cx:pt idx="157">215</cx:pt>
          <cx:pt idx="158">203</cx:pt>
          <cx:pt idx="159">195</cx:pt>
          <cx:pt idx="160">212</cx:pt>
          <cx:pt idx="161">219</cx:pt>
          <cx:pt idx="162">216</cx:pt>
          <cx:pt idx="163">197</cx:pt>
          <cx:pt idx="164">212</cx:pt>
          <cx:pt idx="165">202</cx:pt>
          <cx:pt idx="166">194</cx:pt>
          <cx:pt idx="167">191</cx:pt>
          <cx:pt idx="168">214</cx:pt>
          <cx:pt idx="169">210</cx:pt>
          <cx:pt idx="170">187</cx:pt>
          <cx:pt idx="171">215</cx:pt>
          <cx:pt idx="172">194</cx:pt>
          <cx:pt idx="173">185</cx:pt>
          <cx:pt idx="174">205</cx:pt>
          <cx:pt idx="175">201</cx:pt>
          <cx:pt idx="176">219</cx:pt>
          <cx:pt idx="177">197</cx:pt>
          <cx:pt idx="178">205</cx:pt>
          <cx:pt idx="179">180</cx:pt>
          <cx:pt idx="180">208</cx:pt>
          <cx:pt idx="181">201</cx:pt>
          <cx:pt idx="182">214</cx:pt>
          <cx:pt idx="183">199</cx:pt>
          <cx:pt idx="184">201</cx:pt>
          <cx:pt idx="185">209</cx:pt>
          <cx:pt idx="186">200</cx:pt>
          <cx:pt idx="187">185</cx:pt>
          <cx:pt idx="188">193</cx:pt>
          <cx:pt idx="189">212</cx:pt>
          <cx:pt idx="190">206</cx:pt>
          <cx:pt idx="191">217</cx:pt>
          <cx:pt idx="192">198</cx:pt>
          <cx:pt idx="193">194</cx:pt>
          <cx:pt idx="194">194</cx:pt>
          <cx:pt idx="195">180</cx:pt>
          <cx:pt idx="196">207</cx:pt>
          <cx:pt idx="197">217</cx:pt>
          <cx:pt idx="198">186</cx:pt>
          <cx:pt idx="199">181</cx:pt>
          <cx:pt idx="200">205</cx:pt>
          <cx:pt idx="201">218</cx:pt>
          <cx:pt idx="202">189</cx:pt>
          <cx:pt idx="203">191</cx:pt>
          <cx:pt idx="204">208</cx:pt>
          <cx:pt idx="205">203</cx:pt>
          <cx:pt idx="206">181</cx:pt>
          <cx:pt idx="207">211</cx:pt>
          <cx:pt idx="208">213</cx:pt>
          <cx:pt idx="209">195</cx:pt>
          <cx:pt idx="210">218</cx:pt>
          <cx:pt idx="211">214</cx:pt>
          <cx:pt idx="212">189</cx:pt>
          <cx:pt idx="213">190</cx:pt>
          <cx:pt idx="214">180</cx:pt>
          <cx:pt idx="215">217</cx:pt>
          <cx:pt idx="216">212</cx:pt>
          <cx:pt idx="217">208</cx:pt>
          <cx:pt idx="218">207</cx:pt>
          <cx:pt idx="219">180</cx:pt>
          <cx:pt idx="220">219</cx:pt>
          <cx:pt idx="221">212</cx:pt>
          <cx:pt idx="222">184</cx:pt>
          <cx:pt idx="223">181</cx:pt>
          <cx:pt idx="224">213</cx:pt>
          <cx:pt idx="225">180</cx:pt>
          <cx:pt idx="226">190</cx:pt>
          <cx:pt idx="227">180</cx:pt>
          <cx:pt idx="228">212</cx:pt>
          <cx:pt idx="229">181</cx:pt>
          <cx:pt idx="230">203</cx:pt>
          <cx:pt idx="231">212</cx:pt>
          <cx:pt idx="232">219</cx:pt>
          <cx:pt idx="233">196</cx:pt>
          <cx:pt idx="234">186</cx:pt>
          <cx:pt idx="235">199</cx:pt>
          <cx:pt idx="236">218</cx:pt>
          <cx:pt idx="237">193</cx:pt>
          <cx:pt idx="238">193</cx:pt>
          <cx:pt idx="239">202</cx:pt>
          <cx:pt idx="240">183</cx:pt>
          <cx:pt idx="241">197</cx:pt>
          <cx:pt idx="242">220</cx:pt>
          <cx:pt idx="243">224</cx:pt>
          <cx:pt idx="244">232</cx:pt>
          <cx:pt idx="245">222</cx:pt>
          <cx:pt idx="246">236</cx:pt>
          <cx:pt idx="247">240</cx:pt>
          <cx:pt idx="248">240</cx:pt>
          <cx:pt idx="249">240</cx:pt>
          <cx:pt idx="250">232</cx:pt>
          <cx:pt idx="251">233</cx:pt>
          <cx:pt idx="252">227</cx:pt>
          <cx:pt idx="253">238</cx:pt>
          <cx:pt idx="254">222</cx:pt>
          <cx:pt idx="255">233</cx:pt>
          <cx:pt idx="256">236</cx:pt>
          <cx:pt idx="257">223</cx:pt>
          <cx:pt idx="258">233</cx:pt>
          <cx:pt idx="259">227</cx:pt>
          <cx:pt idx="260">236</cx:pt>
          <cx:pt idx="261">235</cx:pt>
          <cx:pt idx="262">224</cx:pt>
          <cx:pt idx="263">220</cx:pt>
          <cx:pt idx="264">235</cx:pt>
          <cx:pt idx="265">221</cx:pt>
          <cx:pt idx="266">221</cx:pt>
          <cx:pt idx="267">238</cx:pt>
          <cx:pt idx="268">230</cx:pt>
          <cx:pt idx="269">227</cx:pt>
          <cx:pt idx="270">221</cx:pt>
          <cx:pt idx="271">239</cx:pt>
          <cx:pt idx="272">238</cx:pt>
          <cx:pt idx="273">230</cx:pt>
          <cx:pt idx="274">226</cx:pt>
          <cx:pt idx="275">221</cx:pt>
          <cx:pt idx="276">222</cx:pt>
          <cx:pt idx="277">231</cx:pt>
          <cx:pt idx="278">240</cx:pt>
          <cx:pt idx="279">230</cx:pt>
          <cx:pt idx="280">223</cx:pt>
          <cx:pt idx="281">221</cx:pt>
          <cx:pt idx="282">222</cx:pt>
          <cx:pt idx="283">233</cx:pt>
          <cx:pt idx="284">222</cx:pt>
          <cx:pt idx="285">235</cx:pt>
          <cx:pt idx="286">233</cx:pt>
          <cx:pt idx="287">199</cx:pt>
          <cx:pt idx="288">199</cx:pt>
          <cx:pt idx="289">207</cx:pt>
          <cx:pt idx="290">220</cx:pt>
          <cx:pt idx="291">191</cx:pt>
          <cx:pt idx="292">186</cx:pt>
          <cx:pt idx="293">215</cx:pt>
          <cx:pt idx="294">200</cx:pt>
          <cx:pt idx="295">212</cx:pt>
          <cx:pt idx="296">220</cx:pt>
          <cx:pt idx="297">211</cx:pt>
          <cx:pt idx="298">203</cx:pt>
          <cx:pt idx="299">203</cx:pt>
          <cx:pt idx="300">200</cx:pt>
          <cx:pt idx="301">210</cx:pt>
          <cx:pt idx="302">180</cx:pt>
          <cx:pt idx="303">220</cx:pt>
          <cx:pt idx="304">211</cx:pt>
          <cx:pt idx="305">204</cx:pt>
          <cx:pt idx="306">211</cx:pt>
          <cx:pt idx="307">217</cx:pt>
          <cx:pt idx="308">182</cx:pt>
          <cx:pt idx="309">206</cx:pt>
          <cx:pt idx="310">218</cx:pt>
          <cx:pt idx="311">180</cx:pt>
          <cx:pt idx="312">182</cx:pt>
          <cx:pt idx="313">214</cx:pt>
          <cx:pt idx="314">213</cx:pt>
          <cx:pt idx="315">216</cx:pt>
          <cx:pt idx="316">192</cx:pt>
          <cx:pt idx="317">217</cx:pt>
          <cx:pt idx="318">192</cx:pt>
          <cx:pt idx="319">219</cx:pt>
          <cx:pt idx="320">210</cx:pt>
          <cx:pt idx="321">187</cx:pt>
          <cx:pt idx="322">193</cx:pt>
          <cx:pt idx="323">198</cx:pt>
          <cx:pt idx="324">212</cx:pt>
          <cx:pt idx="325">182</cx:pt>
          <cx:pt idx="326">186</cx:pt>
          <cx:pt idx="327">190</cx:pt>
          <cx:pt idx="328">193</cx:pt>
          <cx:pt idx="329">209</cx:pt>
          <cx:pt idx="330">211</cx:pt>
          <cx:pt idx="331">182</cx:pt>
          <cx:pt idx="332">196</cx:pt>
          <cx:pt idx="333">183</cx:pt>
          <cx:pt idx="334">187</cx:pt>
          <cx:pt idx="335">180</cx:pt>
          <cx:pt idx="336">190</cx:pt>
          <cx:pt idx="337">185</cx:pt>
          <cx:pt idx="338">206</cx:pt>
          <cx:pt idx="339">183</cx:pt>
          <cx:pt idx="340">194</cx:pt>
          <cx:pt idx="341">181</cx:pt>
          <cx:pt idx="342">192</cx:pt>
          <cx:pt idx="343">185</cx:pt>
          <cx:pt idx="344">183</cx:pt>
          <cx:pt idx="345">218</cx:pt>
          <cx:pt idx="346">189</cx:pt>
          <cx:pt idx="347">201</cx:pt>
          <cx:pt idx="348">186</cx:pt>
          <cx:pt idx="349">219</cx:pt>
          <cx:pt idx="350">198</cx:pt>
          <cx:pt idx="351">190</cx:pt>
          <cx:pt idx="352">213</cx:pt>
          <cx:pt idx="353">206</cx:pt>
          <cx:pt idx="354">218</cx:pt>
          <cx:pt idx="355">193</cx:pt>
          <cx:pt idx="356">219</cx:pt>
          <cx:pt idx="357">217</cx:pt>
          <cx:pt idx="358">218</cx:pt>
          <cx:pt idx="359">211</cx:pt>
          <cx:pt idx="360">195</cx:pt>
          <cx:pt idx="361">205</cx:pt>
          <cx:pt idx="362">195</cx:pt>
          <cx:pt idx="363">192</cx:pt>
          <cx:pt idx="364">188</cx:pt>
          <cx:pt idx="365">185</cx:pt>
          <cx:pt idx="366">211</cx:pt>
          <cx:pt idx="367">185</cx:pt>
          <cx:pt idx="368">202</cx:pt>
          <cx:pt idx="369">208</cx:pt>
          <cx:pt idx="370">208</cx:pt>
          <cx:pt idx="371">199</cx:pt>
          <cx:pt idx="372">217</cx:pt>
          <cx:pt idx="373">183</cx:pt>
          <cx:pt idx="374">201</cx:pt>
          <cx:pt idx="375">183</cx:pt>
          <cx:pt idx="376">205</cx:pt>
          <cx:pt idx="377">180</cx:pt>
          <cx:pt idx="378">180</cx:pt>
          <cx:pt idx="379">189</cx:pt>
          <cx:pt idx="380">214</cx:pt>
          <cx:pt idx="381">202</cx:pt>
          <cx:pt idx="382">184</cx:pt>
          <cx:pt idx="383">199</cx:pt>
          <cx:pt idx="384">185</cx:pt>
          <cx:pt idx="385">214</cx:pt>
          <cx:pt idx="386">217</cx:pt>
          <cx:pt idx="387">192</cx:pt>
          <cx:pt idx="388">188</cx:pt>
          <cx:pt idx="389">218</cx:pt>
          <cx:pt idx="390">195</cx:pt>
          <cx:pt idx="391">218</cx:pt>
          <cx:pt idx="392">184</cx:pt>
          <cx:pt idx="393">203</cx:pt>
          <cx:pt idx="394">183</cx:pt>
          <cx:pt idx="395">197</cx:pt>
          <cx:pt idx="396">182</cx:pt>
          <cx:pt idx="397">215</cx:pt>
          <cx:pt idx="398">208</cx:pt>
          <cx:pt idx="399">220</cx:pt>
          <cx:pt idx="400">199</cx:pt>
          <cx:pt idx="401">195</cx:pt>
          <cx:pt idx="402">220</cx:pt>
          <cx:pt idx="403">180</cx:pt>
          <cx:pt idx="404">218</cx:pt>
          <cx:pt idx="405">214</cx:pt>
          <cx:pt idx="406">196</cx:pt>
          <cx:pt idx="407">213</cx:pt>
          <cx:pt idx="408">197</cx:pt>
          <cx:pt idx="409">193</cx:pt>
          <cx:pt idx="410">209</cx:pt>
          <cx:pt idx="411">202</cx:pt>
          <cx:pt idx="412">220</cx:pt>
          <cx:pt idx="413">188</cx:pt>
          <cx:pt idx="414">220</cx:pt>
          <cx:pt idx="415">217</cx:pt>
          <cx:pt idx="416">213</cx:pt>
          <cx:pt idx="417">209</cx:pt>
          <cx:pt idx="418">211</cx:pt>
          <cx:pt idx="419">202</cx:pt>
          <cx:pt idx="420">193</cx:pt>
          <cx:pt idx="421">217</cx:pt>
          <cx:pt idx="422">187</cx:pt>
          <cx:pt idx="423">186</cx:pt>
          <cx:pt idx="424">196</cx:pt>
          <cx:pt idx="425">200</cx:pt>
          <cx:pt idx="426">216</cx:pt>
          <cx:pt idx="427">216</cx:pt>
          <cx:pt idx="428">204</cx:pt>
          <cx:pt idx="429">182</cx:pt>
          <cx:pt idx="430">203</cx:pt>
          <cx:pt idx="431">192</cx:pt>
          <cx:pt idx="432">201</cx:pt>
          <cx:pt idx="433">189</cx:pt>
          <cx:pt idx="434">199</cx:pt>
          <cx:pt idx="435">220</cx:pt>
          <cx:pt idx="436">211</cx:pt>
          <cx:pt idx="437">198</cx:pt>
          <cx:pt idx="438">215</cx:pt>
          <cx:pt idx="439">200</cx:pt>
          <cx:pt idx="440">196</cx:pt>
          <cx:pt idx="441">205</cx:pt>
          <cx:pt idx="442">217</cx:pt>
          <cx:pt idx="443">189</cx:pt>
          <cx:pt idx="444">220</cx:pt>
          <cx:pt idx="445">201</cx:pt>
          <cx:pt idx="446">197</cx:pt>
          <cx:pt idx="447">182</cx:pt>
          <cx:pt idx="448">202</cx:pt>
          <cx:pt idx="449">213</cx:pt>
          <cx:pt idx="450">197</cx:pt>
          <cx:pt idx="451">213</cx:pt>
          <cx:pt idx="452">187</cx:pt>
          <cx:pt idx="453">184</cx:pt>
          <cx:pt idx="454">188</cx:pt>
          <cx:pt idx="455">192</cx:pt>
          <cx:pt idx="456">203</cx:pt>
          <cx:pt idx="457">202</cx:pt>
          <cx:pt idx="458">195</cx:pt>
          <cx:pt idx="459">199</cx:pt>
          <cx:pt idx="460">215</cx:pt>
          <cx:pt idx="461">183</cx:pt>
          <cx:pt idx="462">214</cx:pt>
          <cx:pt idx="463">203</cx:pt>
          <cx:pt idx="464">209</cx:pt>
          <cx:pt idx="465">194</cx:pt>
          <cx:pt idx="466">181</cx:pt>
          <cx:pt idx="467">208</cx:pt>
          <cx:pt idx="468">184</cx:pt>
          <cx:pt idx="469">215</cx:pt>
          <cx:pt idx="470">207</cx:pt>
          <cx:pt idx="471">196</cx:pt>
          <cx:pt idx="472">189</cx:pt>
          <cx:pt idx="473">193</cx:pt>
          <cx:pt idx="474">199</cx:pt>
          <cx:pt idx="475">190</cx:pt>
          <cx:pt idx="476">217</cx:pt>
          <cx:pt idx="477">212</cx:pt>
          <cx:pt idx="478">213</cx:pt>
          <cx:pt idx="479">205</cx:pt>
          <cx:pt idx="480">217</cx:pt>
          <cx:pt idx="481">210</cx:pt>
          <cx:pt idx="482">207</cx:pt>
          <cx:pt idx="483">183</cx:pt>
          <cx:pt idx="484">220</cx:pt>
          <cx:pt idx="485">183</cx:pt>
          <cx:pt idx="486">219</cx:pt>
          <cx:pt idx="487">197</cx:pt>
          <cx:pt idx="488">182</cx:pt>
          <cx:pt idx="489">200</cx:pt>
          <cx:pt idx="490">218</cx:pt>
          <cx:pt idx="491">200</cx:pt>
          <cx:pt idx="492">182</cx:pt>
          <cx:pt idx="493">216</cx:pt>
          <cx:pt idx="494">204</cx:pt>
          <cx:pt idx="495">195</cx:pt>
          <cx:pt idx="496">194</cx:pt>
          <cx:pt idx="497">194</cx:pt>
          <cx:pt idx="498">186</cx:pt>
          <cx:pt idx="499">182</cx:pt>
          <cx:pt idx="500">213</cx:pt>
          <cx:pt idx="501">194</cx:pt>
          <cx:pt idx="502">220</cx:pt>
          <cx:pt idx="503">214</cx:pt>
          <cx:pt idx="504">194</cx:pt>
          <cx:pt idx="505">187</cx:pt>
          <cx:pt idx="506">183</cx:pt>
          <cx:pt idx="507">199</cx:pt>
          <cx:pt idx="508">202</cx:pt>
          <cx:pt idx="509">216</cx:pt>
          <cx:pt idx="510">190</cx:pt>
          <cx:pt idx="511">200</cx:pt>
          <cx:pt idx="512">220</cx:pt>
          <cx:pt idx="513">196</cx:pt>
          <cx:pt idx="514">180</cx:pt>
          <cx:pt idx="515">211</cx:pt>
          <cx:pt idx="516">213</cx:pt>
          <cx:pt idx="517">184</cx:pt>
          <cx:pt idx="518">215</cx:pt>
          <cx:pt idx="519">215</cx:pt>
          <cx:pt idx="520">199</cx:pt>
          <cx:pt idx="521">193</cx:pt>
          <cx:pt idx="522">219</cx:pt>
          <cx:pt idx="523">201</cx:pt>
          <cx:pt idx="524">219</cx:pt>
          <cx:pt idx="525">186</cx:pt>
          <cx:pt idx="526">209</cx:pt>
          <cx:pt idx="527">203</cx:pt>
          <cx:pt idx="528">206</cx:pt>
          <cx:pt idx="529">192</cx:pt>
          <cx:pt idx="530">191</cx:pt>
          <cx:pt idx="531">220</cx:pt>
          <cx:pt idx="532">188</cx:pt>
          <cx:pt idx="533">191</cx:pt>
          <cx:pt idx="534">210</cx:pt>
          <cx:pt idx="535">197</cx:pt>
          <cx:pt idx="536">195</cx:pt>
          <cx:pt idx="537">199</cx:pt>
          <cx:pt idx="538">188</cx:pt>
          <cx:pt idx="539">220</cx:pt>
          <cx:pt idx="540">219</cx:pt>
          <cx:pt idx="541">203</cx:pt>
          <cx:pt idx="542">196</cx:pt>
          <cx:pt idx="543">215</cx:pt>
          <cx:pt idx="544">212</cx:pt>
          <cx:pt idx="545">206</cx:pt>
          <cx:pt idx="546">181</cx:pt>
          <cx:pt idx="547">182</cx:pt>
          <cx:pt idx="548">198</cx:pt>
          <cx:pt idx="549">186</cx:pt>
          <cx:pt idx="550">189</cx:pt>
          <cx:pt idx="551">184</cx:pt>
          <cx:pt idx="552">203</cx:pt>
          <cx:pt idx="553">218</cx:pt>
          <cx:pt idx="554">213</cx:pt>
          <cx:pt idx="555">213</cx:pt>
          <cx:pt idx="556">199</cx:pt>
          <cx:pt idx="557">195</cx:pt>
          <cx:pt idx="558">205</cx:pt>
          <cx:pt idx="559">189</cx:pt>
          <cx:pt idx="560">204</cx:pt>
          <cx:pt idx="561">218</cx:pt>
          <cx:pt idx="562">199</cx:pt>
          <cx:pt idx="563">184</cx:pt>
          <cx:pt idx="564">209</cx:pt>
          <cx:pt idx="565">204</cx:pt>
          <cx:pt idx="566">204</cx:pt>
          <cx:pt idx="567">198</cx:pt>
          <cx:pt idx="568">208</cx:pt>
          <cx:pt idx="569">188</cx:pt>
          <cx:pt idx="570">191</cx:pt>
          <cx:pt idx="571">204</cx:pt>
          <cx:pt idx="572">217</cx:pt>
          <cx:pt idx="573">207</cx:pt>
          <cx:pt idx="574">181</cx:pt>
          <cx:pt idx="575">202</cx:pt>
          <cx:pt idx="576">199</cx:pt>
          <cx:pt idx="577">187</cx:pt>
          <cx:pt idx="578">206</cx:pt>
          <cx:pt idx="579">214</cx:pt>
          <cx:pt idx="580">201</cx:pt>
          <cx:pt idx="581">207</cx:pt>
          <cx:pt idx="582">209</cx:pt>
          <cx:pt idx="583">200</cx:pt>
          <cx:pt idx="584">209</cx:pt>
          <cx:pt idx="585">199</cx:pt>
          <cx:pt idx="586">189</cx:pt>
          <cx:pt idx="587">185</cx:pt>
          <cx:pt idx="588">185</cx:pt>
          <cx:pt idx="589">196</cx:pt>
          <cx:pt idx="590">214</cx:pt>
          <cx:pt idx="591">200</cx:pt>
          <cx:pt idx="592">185</cx:pt>
          <cx:pt idx="593">187</cx:pt>
          <cx:pt idx="594">195</cx:pt>
          <cx:pt idx="595">199</cx:pt>
          <cx:pt idx="596">193</cx:pt>
          <cx:pt idx="597">191</cx:pt>
          <cx:pt idx="598">185</cx:pt>
          <cx:pt idx="599">190</cx:pt>
          <cx:pt idx="600">203</cx:pt>
          <cx:pt idx="601">196</cx:pt>
          <cx:pt idx="602">205</cx:pt>
          <cx:pt idx="603">192</cx:pt>
          <cx:pt idx="604">216</cx:pt>
          <cx:pt idx="605">180</cx:pt>
          <cx:pt idx="606">206</cx:pt>
          <cx:pt idx="607">191</cx:pt>
          <cx:pt idx="608">217</cx:pt>
          <cx:pt idx="609">208</cx:pt>
          <cx:pt idx="610">217</cx:pt>
          <cx:pt idx="611">188</cx:pt>
          <cx:pt idx="612">183</cx:pt>
          <cx:pt idx="613">189</cx:pt>
          <cx:pt idx="614">209</cx:pt>
          <cx:pt idx="615">201</cx:pt>
          <cx:pt idx="616">180</cx:pt>
          <cx:pt idx="617">217</cx:pt>
          <cx:pt idx="618">199</cx:pt>
          <cx:pt idx="619">210</cx:pt>
          <cx:pt idx="620">220</cx:pt>
          <cx:pt idx="621">180</cx:pt>
          <cx:pt idx="622">203</cx:pt>
          <cx:pt idx="623">212</cx:pt>
          <cx:pt idx="624">187</cx:pt>
          <cx:pt idx="625">209</cx:pt>
          <cx:pt idx="626">209</cx:pt>
          <cx:pt idx="627">199</cx:pt>
          <cx:pt idx="628">180</cx:pt>
          <cx:pt idx="629">220</cx:pt>
          <cx:pt idx="630">186</cx:pt>
          <cx:pt idx="631">217</cx:pt>
          <cx:pt idx="632">233</cx:pt>
          <cx:pt idx="633">224</cx:pt>
          <cx:pt idx="634">230</cx:pt>
          <cx:pt idx="635">223</cx:pt>
          <cx:pt idx="636">236</cx:pt>
          <cx:pt idx="637">220</cx:pt>
          <cx:pt idx="638">236</cx:pt>
          <cx:pt idx="639">234</cx:pt>
          <cx:pt idx="640">225</cx:pt>
          <cx:pt idx="641">234</cx:pt>
          <cx:pt idx="642">235</cx:pt>
          <cx:pt idx="643">232</cx:pt>
          <cx:pt idx="644">231</cx:pt>
          <cx:pt idx="645">225</cx:pt>
          <cx:pt idx="646">231</cx:pt>
          <cx:pt idx="647">225</cx:pt>
          <cx:pt idx="648">233</cx:pt>
          <cx:pt idx="649">239</cx:pt>
          <cx:pt idx="650">223</cx:pt>
          <cx:pt idx="651">230</cx:pt>
          <cx:pt idx="652">228</cx:pt>
          <cx:pt idx="653">231</cx:pt>
          <cx:pt idx="654">234</cx:pt>
          <cx:pt idx="655">236</cx:pt>
          <cx:pt idx="656">230</cx:pt>
          <cx:pt idx="657">238</cx:pt>
          <cx:pt idx="658">221</cx:pt>
          <cx:pt idx="659">233</cx:pt>
          <cx:pt idx="660">234</cx:pt>
          <cx:pt idx="661">229</cx:pt>
          <cx:pt idx="662">225</cx:pt>
          <cx:pt idx="663">231</cx:pt>
          <cx:pt idx="664">233</cx:pt>
          <cx:pt idx="665">221</cx:pt>
          <cx:pt idx="666">228</cx:pt>
          <cx:pt idx="667">221</cx:pt>
          <cx:pt idx="668">220</cx:pt>
          <cx:pt idx="669">220</cx:pt>
          <cx:pt idx="670">224</cx:pt>
          <cx:pt idx="671">234</cx:pt>
          <cx:pt idx="672">240</cx:pt>
          <cx:pt idx="673">229</cx:pt>
          <cx:pt idx="674">227</cx:pt>
          <cx:pt idx="675">222</cx:pt>
          <cx:pt idx="676">203</cx:pt>
          <cx:pt idx="677">193</cx:pt>
          <cx:pt idx="678">197</cx:pt>
          <cx:pt idx="679">192</cx:pt>
          <cx:pt idx="680">188</cx:pt>
          <cx:pt idx="681">185</cx:pt>
          <cx:pt idx="682">201</cx:pt>
          <cx:pt idx="683">180</cx:pt>
          <cx:pt idx="684">190</cx:pt>
          <cx:pt idx="685">214</cx:pt>
          <cx:pt idx="686">190</cx:pt>
          <cx:pt idx="687">183</cx:pt>
          <cx:pt idx="688">210</cx:pt>
          <cx:pt idx="689">199</cx:pt>
          <cx:pt idx="690">218</cx:pt>
          <cx:pt idx="691">211</cx:pt>
          <cx:pt idx="692">199</cx:pt>
          <cx:pt idx="693">195</cx:pt>
          <cx:pt idx="694">202</cx:pt>
          <cx:pt idx="695">210</cx:pt>
          <cx:pt idx="696">207</cx:pt>
          <cx:pt idx="697">217</cx:pt>
          <cx:pt idx="698">189</cx:pt>
          <cx:pt idx="699">202</cx:pt>
          <cx:pt idx="700">204</cx:pt>
          <cx:pt idx="701">204</cx:pt>
          <cx:pt idx="702">189</cx:pt>
          <cx:pt idx="703">215</cx:pt>
          <cx:pt idx="704">189</cx:pt>
          <cx:pt idx="705">207</cx:pt>
          <cx:pt idx="706">208</cx:pt>
          <cx:pt idx="707">205</cx:pt>
          <cx:pt idx="708">206</cx:pt>
          <cx:pt idx="709">193</cx:pt>
          <cx:pt idx="710">213</cx:pt>
          <cx:pt idx="711">210</cx:pt>
          <cx:pt idx="712">189</cx:pt>
          <cx:pt idx="713">215</cx:pt>
          <cx:pt idx="714">194</cx:pt>
          <cx:pt idx="715">183</cx:pt>
          <cx:pt idx="716">200</cx:pt>
          <cx:pt idx="717">204</cx:pt>
          <cx:pt idx="718">200</cx:pt>
          <cx:pt idx="719">202</cx:pt>
          <cx:pt idx="720">186</cx:pt>
          <cx:pt idx="721">213</cx:pt>
          <cx:pt idx="722">207</cx:pt>
          <cx:pt idx="723">180</cx:pt>
          <cx:pt idx="724">204</cx:pt>
          <cx:pt idx="725">195</cx:pt>
          <cx:pt idx="726">207</cx:pt>
          <cx:pt idx="727">189</cx:pt>
          <cx:pt idx="728">203</cx:pt>
          <cx:pt idx="729">214</cx:pt>
          <cx:pt idx="730">182</cx:pt>
          <cx:pt idx="731">186</cx:pt>
          <cx:pt idx="732">210</cx:pt>
          <cx:pt idx="733">204</cx:pt>
          <cx:pt idx="734">191</cx:pt>
          <cx:pt idx="735">201</cx:pt>
          <cx:pt idx="736">212</cx:pt>
          <cx:pt idx="737">187</cx:pt>
          <cx:pt idx="738">217</cx:pt>
          <cx:pt idx="739">198</cx:pt>
          <cx:pt idx="740">203</cx:pt>
          <cx:pt idx="741">203</cx:pt>
          <cx:pt idx="742">196</cx:pt>
          <cx:pt idx="743">205</cx:pt>
          <cx:pt idx="744">220</cx:pt>
          <cx:pt idx="745">188</cx:pt>
          <cx:pt idx="746">193</cx:pt>
          <cx:pt idx="747">197</cx:pt>
          <cx:pt idx="748">183</cx:pt>
          <cx:pt idx="749">188</cx:pt>
          <cx:pt idx="750">181</cx:pt>
          <cx:pt idx="751">200</cx:pt>
          <cx:pt idx="752">206</cx:pt>
          <cx:pt idx="753">204</cx:pt>
          <cx:pt idx="754">218</cx:pt>
          <cx:pt idx="755">185</cx:pt>
          <cx:pt idx="756">182</cx:pt>
          <cx:pt idx="757">183</cx:pt>
          <cx:pt idx="758">217</cx:pt>
          <cx:pt idx="759">189</cx:pt>
          <cx:pt idx="760">215</cx:pt>
          <cx:pt idx="761">217</cx:pt>
          <cx:pt idx="762">207</cx:pt>
          <cx:pt idx="763">208</cx:pt>
          <cx:pt idx="764">211</cx:pt>
          <cx:pt idx="765">200</cx:pt>
          <cx:pt idx="766">206</cx:pt>
          <cx:pt idx="767">182</cx:pt>
          <cx:pt idx="768">215</cx:pt>
          <cx:pt idx="769">198</cx:pt>
          <cx:pt idx="770">191</cx:pt>
          <cx:pt idx="771">188</cx:pt>
          <cx:pt idx="772">188</cx:pt>
          <cx:pt idx="773">185</cx:pt>
          <cx:pt idx="774">185</cx:pt>
          <cx:pt idx="775">200</cx:pt>
          <cx:pt idx="776">212</cx:pt>
          <cx:pt idx="777">209</cx:pt>
          <cx:pt idx="778">191</cx:pt>
          <cx:pt idx="779">199</cx:pt>
          <cx:pt idx="780">213</cx:pt>
          <cx:pt idx="781">207</cx:pt>
          <cx:pt idx="782">217</cx:pt>
          <cx:pt idx="783">218</cx:pt>
          <cx:pt idx="784">205</cx:pt>
          <cx:pt idx="785">198</cx:pt>
          <cx:pt idx="786">208</cx:pt>
          <cx:pt idx="787">200</cx:pt>
          <cx:pt idx="788">217</cx:pt>
          <cx:pt idx="789">212</cx:pt>
          <cx:pt idx="790">214</cx:pt>
          <cx:pt idx="791">214</cx:pt>
          <cx:pt idx="792">220</cx:pt>
          <cx:pt idx="793">183</cx:pt>
          <cx:pt idx="794">196</cx:pt>
          <cx:pt idx="795">203</cx:pt>
          <cx:pt idx="796">180</cx:pt>
          <cx:pt idx="797">210</cx:pt>
          <cx:pt idx="798">188</cx:pt>
          <cx:pt idx="799">203</cx:pt>
          <cx:pt idx="800">195</cx:pt>
          <cx:pt idx="801">192</cx:pt>
          <cx:pt idx="802">215</cx:pt>
          <cx:pt idx="803">192</cx:pt>
          <cx:pt idx="804">206</cx:pt>
          <cx:pt idx="805">187</cx:pt>
          <cx:pt idx="806">185</cx:pt>
          <cx:pt idx="807">220</cx:pt>
          <cx:pt idx="808">203</cx:pt>
          <cx:pt idx="809">217</cx:pt>
          <cx:pt idx="810">201</cx:pt>
          <cx:pt idx="811">218</cx:pt>
          <cx:pt idx="812">183</cx:pt>
          <cx:pt idx="813">202</cx:pt>
          <cx:pt idx="814">218</cx:pt>
          <cx:pt idx="815">214</cx:pt>
          <cx:pt idx="816">201</cx:pt>
          <cx:pt idx="817">217</cx:pt>
          <cx:pt idx="818">190</cx:pt>
          <cx:pt idx="819">218</cx:pt>
          <cx:pt idx="820">201</cx:pt>
          <cx:pt idx="821">205</cx:pt>
          <cx:pt idx="822">206</cx:pt>
          <cx:pt idx="823">193</cx:pt>
          <cx:pt idx="824">199</cx:pt>
          <cx:pt idx="825">207</cx:pt>
          <cx:pt idx="826">198</cx:pt>
          <cx:pt idx="827">193</cx:pt>
          <cx:pt idx="828">207</cx:pt>
          <cx:pt idx="829">196</cx:pt>
          <cx:pt idx="830">206</cx:pt>
          <cx:pt idx="831">201</cx:pt>
          <cx:pt idx="832">211</cx:pt>
          <cx:pt idx="833">204</cx:pt>
          <cx:pt idx="834">180</cx:pt>
          <cx:pt idx="835">206</cx:pt>
          <cx:pt idx="836">196</cx:pt>
          <cx:pt idx="837">220</cx:pt>
          <cx:pt idx="838">219</cx:pt>
          <cx:pt idx="839">206</cx:pt>
          <cx:pt idx="840">206</cx:pt>
          <cx:pt idx="841">214</cx:pt>
          <cx:pt idx="842">194</cx:pt>
          <cx:pt idx="843">217</cx:pt>
          <cx:pt idx="844">184</cx:pt>
          <cx:pt idx="845">193</cx:pt>
          <cx:pt idx="846">200</cx:pt>
          <cx:pt idx="847">209</cx:pt>
          <cx:pt idx="848">214</cx:pt>
          <cx:pt idx="849">206</cx:pt>
          <cx:pt idx="850">183</cx:pt>
          <cx:pt idx="851">220</cx:pt>
          <cx:pt idx="852">183</cx:pt>
          <cx:pt idx="853">218</cx:pt>
          <cx:pt idx="854">204</cx:pt>
          <cx:pt idx="855">183</cx:pt>
          <cx:pt idx="856">203</cx:pt>
          <cx:pt idx="857">215</cx:pt>
          <cx:pt idx="858">196</cx:pt>
          <cx:pt idx="859">214</cx:pt>
          <cx:pt idx="860">216</cx:pt>
          <cx:pt idx="861">196</cx:pt>
          <cx:pt idx="862">185</cx:pt>
          <cx:pt idx="863">216</cx:pt>
          <cx:pt idx="864">212</cx:pt>
          <cx:pt idx="865">185</cx:pt>
          <cx:pt idx="866">198</cx:pt>
          <cx:pt idx="867">202</cx:pt>
          <cx:pt idx="868">206</cx:pt>
          <cx:pt idx="869">194</cx:pt>
          <cx:pt idx="870">207</cx:pt>
          <cx:pt idx="871">215</cx:pt>
          <cx:pt idx="872">187</cx:pt>
          <cx:pt idx="873">187</cx:pt>
          <cx:pt idx="874">206</cx:pt>
          <cx:pt idx="875">213</cx:pt>
          <cx:pt idx="876">220</cx:pt>
          <cx:pt idx="877">215</cx:pt>
          <cx:pt idx="878">209</cx:pt>
          <cx:pt idx="879">184</cx:pt>
          <cx:pt idx="880">210</cx:pt>
          <cx:pt idx="881">191</cx:pt>
          <cx:pt idx="882">196</cx:pt>
          <cx:pt idx="883">217</cx:pt>
          <cx:pt idx="884">206</cx:pt>
          <cx:pt idx="885">181</cx:pt>
          <cx:pt idx="886">193</cx:pt>
          <cx:pt idx="887">185</cx:pt>
          <cx:pt idx="888">186</cx:pt>
          <cx:pt idx="889">196</cx:pt>
          <cx:pt idx="890">186</cx:pt>
          <cx:pt idx="891">194</cx:pt>
          <cx:pt idx="892">187</cx:pt>
          <cx:pt idx="893">220</cx:pt>
          <cx:pt idx="894">216</cx:pt>
          <cx:pt idx="895">201</cx:pt>
          <cx:pt idx="896">219</cx:pt>
          <cx:pt idx="897">190</cx:pt>
          <cx:pt idx="898">206</cx:pt>
          <cx:pt idx="899">198</cx:pt>
          <cx:pt idx="900">217</cx:pt>
          <cx:pt idx="901">181</cx:pt>
          <cx:pt idx="902">218</cx:pt>
          <cx:pt idx="903">212</cx:pt>
          <cx:pt idx="904">196</cx:pt>
          <cx:pt idx="905">196</cx:pt>
          <cx:pt idx="906">209</cx:pt>
          <cx:pt idx="907">205</cx:pt>
          <cx:pt idx="908">197</cx:pt>
          <cx:pt idx="909">219</cx:pt>
          <cx:pt idx="910">196</cx:pt>
          <cx:pt idx="911">196</cx:pt>
          <cx:pt idx="912">213</cx:pt>
          <cx:pt idx="913">205</cx:pt>
          <cx:pt idx="914">200</cx:pt>
          <cx:pt idx="915">186</cx:pt>
          <cx:pt idx="916">199</cx:pt>
          <cx:pt idx="917">200</cx:pt>
          <cx:pt idx="918">186</cx:pt>
          <cx:pt idx="919">207</cx:pt>
          <cx:pt idx="920">219</cx:pt>
          <cx:pt idx="921">207</cx:pt>
          <cx:pt idx="922">213</cx:pt>
          <cx:pt idx="923">215</cx:pt>
          <cx:pt idx="924">211</cx:pt>
          <cx:pt idx="925">215</cx:pt>
          <cx:pt idx="926">209</cx:pt>
          <cx:pt idx="927">214</cx:pt>
          <cx:pt idx="928">202</cx:pt>
          <cx:pt idx="929">199</cx:pt>
          <cx:pt idx="930">191</cx:pt>
          <cx:pt idx="931">218</cx:pt>
          <cx:pt idx="932">187</cx:pt>
          <cx:pt idx="933">186</cx:pt>
          <cx:pt idx="934">219</cx:pt>
          <cx:pt idx="935">219</cx:pt>
          <cx:pt idx="936">212</cx:pt>
          <cx:pt idx="937">188</cx:pt>
          <cx:pt idx="938">207</cx:pt>
          <cx:pt idx="939">186</cx:pt>
          <cx:pt idx="940">204</cx:pt>
          <cx:pt idx="941">191</cx:pt>
          <cx:pt idx="942">209</cx:pt>
          <cx:pt idx="943">209</cx:pt>
          <cx:pt idx="944">203</cx:pt>
          <cx:pt idx="945">199</cx:pt>
          <cx:pt idx="946">195</cx:pt>
          <cx:pt idx="947">180</cx:pt>
          <cx:pt idx="948">202</cx:pt>
          <cx:pt idx="949">190</cx:pt>
          <cx:pt idx="950">211</cx:pt>
          <cx:pt idx="951">195</cx:pt>
          <cx:pt idx="952">203</cx:pt>
          <cx:pt idx="953">204</cx:pt>
          <cx:pt idx="954">184</cx:pt>
          <cx:pt idx="955">212</cx:pt>
          <cx:pt idx="956">199</cx:pt>
          <cx:pt idx="957">197</cx:pt>
          <cx:pt idx="958">213</cx:pt>
          <cx:pt idx="959">215</cx:pt>
          <cx:pt idx="960">207</cx:pt>
          <cx:pt idx="961">218</cx:pt>
          <cx:pt idx="962">213</cx:pt>
          <cx:pt idx="963">213</cx:pt>
          <cx:pt idx="964">217</cx:pt>
          <cx:pt idx="965">207</cx:pt>
          <cx:pt idx="966">214</cx:pt>
          <cx:pt idx="967">208</cx:pt>
          <cx:pt idx="968">202</cx:pt>
          <cx:pt idx="969">204</cx:pt>
          <cx:pt idx="970">197</cx:pt>
          <cx:pt idx="971">195</cx:pt>
          <cx:pt idx="972">184</cx:pt>
          <cx:pt idx="973">184</cx:pt>
          <cx:pt idx="974">215</cx:pt>
          <cx:pt idx="975">197</cx:pt>
          <cx:pt idx="976">213</cx:pt>
          <cx:pt idx="977">180</cx:pt>
          <cx:pt idx="978">207</cx:pt>
          <cx:pt idx="979">211</cx:pt>
          <cx:pt idx="980">215</cx:pt>
          <cx:pt idx="981">195</cx:pt>
          <cx:pt idx="982">194</cx:pt>
          <cx:pt idx="983">219</cx:pt>
          <cx:pt idx="984">181</cx:pt>
          <cx:pt idx="985">205</cx:pt>
          <cx:pt idx="986">183</cx:pt>
          <cx:pt idx="987">194</cx:pt>
          <cx:pt idx="988">200</cx:pt>
          <cx:pt idx="989">190</cx:pt>
          <cx:pt idx="990">189</cx:pt>
          <cx:pt idx="991">188</cx:pt>
          <cx:pt idx="992">205</cx:pt>
          <cx:pt idx="993">191</cx:pt>
          <cx:pt idx="994">182</cx:pt>
          <cx:pt idx="995">195</cx:pt>
          <cx:pt idx="996">208</cx:pt>
          <cx:pt idx="997">219</cx:pt>
          <cx:pt idx="998">201</cx:pt>
          <cx:pt idx="999">181</cx:pt>
          <cx:pt idx="1000">217</cx:pt>
          <cx:pt idx="1001">188</cx:pt>
          <cx:pt idx="1002">202</cx:pt>
          <cx:pt idx="1003">206</cx:pt>
          <cx:pt idx="1004">188</cx:pt>
          <cx:pt idx="1005">182</cx:pt>
          <cx:pt idx="1006">205</cx:pt>
          <cx:pt idx="1007">199</cx:pt>
          <cx:pt idx="1008">185</cx:pt>
          <cx:pt idx="1009">186</cx:pt>
          <cx:pt idx="1010">203</cx:pt>
          <cx:pt idx="1011">198</cx:pt>
          <cx:pt idx="1012">202</cx:pt>
          <cx:pt idx="1013">203</cx:pt>
          <cx:pt idx="1014">187</cx:pt>
          <cx:pt idx="1015">182</cx:pt>
          <cx:pt idx="1016">182</cx:pt>
          <cx:pt idx="1017">218</cx:pt>
          <cx:pt idx="1018">200</cx:pt>
          <cx:pt idx="1019">201</cx:pt>
          <cx:pt idx="1020">205</cx:pt>
          <cx:pt idx="1021">195</cx:pt>
          <cx:pt idx="1022">186</cx:pt>
          <cx:pt idx="1023">207</cx:pt>
          <cx:pt idx="1024">215</cx:pt>
          <cx:pt idx="1025">201</cx:pt>
          <cx:pt idx="1026">194</cx:pt>
          <cx:pt idx="1027">201</cx:pt>
          <cx:pt idx="1028">200</cx:pt>
          <cx:pt idx="1029">187</cx:pt>
          <cx:pt idx="1030">203</cx:pt>
          <cx:pt idx="1031">215</cx:pt>
          <cx:pt idx="1032">187</cx:pt>
          <cx:pt idx="1033">182</cx:pt>
          <cx:pt idx="1034">216</cx:pt>
          <cx:pt idx="1035">206</cx:pt>
          <cx:pt idx="1036">201</cx:pt>
          <cx:pt idx="1037">190</cx:pt>
          <cx:pt idx="1038">203</cx:pt>
          <cx:pt idx="1039">192</cx:pt>
          <cx:pt idx="1040">199</cx:pt>
          <cx:pt idx="1041">183</cx:pt>
          <cx:pt idx="1042">189</cx:pt>
          <cx:pt idx="1043">195</cx:pt>
          <cx:pt idx="1044">209</cx:pt>
          <cx:pt idx="1045">199</cx:pt>
          <cx:pt idx="1046">183</cx:pt>
          <cx:pt idx="1047">219</cx:pt>
          <cx:pt idx="1048">203</cx:pt>
          <cx:pt idx="1049">213</cx:pt>
          <cx:pt idx="1050">216</cx:pt>
          <cx:pt idx="1051">217</cx:pt>
          <cx:pt idx="1052">185</cx:pt>
          <cx:pt idx="1053">201</cx:pt>
          <cx:pt idx="1054">194</cx:pt>
          <cx:pt idx="1055">186</cx:pt>
          <cx:pt idx="1056">216</cx:pt>
          <cx:pt idx="1057">192</cx:pt>
          <cx:pt idx="1058">209</cx:pt>
          <cx:pt idx="1059">211</cx:pt>
          <cx:pt idx="1060">186</cx:pt>
          <cx:pt idx="1061">186</cx:pt>
          <cx:pt idx="1062">184</cx:pt>
          <cx:pt idx="1063">199</cx:pt>
          <cx:pt idx="1064">197</cx:pt>
          <cx:pt idx="1065">182</cx:pt>
          <cx:pt idx="1066">210</cx:pt>
          <cx:pt idx="1067">195</cx:pt>
          <cx:pt idx="1068">188</cx:pt>
          <cx:pt idx="1069">220</cx:pt>
          <cx:pt idx="1070">222</cx:pt>
          <cx:pt idx="1071">237</cx:pt>
          <cx:pt idx="1072">231</cx:pt>
          <cx:pt idx="1073">239</cx:pt>
          <cx:pt idx="1074">227</cx:pt>
          <cx:pt idx="1075">237</cx:pt>
          <cx:pt idx="1076">235</cx:pt>
          <cx:pt idx="1077">239</cx:pt>
          <cx:pt idx="1078">231</cx:pt>
          <cx:pt idx="1079">224</cx:pt>
          <cx:pt idx="1080">227</cx:pt>
          <cx:pt idx="1081">236</cx:pt>
          <cx:pt idx="1082">225</cx:pt>
          <cx:pt idx="1083">224</cx:pt>
          <cx:pt idx="1084">232</cx:pt>
          <cx:pt idx="1085">231</cx:pt>
          <cx:pt idx="1086">228</cx:pt>
          <cx:pt idx="1087">227</cx:pt>
          <cx:pt idx="1088">238</cx:pt>
          <cx:pt idx="1089">228</cx:pt>
          <cx:pt idx="1090">231</cx:pt>
          <cx:pt idx="1091">234</cx:pt>
          <cx:pt idx="1092">226</cx:pt>
          <cx:pt idx="1093">229</cx:pt>
          <cx:pt idx="1094">230</cx:pt>
          <cx:pt idx="1095">227</cx:pt>
          <cx:pt idx="1096">237</cx:pt>
          <cx:pt idx="1097">239</cx:pt>
          <cx:pt idx="1098">230</cx:pt>
          <cx:pt idx="1099">226</cx:pt>
          <cx:pt idx="1100">239</cx:pt>
          <cx:pt idx="1101">226</cx:pt>
          <cx:pt idx="1102">220</cx:pt>
          <cx:pt idx="1103">229</cx:pt>
          <cx:pt idx="1104">239</cx:pt>
          <cx:pt idx="1105">228</cx:pt>
          <cx:pt idx="1106">236</cx:pt>
          <cx:pt idx="1107">237</cx:pt>
          <cx:pt idx="1108">232</cx:pt>
          <cx:pt idx="1109">233</cx:pt>
          <cx:pt idx="1110">236</cx:pt>
          <cx:pt idx="1111">235</cx:pt>
          <cx:pt idx="1112">240</cx:pt>
          <cx:pt idx="1113">235</cx:pt>
          <cx:pt idx="1114">185</cx:pt>
          <cx:pt idx="1115">186</cx:pt>
          <cx:pt idx="1116">180</cx:pt>
          <cx:pt idx="1117">180</cx:pt>
          <cx:pt idx="1118">194</cx:pt>
          <cx:pt idx="1119">207</cx:pt>
          <cx:pt idx="1120">180</cx:pt>
          <cx:pt idx="1121">185</cx:pt>
          <cx:pt idx="1122">210</cx:pt>
          <cx:pt idx="1123">188</cx:pt>
          <cx:pt idx="1124">180</cx:pt>
          <cx:pt idx="1125">181</cx:pt>
          <cx:pt idx="1126">188</cx:pt>
          <cx:pt idx="1127">192</cx:pt>
          <cx:pt idx="1128">191</cx:pt>
          <cx:pt idx="1129">186</cx:pt>
          <cx:pt idx="1130">198</cx:pt>
          <cx:pt idx="1131">181</cx:pt>
          <cx:pt idx="1132">217</cx:pt>
          <cx:pt idx="1133">202</cx:pt>
          <cx:pt idx="1134">191</cx:pt>
          <cx:pt idx="1135">207</cx:pt>
          <cx:pt idx="1136">198</cx:pt>
          <cx:pt idx="1137">191</cx:pt>
          <cx:pt idx="1138">194</cx:pt>
          <cx:pt idx="1139">211</cx:pt>
          <cx:pt idx="1140">196</cx:pt>
          <cx:pt idx="1141">204</cx:pt>
          <cx:pt idx="1142">204</cx:pt>
          <cx:pt idx="1143">218</cx:pt>
          <cx:pt idx="1144">202</cx:pt>
          <cx:pt idx="1145">192</cx:pt>
          <cx:pt idx="1146">191</cx:pt>
          <cx:pt idx="1147">213</cx:pt>
          <cx:pt idx="1148">182</cx:pt>
          <cx:pt idx="1149">206</cx:pt>
          <cx:pt idx="1150">214</cx:pt>
          <cx:pt idx="1151">185</cx:pt>
          <cx:pt idx="1152">220</cx:pt>
          <cx:pt idx="1153">191</cx:pt>
          <cx:pt idx="1154">194</cx:pt>
          <cx:pt idx="1155">204</cx:pt>
          <cx:pt idx="1156">184</cx:pt>
          <cx:pt idx="1157">208</cx:pt>
          <cx:pt idx="1158">218</cx:pt>
          <cx:pt idx="1159">191</cx:pt>
          <cx:pt idx="1160">198</cx:pt>
          <cx:pt idx="1161">185</cx:pt>
          <cx:pt idx="1162">183</cx:pt>
          <cx:pt idx="1163">199</cx:pt>
          <cx:pt idx="1164">195</cx:pt>
          <cx:pt idx="1165">183</cx:pt>
          <cx:pt idx="1166">195</cx:pt>
          <cx:pt idx="1167">186</cx:pt>
          <cx:pt idx="1168">196</cx:pt>
          <cx:pt idx="1169">181</cx:pt>
          <cx:pt idx="1170">212</cx:pt>
          <cx:pt idx="1171">191</cx:pt>
          <cx:pt idx="1172">189</cx:pt>
          <cx:pt idx="1173">200</cx:pt>
          <cx:pt idx="1174">183</cx:pt>
          <cx:pt idx="1175">216</cx:pt>
          <cx:pt idx="1176">202</cx:pt>
          <cx:pt idx="1177">199</cx:pt>
          <cx:pt idx="1178">196</cx:pt>
          <cx:pt idx="1179">181</cx:pt>
          <cx:pt idx="1180">219</cx:pt>
          <cx:pt idx="1181">185</cx:pt>
          <cx:pt idx="1182">190</cx:pt>
          <cx:pt idx="1183">189</cx:pt>
          <cx:pt idx="1184">201</cx:pt>
          <cx:pt idx="1185">191</cx:pt>
          <cx:pt idx="1186">209</cx:pt>
          <cx:pt idx="1187">216</cx:pt>
          <cx:pt idx="1188">197</cx:pt>
          <cx:pt idx="1189">182</cx:pt>
          <cx:pt idx="1190">183</cx:pt>
          <cx:pt idx="1191">202</cx:pt>
          <cx:pt idx="1192">212</cx:pt>
          <cx:pt idx="1193">219</cx:pt>
          <cx:pt idx="1194">188</cx:pt>
          <cx:pt idx="1195">181</cx:pt>
          <cx:pt idx="1196">207</cx:pt>
          <cx:pt idx="1197">190</cx:pt>
          <cx:pt idx="1198">206</cx:pt>
          <cx:pt idx="1199">215</cx:pt>
          <cx:pt idx="1200">217</cx:pt>
          <cx:pt idx="1201">191</cx:pt>
          <cx:pt idx="1202">190</cx:pt>
          <cx:pt idx="1203">188</cx:pt>
          <cx:pt idx="1204">207</cx:pt>
          <cx:pt idx="1205">183</cx:pt>
          <cx:pt idx="1206">200</cx:pt>
          <cx:pt idx="1207">201</cx:pt>
          <cx:pt idx="1208">214</cx:pt>
          <cx:pt idx="1209">183</cx:pt>
          <cx:pt idx="1210">184</cx:pt>
          <cx:pt idx="1211">180</cx:pt>
          <cx:pt idx="1212">206</cx:pt>
          <cx:pt idx="1213">198</cx:pt>
          <cx:pt idx="1214">206</cx:pt>
          <cx:pt idx="1215">188</cx:pt>
          <cx:pt idx="1216">189</cx:pt>
          <cx:pt idx="1217">193</cx:pt>
          <cx:pt idx="1218">208</cx:pt>
          <cx:pt idx="1219">200</cx:pt>
          <cx:pt idx="1220">217</cx:pt>
          <cx:pt idx="1221">198</cx:pt>
          <cx:pt idx="1222">218</cx:pt>
          <cx:pt idx="1223">220</cx:pt>
          <cx:pt idx="1224">212</cx:pt>
          <cx:pt idx="1225">220</cx:pt>
          <cx:pt idx="1226">211</cx:pt>
          <cx:pt idx="1227">202</cx:pt>
          <cx:pt idx="1228">197</cx:pt>
          <cx:pt idx="1229">180</cx:pt>
          <cx:pt idx="1230">195</cx:pt>
          <cx:pt idx="1231">198</cx:pt>
          <cx:pt idx="1232">193</cx:pt>
          <cx:pt idx="1233">187</cx:pt>
          <cx:pt idx="1234">204</cx:pt>
          <cx:pt idx="1235">197</cx:pt>
          <cx:pt idx="1236">180</cx:pt>
          <cx:pt idx="1237">216</cx:pt>
          <cx:pt idx="1238">218</cx:pt>
          <cx:pt idx="1239">202</cx:pt>
          <cx:pt idx="1240">219</cx:pt>
          <cx:pt idx="1241">180</cx:pt>
          <cx:pt idx="1242">180</cx:pt>
          <cx:pt idx="1243">207</cx:pt>
          <cx:pt idx="1244">184</cx:pt>
          <cx:pt idx="1245">220</cx:pt>
          <cx:pt idx="1246">213</cx:pt>
          <cx:pt idx="1247">218</cx:pt>
          <cx:pt idx="1248">187</cx:pt>
          <cx:pt idx="1249">203</cx:pt>
          <cx:pt idx="1250">208</cx:pt>
          <cx:pt idx="1251">213</cx:pt>
          <cx:pt idx="1252">204</cx:pt>
          <cx:pt idx="1253">190</cx:pt>
          <cx:pt idx="1254">200</cx:pt>
          <cx:pt idx="1255">216</cx:pt>
          <cx:pt idx="1256">215</cx:pt>
          <cx:pt idx="1257">181</cx:pt>
          <cx:pt idx="1258">198</cx:pt>
          <cx:pt idx="1259">215</cx:pt>
          <cx:pt idx="1260">181</cx:pt>
          <cx:pt idx="1261">190</cx:pt>
          <cx:pt idx="1262">224</cx:pt>
          <cx:pt idx="1263">221</cx:pt>
          <cx:pt idx="1264">227</cx:pt>
          <cx:pt idx="1265">237</cx:pt>
          <cx:pt idx="1266">239</cx:pt>
          <cx:pt idx="1267">235</cx:pt>
          <cx:pt idx="1268">227</cx:pt>
          <cx:pt idx="1269">220</cx:pt>
          <cx:pt idx="1270">229</cx:pt>
          <cx:pt idx="1271">232</cx:pt>
          <cx:pt idx="1272">226</cx:pt>
          <cx:pt idx="1273">225</cx:pt>
          <cx:pt idx="1274">238</cx:pt>
          <cx:pt idx="1275">231</cx:pt>
          <cx:pt idx="1276">231</cx:pt>
          <cx:pt idx="1277">234</cx:pt>
          <cx:pt idx="1278">225</cx:pt>
          <cx:pt idx="1279">235</cx:pt>
          <cx:pt idx="1280">234</cx:pt>
          <cx:pt idx="1281">220</cx:pt>
          <cx:pt idx="1282">224</cx:pt>
          <cx:pt idx="1283">237</cx:pt>
          <cx:pt idx="1284">220</cx:pt>
          <cx:pt idx="1285">233</cx:pt>
          <cx:pt idx="1286">220</cx:pt>
          <cx:pt idx="1287">234</cx:pt>
          <cx:pt idx="1288">236</cx:pt>
          <cx:pt idx="1289">237</cx:pt>
          <cx:pt idx="1290">235</cx:pt>
          <cx:pt idx="1291">229</cx:pt>
          <cx:pt idx="1292">220</cx:pt>
          <cx:pt idx="1293">227</cx:pt>
          <cx:pt idx="1294">238</cx:pt>
          <cx:pt idx="1295">235</cx:pt>
          <cx:pt idx="1296">230</cx:pt>
          <cx:pt idx="1297">230</cx:pt>
          <cx:pt idx="1298">234</cx:pt>
          <cx:pt idx="1299">234</cx:pt>
          <cx:pt idx="1300">221</cx:pt>
          <cx:pt idx="1301">238</cx:pt>
          <cx:pt idx="1302">240</cx:pt>
          <cx:pt idx="1303">231</cx:pt>
          <cx:pt idx="1304">234</cx:pt>
          <cx:pt idx="1305">222</cx:pt>
          <cx:pt idx="1306">219</cx:pt>
          <cx:pt idx="1307">191</cx:pt>
          <cx:pt idx="1308">213</cx:pt>
          <cx:pt idx="1309">214</cx:pt>
          <cx:pt idx="1310">218</cx:pt>
          <cx:pt idx="1311">183</cx:pt>
          <cx:pt idx="1312">188</cx:pt>
          <cx:pt idx="1313">215</cx:pt>
          <cx:pt idx="1314">217</cx:pt>
          <cx:pt idx="1315">188</cx:pt>
          <cx:pt idx="1316">203</cx:pt>
          <cx:pt idx="1317">186</cx:pt>
          <cx:pt idx="1318">208</cx:pt>
          <cx:pt idx="1319">205</cx:pt>
          <cx:pt idx="1320">214</cx:pt>
          <cx:pt idx="1321">202</cx:pt>
          <cx:pt idx="1322">213</cx:pt>
          <cx:pt idx="1323">199</cx:pt>
          <cx:pt idx="1324">219</cx:pt>
          <cx:pt idx="1325">210</cx:pt>
          <cx:pt idx="1326">201</cx:pt>
          <cx:pt idx="1327">218</cx:pt>
          <cx:pt idx="1328">198</cx:pt>
          <cx:pt idx="1329">205</cx:pt>
          <cx:pt idx="1330">200</cx:pt>
          <cx:pt idx="1331">203</cx:pt>
          <cx:pt idx="1332">198</cx:pt>
          <cx:pt idx="1333">186</cx:pt>
          <cx:pt idx="1334">193</cx:pt>
          <cx:pt idx="1335">205</cx:pt>
          <cx:pt idx="1336">203</cx:pt>
          <cx:pt idx="1337">181</cx:pt>
          <cx:pt idx="1338">185</cx:pt>
          <cx:pt idx="1339">200</cx:pt>
          <cx:pt idx="1340">183</cx:pt>
          <cx:pt idx="1341">217</cx:pt>
          <cx:pt idx="1342">187</cx:pt>
          <cx:pt idx="1343">219</cx:pt>
          <cx:pt idx="1344">208</cx:pt>
          <cx:pt idx="1345">207</cx:pt>
          <cx:pt idx="1346">192</cx:pt>
          <cx:pt idx="1347">188</cx:pt>
          <cx:pt idx="1348">180</cx:pt>
          <cx:pt idx="1349">210</cx:pt>
          <cx:pt idx="1350">204</cx:pt>
          <cx:pt idx="1351">193</cx:pt>
          <cx:pt idx="1352">193</cx:pt>
          <cx:pt idx="1353">215</cx:pt>
          <cx:pt idx="1354">210</cx:pt>
          <cx:pt idx="1355">198</cx:pt>
          <cx:pt idx="1356">208</cx:pt>
          <cx:pt idx="1357">180</cx:pt>
          <cx:pt idx="1358">217</cx:pt>
          <cx:pt idx="1359">197</cx:pt>
          <cx:pt idx="1360">189</cx:pt>
          <cx:pt idx="1361">183</cx:pt>
          <cx:pt idx="1362">187</cx:pt>
          <cx:pt idx="1363">217</cx:pt>
          <cx:pt idx="1364">210</cx:pt>
          <cx:pt idx="1365">186</cx:pt>
          <cx:pt idx="1366">193</cx:pt>
          <cx:pt idx="1367">213</cx:pt>
          <cx:pt idx="1368">183</cx:pt>
          <cx:pt idx="1369">212</cx:pt>
          <cx:pt idx="1370">189</cx:pt>
          <cx:pt idx="1371">194</cx:pt>
          <cx:pt idx="1372">186</cx:pt>
          <cx:pt idx="1373">195</cx:pt>
          <cx:pt idx="1374">217</cx:pt>
          <cx:pt idx="1375">194</cx:pt>
          <cx:pt idx="1376">206</cx:pt>
          <cx:pt idx="1377">181</cx:pt>
          <cx:pt idx="1378">197</cx:pt>
          <cx:pt idx="1379">189</cx:pt>
          <cx:pt idx="1380">202</cx:pt>
          <cx:pt idx="1381">216</cx:pt>
          <cx:pt idx="1382">218</cx:pt>
          <cx:pt idx="1383">212</cx:pt>
          <cx:pt idx="1384">189</cx:pt>
          <cx:pt idx="1385">180</cx:pt>
          <cx:pt idx="1386">214</cx:pt>
          <cx:pt idx="1387">192</cx:pt>
          <cx:pt idx="1388">189</cx:pt>
          <cx:pt idx="1389">216</cx:pt>
          <cx:pt idx="1390">194</cx:pt>
          <cx:pt idx="1391">199</cx:pt>
          <cx:pt idx="1392">182</cx:pt>
          <cx:pt idx="1393">189</cx:pt>
          <cx:pt idx="1394">203</cx:pt>
          <cx:pt idx="1395">194</cx:pt>
          <cx:pt idx="1396">219</cx:pt>
          <cx:pt idx="1397">210</cx:pt>
          <cx:pt idx="1398">217</cx:pt>
          <cx:pt idx="1399">184</cx:pt>
          <cx:pt idx="1400">184</cx:pt>
          <cx:pt idx="1401">217</cx:pt>
          <cx:pt idx="1402">195</cx:pt>
          <cx:pt idx="1403">187</cx:pt>
          <cx:pt idx="1404">209</cx:pt>
          <cx:pt idx="1405">219</cx:pt>
          <cx:pt idx="1406">205</cx:pt>
          <cx:pt idx="1407">182</cx:pt>
          <cx:pt idx="1408">190</cx:pt>
          <cx:pt idx="1409">185</cx:pt>
          <cx:pt idx="1410">203</cx:pt>
          <cx:pt idx="1411">184</cx:pt>
          <cx:pt idx="1412">184</cx:pt>
          <cx:pt idx="1413">187</cx:pt>
          <cx:pt idx="1414">200</cx:pt>
          <cx:pt idx="1415">188</cx:pt>
          <cx:pt idx="1416">208</cx:pt>
          <cx:pt idx="1417">183</cx:pt>
          <cx:pt idx="1418">196</cx:pt>
          <cx:pt idx="1419">210</cx:pt>
          <cx:pt idx="1420">210</cx:pt>
          <cx:pt idx="1421">215</cx:pt>
          <cx:pt idx="1422">197</cx:pt>
          <cx:pt idx="1423">204</cx:pt>
          <cx:pt idx="1424">187</cx:pt>
          <cx:pt idx="1425">188</cx:pt>
          <cx:pt idx="1426">212</cx:pt>
          <cx:pt idx="1427">215</cx:pt>
          <cx:pt idx="1428">192</cx:pt>
          <cx:pt idx="1429">213</cx:pt>
          <cx:pt idx="1430">191</cx:pt>
          <cx:pt idx="1431">207</cx:pt>
          <cx:pt idx="1432">197</cx:pt>
          <cx:pt idx="1433">184</cx:pt>
          <cx:pt idx="1434">187</cx:pt>
          <cx:pt idx="1435">204</cx:pt>
          <cx:pt idx="1436">189</cx:pt>
          <cx:pt idx="1437">199</cx:pt>
          <cx:pt idx="1438">182</cx:pt>
          <cx:pt idx="1439">185</cx:pt>
          <cx:pt idx="1440">218</cx:pt>
          <cx:pt idx="1441">203</cx:pt>
          <cx:pt idx="1442">212</cx:pt>
          <cx:pt idx="1443">203</cx:pt>
          <cx:pt idx="1444">188</cx:pt>
          <cx:pt idx="1445">216</cx:pt>
          <cx:pt idx="1446">212</cx:pt>
          <cx:pt idx="1447">212</cx:pt>
          <cx:pt idx="1448">212</cx:pt>
          <cx:pt idx="1449">199</cx:pt>
          <cx:pt idx="1450">209</cx:pt>
          <cx:pt idx="1451">188</cx:pt>
          <cx:pt idx="1452">203</cx:pt>
          <cx:pt idx="1453">184</cx:pt>
          <cx:pt idx="1454">213</cx:pt>
          <cx:pt idx="1455">181</cx:pt>
          <cx:pt idx="1456">208</cx:pt>
          <cx:pt idx="1457">192</cx:pt>
          <cx:pt idx="1458">192</cx:pt>
          <cx:pt idx="1459">217</cx:pt>
          <cx:pt idx="1460">195</cx:pt>
          <cx:pt idx="1461">204</cx:pt>
          <cx:pt idx="1462">184</cx:pt>
          <cx:pt idx="1463">187</cx:pt>
          <cx:pt idx="1464">213</cx:pt>
          <cx:pt idx="1465">182</cx:pt>
          <cx:pt idx="1466">183</cx:pt>
          <cx:pt idx="1467">190</cx:pt>
          <cx:pt idx="1468">206</cx:pt>
          <cx:pt idx="1469">212</cx:pt>
          <cx:pt idx="1470">182</cx:pt>
          <cx:pt idx="1471">216</cx:pt>
          <cx:pt idx="1472">207</cx:pt>
          <cx:pt idx="1473">202</cx:pt>
          <cx:pt idx="1474">180</cx:pt>
          <cx:pt idx="1475">198</cx:pt>
          <cx:pt idx="1476">192</cx:pt>
          <cx:pt idx="1477">194</cx:pt>
          <cx:pt idx="1478">219</cx:pt>
          <cx:pt idx="1479">197</cx:pt>
          <cx:pt idx="1480">188</cx:pt>
          <cx:pt idx="1481">197</cx:pt>
          <cx:pt idx="1482">216</cx:pt>
          <cx:pt idx="1483">220</cx:pt>
          <cx:pt idx="1484">208</cx:pt>
          <cx:pt idx="1485">196</cx:pt>
          <cx:pt idx="1486">193</cx:pt>
          <cx:pt idx="1487">207</cx:pt>
          <cx:pt idx="1488">210</cx:pt>
          <cx:pt idx="1489">197</cx:pt>
          <cx:pt idx="1490">195</cx:pt>
          <cx:pt idx="1491">197</cx:pt>
          <cx:pt idx="1492">211</cx:pt>
          <cx:pt idx="1493">213</cx:pt>
          <cx:pt idx="1494">200</cx:pt>
          <cx:pt idx="1495">189</cx:pt>
          <cx:pt idx="1496">209</cx:pt>
          <cx:pt idx="1497">203</cx:pt>
          <cx:pt idx="1498">207</cx:pt>
          <cx:pt idx="1499">205</cx:pt>
          <cx:pt idx="1500">218</cx:pt>
          <cx:pt idx="1501">182</cx:pt>
          <cx:pt idx="1502">204</cx:pt>
          <cx:pt idx="1503">191</cx:pt>
          <cx:pt idx="1504">198</cx:pt>
          <cx:pt idx="1505">216</cx:pt>
          <cx:pt idx="1506">219</cx:pt>
          <cx:pt idx="1507">206</cx:pt>
          <cx:pt idx="1508">197</cx:pt>
          <cx:pt idx="1509">186</cx:pt>
          <cx:pt idx="1510">212</cx:pt>
          <cx:pt idx="1511">186</cx:pt>
          <cx:pt idx="1512">202</cx:pt>
          <cx:pt idx="1513">192</cx:pt>
          <cx:pt idx="1514">204</cx:pt>
          <cx:pt idx="1515">216</cx:pt>
          <cx:pt idx="1516">211</cx:pt>
          <cx:pt idx="1517">209</cx:pt>
          <cx:pt idx="1518">182</cx:pt>
          <cx:pt idx="1519">196</cx:pt>
          <cx:pt idx="1520">203</cx:pt>
          <cx:pt idx="1521">184</cx:pt>
          <cx:pt idx="1522">183</cx:pt>
          <cx:pt idx="1523">215</cx:pt>
          <cx:pt idx="1524">204</cx:pt>
          <cx:pt idx="1525">200</cx:pt>
          <cx:pt idx="1526">206</cx:pt>
          <cx:pt idx="1527">212</cx:pt>
          <cx:pt idx="1528">193</cx:pt>
          <cx:pt idx="1529">185</cx:pt>
          <cx:pt idx="1530">192</cx:pt>
          <cx:pt idx="1531">203</cx:pt>
          <cx:pt idx="1532">185</cx:pt>
          <cx:pt idx="1533">199</cx:pt>
          <cx:pt idx="1534">184</cx:pt>
          <cx:pt idx="1535">190</cx:pt>
          <cx:pt idx="1536">194</cx:pt>
          <cx:pt idx="1537">200</cx:pt>
          <cx:pt idx="1538">188</cx:pt>
          <cx:pt idx="1539">191</cx:pt>
          <cx:pt idx="1540">181</cx:pt>
          <cx:pt idx="1541">206</cx:pt>
          <cx:pt idx="1542">209</cx:pt>
          <cx:pt idx="1543">220</cx:pt>
          <cx:pt idx="1544">200</cx:pt>
          <cx:pt idx="1545">209</cx:pt>
          <cx:pt idx="1546">202</cx:pt>
          <cx:pt idx="1547">195</cx:pt>
          <cx:pt idx="1548">206</cx:pt>
          <cx:pt idx="1549">211</cx:pt>
          <cx:pt idx="1550">192</cx:pt>
          <cx:pt idx="1551">188</cx:pt>
          <cx:pt idx="1552">204</cx:pt>
          <cx:pt idx="1553">198</cx:pt>
          <cx:pt idx="1554">203</cx:pt>
          <cx:pt idx="1555">214</cx:pt>
          <cx:pt idx="1556">191</cx:pt>
          <cx:pt idx="1557">207</cx:pt>
          <cx:pt idx="1558">183</cx:pt>
          <cx:pt idx="1559">205</cx:pt>
          <cx:pt idx="1560">186</cx:pt>
          <cx:pt idx="1561">189</cx:pt>
          <cx:pt idx="1562">183</cx:pt>
          <cx:pt idx="1563">200</cx:pt>
          <cx:pt idx="1564">208</cx:pt>
          <cx:pt idx="1565">184</cx:pt>
          <cx:pt idx="1566">192</cx:pt>
          <cx:pt idx="1567">197</cx:pt>
          <cx:pt idx="1568">208</cx:pt>
          <cx:pt idx="1569">206</cx:pt>
          <cx:pt idx="1570">213</cx:pt>
          <cx:pt idx="1571">215</cx:pt>
          <cx:pt idx="1572">205</cx:pt>
          <cx:pt idx="1573">209</cx:pt>
          <cx:pt idx="1574">201</cx:pt>
          <cx:pt idx="1575">220</cx:pt>
          <cx:pt idx="1576">210</cx:pt>
          <cx:pt idx="1577">199</cx:pt>
          <cx:pt idx="1578">191</cx:pt>
          <cx:pt idx="1579">211</cx:pt>
          <cx:pt idx="1580">213</cx:pt>
          <cx:pt idx="1581">206</cx:pt>
          <cx:pt idx="1582">186</cx:pt>
          <cx:pt idx="1583">206</cx:pt>
          <cx:pt idx="1584">207</cx:pt>
          <cx:pt idx="1585">203</cx:pt>
          <cx:pt idx="1586">191</cx:pt>
          <cx:pt idx="1587">203</cx:pt>
          <cx:pt idx="1588">217</cx:pt>
          <cx:pt idx="1589">215</cx:pt>
          <cx:pt idx="1590">210</cx:pt>
          <cx:pt idx="1591">206</cx:pt>
          <cx:pt idx="1592">197</cx:pt>
          <cx:pt idx="1593">208</cx:pt>
          <cx:pt idx="1594">211</cx:pt>
          <cx:pt idx="1595">182</cx:pt>
          <cx:pt idx="1596">199</cx:pt>
          <cx:pt idx="1597">199</cx:pt>
          <cx:pt idx="1598">214</cx:pt>
          <cx:pt idx="1599">216</cx:pt>
          <cx:pt idx="1600">213</cx:pt>
          <cx:pt idx="1601">215</cx:pt>
          <cx:pt idx="1602">210</cx:pt>
          <cx:pt idx="1603">182</cx:pt>
          <cx:pt idx="1604">212</cx:pt>
          <cx:pt idx="1605">188</cx:pt>
          <cx:pt idx="1606">214</cx:pt>
          <cx:pt idx="1607">195</cx:pt>
          <cx:pt idx="1608">185</cx:pt>
          <cx:pt idx="1609">193</cx:pt>
          <cx:pt idx="1610">216</cx:pt>
          <cx:pt idx="1611">208</cx:pt>
          <cx:pt idx="1612">220</cx:pt>
          <cx:pt idx="1613">195</cx:pt>
          <cx:pt idx="1614">215</cx:pt>
          <cx:pt idx="1615">204</cx:pt>
          <cx:pt idx="1616">193</cx:pt>
          <cx:pt idx="1617">189</cx:pt>
          <cx:pt idx="1618">193</cx:pt>
          <cx:pt idx="1619">182</cx:pt>
          <cx:pt idx="1620">206</cx:pt>
          <cx:pt idx="1621">191</cx:pt>
          <cx:pt idx="1622">215</cx:pt>
          <cx:pt idx="1623">187</cx:pt>
          <cx:pt idx="1624">195</cx:pt>
          <cx:pt idx="1625">213</cx:pt>
          <cx:pt idx="1626">211</cx:pt>
          <cx:pt idx="1627">186</cx:pt>
          <cx:pt idx="1628">183</cx:pt>
          <cx:pt idx="1629">207</cx:pt>
          <cx:pt idx="1630">205</cx:pt>
          <cx:pt idx="1631">202</cx:pt>
          <cx:pt idx="1632">186</cx:pt>
          <cx:pt idx="1633">181</cx:pt>
          <cx:pt idx="1634">220</cx:pt>
          <cx:pt idx="1635">186</cx:pt>
          <cx:pt idx="1636">192</cx:pt>
          <cx:pt idx="1637">184</cx:pt>
          <cx:pt idx="1638">209</cx:pt>
          <cx:pt idx="1639">206</cx:pt>
          <cx:pt idx="1640">185</cx:pt>
          <cx:pt idx="1641">204</cx:pt>
          <cx:pt idx="1642">209</cx:pt>
          <cx:pt idx="1643">182</cx:pt>
          <cx:pt idx="1644">209</cx:pt>
          <cx:pt idx="1645">181</cx:pt>
          <cx:pt idx="1646">199</cx:pt>
          <cx:pt idx="1647">188</cx:pt>
          <cx:pt idx="1648">201</cx:pt>
          <cx:pt idx="1649">188</cx:pt>
          <cx:pt idx="1650">205</cx:pt>
          <cx:pt idx="1651">197</cx:pt>
          <cx:pt idx="1652">219</cx:pt>
          <cx:pt idx="1653">214</cx:pt>
          <cx:pt idx="1654">198</cx:pt>
          <cx:pt idx="1655">180</cx:pt>
          <cx:pt idx="1656">189</cx:pt>
          <cx:pt idx="1657">207</cx:pt>
          <cx:pt idx="1658">184</cx:pt>
          <cx:pt idx="1659">202</cx:pt>
          <cx:pt idx="1660">196</cx:pt>
          <cx:pt idx="1661">219</cx:pt>
          <cx:pt idx="1662">193</cx:pt>
          <cx:pt idx="1663">182</cx:pt>
          <cx:pt idx="1664">200</cx:pt>
          <cx:pt idx="1665">219</cx:pt>
          <cx:pt idx="1666">203</cx:pt>
          <cx:pt idx="1667">219</cx:pt>
          <cx:pt idx="1668">190</cx:pt>
          <cx:pt idx="1669">216</cx:pt>
          <cx:pt idx="1670">188</cx:pt>
          <cx:pt idx="1671">192</cx:pt>
          <cx:pt idx="1672">180</cx:pt>
          <cx:pt idx="1673">188</cx:pt>
          <cx:pt idx="1674">219</cx:pt>
          <cx:pt idx="1675">219</cx:pt>
          <cx:pt idx="1676">183</cx:pt>
          <cx:pt idx="1677">212</cx:pt>
          <cx:pt idx="1678">196</cx:pt>
          <cx:pt idx="1679">196</cx:pt>
          <cx:pt idx="1680">182</cx:pt>
          <cx:pt idx="1681">188</cx:pt>
          <cx:pt idx="1682">219</cx:pt>
          <cx:pt idx="1683">200</cx:pt>
          <cx:pt idx="1684">219</cx:pt>
          <cx:pt idx="1685">185</cx:pt>
          <cx:pt idx="1686">189</cx:pt>
          <cx:pt idx="1687">189</cx:pt>
          <cx:pt idx="1688">210</cx:pt>
          <cx:pt idx="1689">200</cx:pt>
          <cx:pt idx="1690">182</cx:pt>
          <cx:pt idx="1691">216</cx:pt>
          <cx:pt idx="1692">186</cx:pt>
          <cx:pt idx="1693">197</cx:pt>
          <cx:pt idx="1694">218</cx:pt>
          <cx:pt idx="1695">199</cx:pt>
          <cx:pt idx="1696">200</cx:pt>
          <cx:pt idx="1697">220</cx:pt>
          <cx:pt idx="1698">181</cx:pt>
          <cx:pt idx="1699">207</cx:pt>
          <cx:pt idx="1700">183</cx:pt>
          <cx:pt idx="1701">207</cx:pt>
          <cx:pt idx="1702">190</cx:pt>
          <cx:pt idx="1703">197</cx:pt>
          <cx:pt idx="1704">180</cx:pt>
          <cx:pt idx="1705">199</cx:pt>
          <cx:pt idx="1706">211</cx:pt>
          <cx:pt idx="1707">195</cx:pt>
          <cx:pt idx="1708">192</cx:pt>
          <cx:pt idx="1709">197</cx:pt>
          <cx:pt idx="1710">186</cx:pt>
          <cx:pt idx="1711">213</cx:pt>
          <cx:pt idx="1712">205</cx:pt>
          <cx:pt idx="1713">197</cx:pt>
          <cx:pt idx="1714">184</cx:pt>
          <cx:pt idx="1715">217</cx:pt>
          <cx:pt idx="1716">206</cx:pt>
          <cx:pt idx="1717">202</cx:pt>
          <cx:pt idx="1718">182</cx:pt>
          <cx:pt idx="1719">183</cx:pt>
          <cx:pt idx="1720">215</cx:pt>
          <cx:pt idx="1721">214</cx:pt>
          <cx:pt idx="1722">196</cx:pt>
          <cx:pt idx="1723">220</cx:pt>
          <cx:pt idx="1724">186</cx:pt>
          <cx:pt idx="1725">200</cx:pt>
          <cx:pt idx="1726">209</cx:pt>
          <cx:pt idx="1727">180</cx:pt>
          <cx:pt idx="1728">219</cx:pt>
          <cx:pt idx="1729">229</cx:pt>
          <cx:pt idx="1730">232</cx:pt>
          <cx:pt idx="1731">224</cx:pt>
          <cx:pt idx="1732">234</cx:pt>
          <cx:pt idx="1733">221</cx:pt>
          <cx:pt idx="1734">234</cx:pt>
          <cx:pt idx="1735">239</cx:pt>
          <cx:pt idx="1736">224</cx:pt>
          <cx:pt idx="1737">237</cx:pt>
          <cx:pt idx="1738">224</cx:pt>
          <cx:pt idx="1739">233</cx:pt>
          <cx:pt idx="1740">232</cx:pt>
          <cx:pt idx="1741">232</cx:pt>
          <cx:pt idx="1742">223</cx:pt>
          <cx:pt idx="1743">236</cx:pt>
          <cx:pt idx="1744">221</cx:pt>
          <cx:pt idx="1745">237</cx:pt>
          <cx:pt idx="1746">227</cx:pt>
          <cx:pt idx="1747">223</cx:pt>
          <cx:pt idx="1748">239</cx:pt>
          <cx:pt idx="1749">233</cx:pt>
          <cx:pt idx="1750">225</cx:pt>
          <cx:pt idx="1751">222</cx:pt>
          <cx:pt idx="1752">239</cx:pt>
          <cx:pt idx="1753">226</cx:pt>
          <cx:pt idx="1754">223</cx:pt>
          <cx:pt idx="1755">222</cx:pt>
          <cx:pt idx="1756">232</cx:pt>
          <cx:pt idx="1757">220</cx:pt>
          <cx:pt idx="1758">227</cx:pt>
          <cx:pt idx="1759">224</cx:pt>
          <cx:pt idx="1760">222</cx:pt>
          <cx:pt idx="1761">230</cx:pt>
          <cx:pt idx="1762">237</cx:pt>
          <cx:pt idx="1763">230</cx:pt>
          <cx:pt idx="1764">232</cx:pt>
          <cx:pt idx="1765">226</cx:pt>
          <cx:pt idx="1766">225</cx:pt>
          <cx:pt idx="1767">227</cx:pt>
          <cx:pt idx="1768">222</cx:pt>
          <cx:pt idx="1769">228</cx:pt>
          <cx:pt idx="1770">227</cx:pt>
          <cx:pt idx="1771">228</cx:pt>
          <cx:pt idx="1772">232</cx:pt>
          <cx:pt idx="1773">182</cx:pt>
          <cx:pt idx="1774">185</cx:pt>
          <cx:pt idx="1775">212</cx:pt>
          <cx:pt idx="1776">182</cx:pt>
          <cx:pt idx="1777">210</cx:pt>
          <cx:pt idx="1778">182</cx:pt>
          <cx:pt idx="1779">219</cx:pt>
          <cx:pt idx="1780">193</cx:pt>
          <cx:pt idx="1781">201</cx:pt>
          <cx:pt idx="1782">197</cx:pt>
          <cx:pt idx="1783">183</cx:pt>
          <cx:pt idx="1784">194</cx:pt>
          <cx:pt idx="1785">198</cx:pt>
          <cx:pt idx="1786">183</cx:pt>
          <cx:pt idx="1787">215</cx:pt>
          <cx:pt idx="1788">189</cx:pt>
          <cx:pt idx="1789">206</cx:pt>
          <cx:pt idx="1790">206</cx:pt>
          <cx:pt idx="1791">184</cx:pt>
          <cx:pt idx="1792">213</cx:pt>
          <cx:pt idx="1793">211</cx:pt>
          <cx:pt idx="1794">197</cx:pt>
          <cx:pt idx="1795">216</cx:pt>
          <cx:pt idx="1796">202</cx:pt>
          <cx:pt idx="1797">212</cx:pt>
          <cx:pt idx="1798">183</cx:pt>
          <cx:pt idx="1799">204</cx:pt>
          <cx:pt idx="1800">191</cx:pt>
          <cx:pt idx="1801">183</cx:pt>
          <cx:pt idx="1802">187</cx:pt>
          <cx:pt idx="1803">206</cx:pt>
          <cx:pt idx="1804">204</cx:pt>
          <cx:pt idx="1805">194</cx:pt>
          <cx:pt idx="1806">220</cx:pt>
          <cx:pt idx="1807">216</cx:pt>
          <cx:pt idx="1808">212</cx:pt>
          <cx:pt idx="1809">180</cx:pt>
          <cx:pt idx="1810">208</cx:pt>
          <cx:pt idx="1811">192</cx:pt>
          <cx:pt idx="1812">209</cx:pt>
          <cx:pt idx="1813">212</cx:pt>
          <cx:pt idx="1814">180</cx:pt>
          <cx:pt idx="1815">207</cx:pt>
          <cx:pt idx="1816">220</cx:pt>
          <cx:pt idx="1817">197</cx:pt>
          <cx:pt idx="1818">184</cx:pt>
          <cx:pt idx="1819">213</cx:pt>
          <cx:pt idx="1820">180</cx:pt>
          <cx:pt idx="1821">184</cx:pt>
          <cx:pt idx="1822">209</cx:pt>
          <cx:pt idx="1823">196</cx:pt>
          <cx:pt idx="1824">202</cx:pt>
          <cx:pt idx="1825">184</cx:pt>
          <cx:pt idx="1826">219</cx:pt>
          <cx:pt idx="1827">204</cx:pt>
          <cx:pt idx="1828">210</cx:pt>
          <cx:pt idx="1829">186</cx:pt>
          <cx:pt idx="1830">206</cx:pt>
          <cx:pt idx="1831">206</cx:pt>
          <cx:pt idx="1832">190</cx:pt>
          <cx:pt idx="1833">183</cx:pt>
          <cx:pt idx="1834">196</cx:pt>
          <cx:pt idx="1835">199</cx:pt>
          <cx:pt idx="1836">199</cx:pt>
          <cx:pt idx="1837">194</cx:pt>
          <cx:pt idx="1838">185</cx:pt>
          <cx:pt idx="1839">198</cx:pt>
          <cx:pt idx="1840">181</cx:pt>
          <cx:pt idx="1841">180</cx:pt>
          <cx:pt idx="1842">197</cx:pt>
          <cx:pt idx="1843">213</cx:pt>
          <cx:pt idx="1844">216</cx:pt>
          <cx:pt idx="1845">216</cx:pt>
          <cx:pt idx="1846">201</cx:pt>
          <cx:pt idx="1847">210</cx:pt>
          <cx:pt idx="1848">184</cx:pt>
          <cx:pt idx="1849">207</cx:pt>
          <cx:pt idx="1850">184</cx:pt>
          <cx:pt idx="1851">210</cx:pt>
          <cx:pt idx="1852">220</cx:pt>
          <cx:pt idx="1853">189</cx:pt>
          <cx:pt idx="1854">216</cx:pt>
          <cx:pt idx="1855">186</cx:pt>
          <cx:pt idx="1856">207</cx:pt>
          <cx:pt idx="1857">203</cx:pt>
          <cx:pt idx="1858">181</cx:pt>
          <cx:pt idx="1859">187</cx:pt>
          <cx:pt idx="1860">210</cx:pt>
          <cx:pt idx="1861">190</cx:pt>
          <cx:pt idx="1862">190</cx:pt>
          <cx:pt idx="1863">185</cx:pt>
          <cx:pt idx="1864">185</cx:pt>
          <cx:pt idx="1865">209</cx:pt>
          <cx:pt idx="1866">190</cx:pt>
          <cx:pt idx="1867">208</cx:pt>
          <cx:pt idx="1868">215</cx:pt>
          <cx:pt idx="1869">213</cx:pt>
          <cx:pt idx="1870">186</cx:pt>
          <cx:pt idx="1871">206</cx:pt>
          <cx:pt idx="1872">209</cx:pt>
          <cx:pt idx="1873">200</cx:pt>
          <cx:pt idx="1874">208</cx:pt>
          <cx:pt idx="1875">180</cx:pt>
          <cx:pt idx="1876">210</cx:pt>
          <cx:pt idx="1877">214</cx:pt>
          <cx:pt idx="1878">196</cx:pt>
          <cx:pt idx="1879">218</cx:pt>
          <cx:pt idx="1880">218</cx:pt>
          <cx:pt idx="1881">219</cx:pt>
          <cx:pt idx="1882">206</cx:pt>
          <cx:pt idx="1883">193</cx:pt>
          <cx:pt idx="1884">217</cx:pt>
          <cx:pt idx="1885">209</cx:pt>
          <cx:pt idx="1886">188</cx:pt>
          <cx:pt idx="1887">216</cx:pt>
          <cx:pt idx="1888">185</cx:pt>
          <cx:pt idx="1889">217</cx:pt>
          <cx:pt idx="1890">197</cx:pt>
          <cx:pt idx="1891">180</cx:pt>
          <cx:pt idx="1892">197</cx:pt>
          <cx:pt idx="1893">207</cx:pt>
          <cx:pt idx="1894">181</cx:pt>
          <cx:pt idx="1895">207</cx:pt>
          <cx:pt idx="1896">211</cx:pt>
          <cx:pt idx="1897">193</cx:pt>
          <cx:pt idx="1898">194</cx:pt>
          <cx:pt idx="1899">214</cx:pt>
          <cx:pt idx="1900">213</cx:pt>
          <cx:pt idx="1901">207</cx:pt>
          <cx:pt idx="1902">184</cx:pt>
          <cx:pt idx="1903">194</cx:pt>
          <cx:pt idx="1904">186</cx:pt>
          <cx:pt idx="1905">191</cx:pt>
          <cx:pt idx="1906">192</cx:pt>
          <cx:pt idx="1907">196</cx:pt>
          <cx:pt idx="1908">192</cx:pt>
          <cx:pt idx="1909">207</cx:pt>
          <cx:pt idx="1910">182</cx:pt>
          <cx:pt idx="1911">209</cx:pt>
          <cx:pt idx="1912">211</cx:pt>
          <cx:pt idx="1913">216</cx:pt>
          <cx:pt idx="1914">182</cx:pt>
          <cx:pt idx="1915">218</cx:pt>
          <cx:pt idx="1916">205</cx:pt>
          <cx:pt idx="1917">234</cx:pt>
          <cx:pt idx="1918">227</cx:pt>
          <cx:pt idx="1919">227</cx:pt>
          <cx:pt idx="1920">236</cx:pt>
          <cx:pt idx="1921">221</cx:pt>
          <cx:pt idx="1922">240</cx:pt>
          <cx:pt idx="1923">227</cx:pt>
          <cx:pt idx="1924">228</cx:pt>
          <cx:pt idx="1925">228</cx:pt>
          <cx:pt idx="1926">230</cx:pt>
          <cx:pt idx="1927">232</cx:pt>
          <cx:pt idx="1928">234</cx:pt>
          <cx:pt idx="1929">224</cx:pt>
          <cx:pt idx="1930">234</cx:pt>
          <cx:pt idx="1931">233</cx:pt>
          <cx:pt idx="1932">236</cx:pt>
          <cx:pt idx="1933">237</cx:pt>
          <cx:pt idx="1934">240</cx:pt>
          <cx:pt idx="1935">229</cx:pt>
          <cx:pt idx="1936">230</cx:pt>
          <cx:pt idx="1937">220</cx:pt>
          <cx:pt idx="1938">227</cx:pt>
          <cx:pt idx="1939">222</cx:pt>
          <cx:pt idx="1940">234</cx:pt>
          <cx:pt idx="1941">231</cx:pt>
          <cx:pt idx="1942">222</cx:pt>
          <cx:pt idx="1943">234</cx:pt>
          <cx:pt idx="1944">237</cx:pt>
          <cx:pt idx="1945">240</cx:pt>
          <cx:pt idx="1946">234</cx:pt>
          <cx:pt idx="1947">223</cx:pt>
          <cx:pt idx="1948">239</cx:pt>
          <cx:pt idx="1949">239</cx:pt>
          <cx:pt idx="1950">232</cx:pt>
          <cx:pt idx="1951">225</cx:pt>
          <cx:pt idx="1952">229</cx:pt>
          <cx:pt idx="1953">231</cx:pt>
          <cx:pt idx="1954">238</cx:pt>
          <cx:pt idx="1955">240</cx:pt>
          <cx:pt idx="1956">232</cx:pt>
          <cx:pt idx="1957">229</cx:pt>
          <cx:pt idx="1958">224</cx:pt>
          <cx:pt idx="1959">236</cx:pt>
          <cx:pt idx="1960">238</cx:pt>
          <cx:pt idx="1961">220</cx:pt>
          <cx:pt idx="1962">188</cx:pt>
          <cx:pt idx="1963">220</cx:pt>
          <cx:pt idx="1964">186</cx:pt>
          <cx:pt idx="1965">187</cx:pt>
          <cx:pt idx="1966">211</cx:pt>
          <cx:pt idx="1967">187</cx:pt>
          <cx:pt idx="1968">192</cx:pt>
          <cx:pt idx="1969">191</cx:pt>
          <cx:pt idx="1970">195</cx:pt>
          <cx:pt idx="1971">186</cx:pt>
          <cx:pt idx="1972">201</cx:pt>
          <cx:pt idx="1973">198</cx:pt>
          <cx:pt idx="1974">197</cx:pt>
          <cx:pt idx="1975">196</cx:pt>
          <cx:pt idx="1976">207</cx:pt>
          <cx:pt idx="1977">186</cx:pt>
          <cx:pt idx="1978">190</cx:pt>
          <cx:pt idx="1979">208</cx:pt>
          <cx:pt idx="1980">204</cx:pt>
          <cx:pt idx="1981">204</cx:pt>
          <cx:pt idx="1982">217</cx:pt>
          <cx:pt idx="1983">183</cx:pt>
          <cx:pt idx="1984">189</cx:pt>
          <cx:pt idx="1985">219</cx:pt>
          <cx:pt idx="1986">182</cx:pt>
          <cx:pt idx="1987">192</cx:pt>
          <cx:pt idx="1988">190</cx:pt>
          <cx:pt idx="1989">186</cx:pt>
          <cx:pt idx="1990">180</cx:pt>
          <cx:pt idx="1991">193</cx:pt>
          <cx:pt idx="1992">214</cx:pt>
          <cx:pt idx="1993">185</cx:pt>
          <cx:pt idx="1994">220</cx:pt>
          <cx:pt idx="1995">216</cx:pt>
          <cx:pt idx="1996">195</cx:pt>
          <cx:pt idx="1997">214</cx:pt>
          <cx:pt idx="1998">197</cx:pt>
          <cx:pt idx="1999">203</cx:pt>
          <cx:pt idx="2000">214</cx:pt>
          <cx:pt idx="2001">200</cx:pt>
          <cx:pt idx="2002">220</cx:pt>
          <cx:pt idx="2003">214</cx:pt>
          <cx:pt idx="2004">219</cx:pt>
          <cx:pt idx="2005">204</cx:pt>
          <cx:pt idx="2006">205</cx:pt>
          <cx:pt idx="2007">183</cx:pt>
          <cx:pt idx="2008">192</cx:pt>
          <cx:pt idx="2009">192</cx:pt>
          <cx:pt idx="2010">183</cx:pt>
          <cx:pt idx="2011">207</cx:pt>
          <cx:pt idx="2012">185</cx:pt>
          <cx:pt idx="2013">199</cx:pt>
          <cx:pt idx="2014">215</cx:pt>
          <cx:pt idx="2015">184</cx:pt>
          <cx:pt idx="2016">209</cx:pt>
          <cx:pt idx="2017">212</cx:pt>
          <cx:pt idx="2018">192</cx:pt>
          <cx:pt idx="2019">208</cx:pt>
          <cx:pt idx="2020">202</cx:pt>
          <cx:pt idx="2021">209</cx:pt>
          <cx:pt idx="2022">208</cx:pt>
          <cx:pt idx="2023">183</cx:pt>
          <cx:pt idx="2024">189</cx:pt>
          <cx:pt idx="2025">205</cx:pt>
          <cx:pt idx="2026">218</cx:pt>
          <cx:pt idx="2027">215</cx:pt>
          <cx:pt idx="2028">220</cx:pt>
          <cx:pt idx="2029">187</cx:pt>
          <cx:pt idx="2030">203</cx:pt>
          <cx:pt idx="2031">206</cx:pt>
          <cx:pt idx="2032">220</cx:pt>
          <cx:pt idx="2033">202</cx:pt>
          <cx:pt idx="2034">216</cx:pt>
          <cx:pt idx="2035">206</cx:pt>
          <cx:pt idx="2036">200</cx:pt>
          <cx:pt idx="2037">202</cx:pt>
          <cx:pt idx="2038">194</cx:pt>
          <cx:pt idx="2039">189</cx:pt>
          <cx:pt idx="2040">192</cx:pt>
          <cx:pt idx="2041">207</cx:pt>
          <cx:pt idx="2042">210</cx:pt>
          <cx:pt idx="2043">191</cx:pt>
          <cx:pt idx="2044">206</cx:pt>
          <cx:pt idx="2045">187</cx:pt>
          <cx:pt idx="2046">210</cx:pt>
          <cx:pt idx="2047">198</cx:pt>
          <cx:pt idx="2048">198</cx:pt>
          <cx:pt idx="2049">183</cx:pt>
          <cx:pt idx="2050">194</cx:pt>
          <cx:pt idx="2051">192</cx:pt>
          <cx:pt idx="2052">217</cx:pt>
          <cx:pt idx="2053">217</cx:pt>
          <cx:pt idx="2054">220</cx:pt>
          <cx:pt idx="2055">220</cx:pt>
          <cx:pt idx="2056">180</cx:pt>
          <cx:pt idx="2057">204</cx:pt>
          <cx:pt idx="2058">194</cx:pt>
          <cx:pt idx="2059">192</cx:pt>
          <cx:pt idx="2060">195</cx:pt>
          <cx:pt idx="2061">208</cx:pt>
          <cx:pt idx="2062">210</cx:pt>
          <cx:pt idx="2063">219</cx:pt>
          <cx:pt idx="2064">198</cx:pt>
          <cx:pt idx="2065">196</cx:pt>
          <cx:pt idx="2066">180</cx:pt>
          <cx:pt idx="2067">219</cx:pt>
          <cx:pt idx="2068">213</cx:pt>
          <cx:pt idx="2069">192</cx:pt>
          <cx:pt idx="2070">208</cx:pt>
          <cx:pt idx="2071">194</cx:pt>
          <cx:pt idx="2072">209</cx:pt>
          <cx:pt idx="2073">195</cx:pt>
          <cx:pt idx="2074">195</cx:pt>
          <cx:pt idx="2075">220</cx:pt>
          <cx:pt idx="2076">197</cx:pt>
          <cx:pt idx="2077">193</cx:pt>
          <cx:pt idx="2078">207</cx:pt>
          <cx:pt idx="2079">212</cx:pt>
          <cx:pt idx="2080">186</cx:pt>
          <cx:pt idx="2081">196</cx:pt>
          <cx:pt idx="2082">194</cx:pt>
          <cx:pt idx="2083">184</cx:pt>
          <cx:pt idx="2084">185</cx:pt>
          <cx:pt idx="2085">206</cx:pt>
          <cx:pt idx="2086">189</cx:pt>
          <cx:pt idx="2087">182</cx:pt>
          <cx:pt idx="2088">198</cx:pt>
          <cx:pt idx="2089">217</cx:pt>
          <cx:pt idx="2090">200</cx:pt>
          <cx:pt idx="2091">191</cx:pt>
          <cx:pt idx="2092">180</cx:pt>
          <cx:pt idx="2093">193</cx:pt>
          <cx:pt idx="2094">206</cx:pt>
          <cx:pt idx="2095">190</cx:pt>
          <cx:pt idx="2096">207</cx:pt>
          <cx:pt idx="2097">190</cx:pt>
          <cx:pt idx="2098">195</cx:pt>
          <cx:pt idx="2099">197</cx:pt>
          <cx:pt idx="2100">190</cx:pt>
          <cx:pt idx="2101">182</cx:pt>
          <cx:pt idx="2102">192</cx:pt>
          <cx:pt idx="2103">196</cx:pt>
          <cx:pt idx="2104">218</cx:pt>
          <cx:pt idx="2105">205</cx:pt>
          <cx:pt idx="2106">191</cx:pt>
          <cx:pt idx="2107">181</cx:pt>
          <cx:pt idx="2108">203</cx:pt>
          <cx:pt idx="2109">217</cx:pt>
          <cx:pt idx="2110">180</cx:pt>
          <cx:pt idx="2111">199</cx:pt>
          <cx:pt idx="2112">194</cx:pt>
          <cx:pt idx="2113">209</cx:pt>
          <cx:pt idx="2114">216</cx:pt>
          <cx:pt idx="2115">185</cx:pt>
          <cx:pt idx="2116">213</cx:pt>
          <cx:pt idx="2117">215</cx:pt>
          <cx:pt idx="2118">193</cx:pt>
          <cx:pt idx="2119">198</cx:pt>
          <cx:pt idx="2120">215</cx:pt>
          <cx:pt idx="2121">212</cx:pt>
          <cx:pt idx="2122">196</cx:pt>
          <cx:pt idx="2123">219</cx:pt>
          <cx:pt idx="2124">200</cx:pt>
          <cx:pt idx="2125">186</cx:pt>
          <cx:pt idx="2126">198</cx:pt>
          <cx:pt idx="2127">181</cx:pt>
          <cx:pt idx="2128">216</cx:pt>
          <cx:pt idx="2129">192</cx:pt>
          <cx:pt idx="2130">190</cx:pt>
          <cx:pt idx="2131">193</cx:pt>
          <cx:pt idx="2132">180</cx:pt>
          <cx:pt idx="2133">198</cx:pt>
          <cx:pt idx="2134">206</cx:pt>
          <cx:pt idx="2135">213</cx:pt>
          <cx:pt idx="2136">213</cx:pt>
          <cx:pt idx="2137">188</cx:pt>
          <cx:pt idx="2138">198</cx:pt>
          <cx:pt idx="2139">211</cx:pt>
          <cx:pt idx="2140">217</cx:pt>
          <cx:pt idx="2141">203</cx:pt>
          <cx:pt idx="2142">201</cx:pt>
          <cx:pt idx="2143">195</cx:pt>
          <cx:pt idx="2144">206</cx:pt>
          <cx:pt idx="2145">213</cx:pt>
          <cx:pt idx="2146">205</cx:pt>
          <cx:pt idx="2147">205</cx:pt>
          <cx:pt idx="2148">212</cx:pt>
          <cx:pt idx="2149">200</cx:pt>
          <cx:pt idx="2150">182</cx:pt>
          <cx:pt idx="2151">197</cx:pt>
          <cx:pt idx="2152">185</cx:pt>
          <cx:pt idx="2153">217</cx:pt>
          <cx:pt idx="2154">218</cx:pt>
          <cx:pt idx="2155">210</cx:pt>
          <cx:pt idx="2156">188</cx:pt>
          <cx:pt idx="2157">200</cx:pt>
          <cx:pt idx="2158">188</cx:pt>
          <cx:pt idx="2159">219</cx:pt>
          <cx:pt idx="2160">213</cx:pt>
          <cx:pt idx="2161">207</cx:pt>
          <cx:pt idx="2162">190</cx:pt>
          <cx:pt idx="2163">217</cx:pt>
          <cx:pt idx="2164">204</cx:pt>
          <cx:pt idx="2165">185</cx:pt>
          <cx:pt idx="2166">182</cx:pt>
          <cx:pt idx="2167">214</cx:pt>
          <cx:pt idx="2168">215</cx:pt>
          <cx:pt idx="2169">180</cx:pt>
          <cx:pt idx="2170">207</cx:pt>
          <cx:pt idx="2171">185</cx:pt>
          <cx:pt idx="2172">180</cx:pt>
          <cx:pt idx="2173">218</cx:pt>
          <cx:pt idx="2174">182</cx:pt>
          <cx:pt idx="2175">186</cx:pt>
          <cx:pt idx="2176">194</cx:pt>
          <cx:pt idx="2177">200</cx:pt>
          <cx:pt idx="2178">218</cx:pt>
          <cx:pt idx="2179">205</cx:pt>
          <cx:pt idx="2180">191</cx:pt>
          <cx:pt idx="2181">189</cx:pt>
          <cx:pt idx="2182">195</cx:pt>
          <cx:pt idx="2183">216</cx:pt>
          <cx:pt idx="2184">219</cx:pt>
          <cx:pt idx="2185">212</cx:pt>
          <cx:pt idx="2186">212</cx:pt>
          <cx:pt idx="2187">187</cx:pt>
          <cx:pt idx="2188">184</cx:pt>
          <cx:pt idx="2189">194</cx:pt>
          <cx:pt idx="2190">202</cx:pt>
          <cx:pt idx="2191">213</cx:pt>
          <cx:pt idx="2192">204</cx:pt>
          <cx:pt idx="2193">200</cx:pt>
          <cx:pt idx="2194">186</cx:pt>
          <cx:pt idx="2195">214</cx:pt>
          <cx:pt idx="2196">200</cx:pt>
          <cx:pt idx="2197">188</cx:pt>
          <cx:pt idx="2198">191</cx:pt>
          <cx:pt idx="2199">191</cx:pt>
          <cx:pt idx="2200">206</cx:pt>
          <cx:pt idx="2201">205</cx:pt>
          <cx:pt idx="2202">185</cx:pt>
          <cx:pt idx="2203">185</cx:pt>
          <cx:pt idx="2204">204</cx:pt>
          <cx:pt idx="2205">191</cx:pt>
          <cx:pt idx="2206">182</cx:pt>
          <cx:pt idx="2207">216</cx:pt>
          <cx:pt idx="2208">196</cx:pt>
          <cx:pt idx="2209">189</cx:pt>
          <cx:pt idx="2210">183</cx:pt>
          <cx:pt idx="2211">188</cx:pt>
          <cx:pt idx="2212">190</cx:pt>
          <cx:pt idx="2213">189</cx:pt>
          <cx:pt idx="2214">214</cx:pt>
          <cx:pt idx="2215">209</cx:pt>
          <cx:pt idx="2216">200</cx:pt>
          <cx:pt idx="2217">188</cx:pt>
          <cx:pt idx="2218">189</cx:pt>
          <cx:pt idx="2219">209</cx:pt>
          <cx:pt idx="2220">213</cx:pt>
          <cx:pt idx="2221">195</cx:pt>
          <cx:pt idx="2222">195</cx:pt>
          <cx:pt idx="2223">220</cx:pt>
          <cx:pt idx="2224">182</cx:pt>
          <cx:pt idx="2225">188</cx:pt>
          <cx:pt idx="2226">197</cx:pt>
          <cx:pt idx="2227">211</cx:pt>
          <cx:pt idx="2228">195</cx:pt>
          <cx:pt idx="2229">183</cx:pt>
          <cx:pt idx="2230">207</cx:pt>
          <cx:pt idx="2231">198</cx:pt>
          <cx:pt idx="2232">216</cx:pt>
          <cx:pt idx="2233">183</cx:pt>
          <cx:pt idx="2234">208</cx:pt>
          <cx:pt idx="2235">194</cx:pt>
          <cx:pt idx="2236">219</cx:pt>
          <cx:pt idx="2237">219</cx:pt>
          <cx:pt idx="2238">195</cx:pt>
          <cx:pt idx="2239">186</cx:pt>
          <cx:pt idx="2240">216</cx:pt>
          <cx:pt idx="2241">212</cx:pt>
          <cx:pt idx="2242">193</cx:pt>
          <cx:pt idx="2243">190</cx:pt>
          <cx:pt idx="2244">208</cx:pt>
          <cx:pt idx="2245">209</cx:pt>
          <cx:pt idx="2246">211</cx:pt>
          <cx:pt idx="2247">216</cx:pt>
          <cx:pt idx="2248">217</cx:pt>
          <cx:pt idx="2249">218</cx:pt>
          <cx:pt idx="2250">204</cx:pt>
          <cx:pt idx="2251">210</cx:pt>
          <cx:pt idx="2252">203</cx:pt>
          <cx:pt idx="2253">234</cx:pt>
          <cx:pt idx="2254">221</cx:pt>
          <cx:pt idx="2255">241</cx:pt>
          <cx:pt idx="2256">249</cx:pt>
          <cx:pt idx="2257">236</cx:pt>
          <cx:pt idx="2258">233</cx:pt>
          <cx:pt idx="2259">250</cx:pt>
          <cx:pt idx="2260">245</cx:pt>
          <cx:pt idx="2261">222</cx:pt>
          <cx:pt idx="2262">240</cx:pt>
          <cx:pt idx="2263">236</cx:pt>
          <cx:pt idx="2264">228</cx:pt>
          <cx:pt idx="2265">244</cx:pt>
          <cx:pt idx="2266">222</cx:pt>
          <cx:pt idx="2267">246</cx:pt>
          <cx:pt idx="2268">247</cx:pt>
          <cx:pt idx="2269">243</cx:pt>
          <cx:pt idx="2270">234</cx:pt>
          <cx:pt idx="2271">228</cx:pt>
          <cx:pt idx="2272">242</cx:pt>
          <cx:pt idx="2273">222</cx:pt>
          <cx:pt idx="2274">241</cx:pt>
          <cx:pt idx="2275">229</cx:pt>
          <cx:pt idx="2276">236</cx:pt>
          <cx:pt idx="2277">247</cx:pt>
          <cx:pt idx="2278">238</cx:pt>
          <cx:pt idx="2279">230</cx:pt>
          <cx:pt idx="2280">221</cx:pt>
          <cx:pt idx="2281">232</cx:pt>
          <cx:pt idx="2282">222</cx:pt>
          <cx:pt idx="2283">232</cx:pt>
          <cx:pt idx="2284">245</cx:pt>
          <cx:pt idx="2285">233</cx:pt>
          <cx:pt idx="2286">249</cx:pt>
          <cx:pt idx="2287">249</cx:pt>
          <cx:pt idx="2288">238</cx:pt>
          <cx:pt idx="2289">240</cx:pt>
          <cx:pt idx="2290">237</cx:pt>
          <cx:pt idx="2291">233</cx:pt>
          <cx:pt idx="2292">235</cx:pt>
          <cx:pt idx="2293">239</cx:pt>
          <cx:pt idx="2294">236</cx:pt>
          <cx:pt idx="2295">235</cx:pt>
          <cx:pt idx="2296">244</cx:pt>
          <cx:pt idx="2297">238</cx:pt>
          <cx:pt idx="2298">256</cx:pt>
          <cx:pt idx="2299">256</cx:pt>
          <cx:pt idx="2300">254</cx:pt>
          <cx:pt idx="2301">247</cx:pt>
          <cx:pt idx="2302">237</cx:pt>
          <cx:pt idx="2303">261</cx:pt>
          <cx:pt idx="2304">264</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187</cx:pt>
          <cx:pt idx="2322">180</cx:pt>
          <cx:pt idx="2323">204</cx:pt>
          <cx:pt idx="2324">203</cx:pt>
          <cx:pt idx="2325">220</cx:pt>
          <cx:pt idx="2326">181</cx:pt>
          <cx:pt idx="2327">191</cx:pt>
          <cx:pt idx="2328">195</cx:pt>
          <cx:pt idx="2329">191</cx:pt>
          <cx:pt idx="2330">219</cx:pt>
          <cx:pt idx="2331">212</cx:pt>
          <cx:pt idx="2332">218</cx:pt>
          <cx:pt idx="2333">202</cx:pt>
          <cx:pt idx="2334">181</cx:pt>
          <cx:pt idx="2335">206</cx:pt>
          <cx:pt idx="2336">217</cx:pt>
          <cx:pt idx="2337">191</cx:pt>
          <cx:pt idx="2338">215</cx:pt>
          <cx:pt idx="2339">213</cx:pt>
          <cx:pt idx="2340">200</cx:pt>
          <cx:pt idx="2341">197</cx:pt>
          <cx:pt idx="2342">200</cx:pt>
          <cx:pt idx="2343">184</cx:pt>
          <cx:pt idx="2344">184</cx:pt>
          <cx:pt idx="2345">194</cx:pt>
          <cx:pt idx="2346">191</cx:pt>
          <cx:pt idx="2347">220</cx:pt>
          <cx:pt idx="2348">207</cx:pt>
          <cx:pt idx="2349">214</cx:pt>
          <cx:pt idx="2350">209</cx:pt>
          <cx:pt idx="2351">189</cx:pt>
          <cx:pt idx="2352">213</cx:pt>
          <cx:pt idx="2353">209</cx:pt>
          <cx:pt idx="2354">207</cx:pt>
          <cx:pt idx="2355">185</cx:pt>
          <cx:pt idx="2356">184</cx:pt>
          <cx:pt idx="2357">185</cx:pt>
          <cx:pt idx="2358">210</cx:pt>
          <cx:pt idx="2359">194</cx:pt>
          <cx:pt idx="2360">212</cx:pt>
          <cx:pt idx="2361">192</cx:pt>
          <cx:pt idx="2362">185</cx:pt>
          <cx:pt idx="2363">206</cx:pt>
          <cx:pt idx="2364">187</cx:pt>
          <cx:pt idx="2365">186</cx:pt>
          <cx:pt idx="2366">193</cx:pt>
          <cx:pt idx="2367">185</cx:pt>
          <cx:pt idx="2368">214</cx:pt>
          <cx:pt idx="2369">216</cx:pt>
          <cx:pt idx="2370">184</cx:pt>
          <cx:pt idx="2371">180</cx:pt>
          <cx:pt idx="2372">217</cx:pt>
          <cx:pt idx="2373">191</cx:pt>
          <cx:pt idx="2374">205</cx:pt>
          <cx:pt idx="2375">214</cx:pt>
          <cx:pt idx="2376">218</cx:pt>
          <cx:pt idx="2377">186</cx:pt>
          <cx:pt idx="2378">213</cx:pt>
          <cx:pt idx="2379">191</cx:pt>
          <cx:pt idx="2380">212</cx:pt>
          <cx:pt idx="2381">202</cx:pt>
          <cx:pt idx="2382">212</cx:pt>
          <cx:pt idx="2383">180</cx:pt>
          <cx:pt idx="2384">214</cx:pt>
          <cx:pt idx="2385">187</cx:pt>
          <cx:pt idx="2386">216</cx:pt>
          <cx:pt idx="2387">214</cx:pt>
          <cx:pt idx="2388">185</cx:pt>
          <cx:pt idx="2389">210</cx:pt>
          <cx:pt idx="2390">180</cx:pt>
          <cx:pt idx="2391">214</cx:pt>
          <cx:pt idx="2392">200</cx:pt>
          <cx:pt idx="2393">183</cx:pt>
          <cx:pt idx="2394">201</cx:pt>
          <cx:pt idx="2395">217</cx:pt>
          <cx:pt idx="2396">188</cx:pt>
          <cx:pt idx="2397">193</cx:pt>
          <cx:pt idx="2398">215</cx:pt>
          <cx:pt idx="2399">204</cx:pt>
          <cx:pt idx="2400">219</cx:pt>
          <cx:pt idx="2401">191</cx:pt>
          <cx:pt idx="2402">211</cx:pt>
          <cx:pt idx="2403">185</cx:pt>
          <cx:pt idx="2404">198</cx:pt>
          <cx:pt idx="2405">208</cx:pt>
          <cx:pt idx="2406">190</cx:pt>
          <cx:pt idx="2407">213</cx:pt>
          <cx:pt idx="2408">196</cx:pt>
          <cx:pt idx="2409">184</cx:pt>
          <cx:pt idx="2410">197</cx:pt>
          <cx:pt idx="2411">212</cx:pt>
          <cx:pt idx="2412">197</cx:pt>
          <cx:pt idx="2413">200</cx:pt>
          <cx:pt idx="2414">182</cx:pt>
          <cx:pt idx="2415">201</cx:pt>
          <cx:pt idx="2416">209</cx:pt>
          <cx:pt idx="2417">210</cx:pt>
          <cx:pt idx="2418">203</cx:pt>
          <cx:pt idx="2419">184</cx:pt>
          <cx:pt idx="2420">215</cx:pt>
          <cx:pt idx="2421">181</cx:pt>
          <cx:pt idx="2422">210</cx:pt>
          <cx:pt idx="2423">199</cx:pt>
          <cx:pt idx="2424">192</cx:pt>
          <cx:pt idx="2425">214</cx:pt>
          <cx:pt idx="2426">211</cx:pt>
          <cx:pt idx="2427">206</cx:pt>
          <cx:pt idx="2428">208</cx:pt>
          <cx:pt idx="2429">212</cx:pt>
          <cx:pt idx="2430">182</cx:pt>
          <cx:pt idx="2431">196</cx:pt>
          <cx:pt idx="2432">202</cx:pt>
          <cx:pt idx="2433">207</cx:pt>
          <cx:pt idx="2434">214</cx:pt>
          <cx:pt idx="2435">202</cx:pt>
          <cx:pt idx="2436">181</cx:pt>
          <cx:pt idx="2437">220</cx:pt>
          <cx:pt idx="2438">207</cx:pt>
          <cx:pt idx="2439">199</cx:pt>
          <cx:pt idx="2440">192</cx:pt>
          <cx:pt idx="2441">197</cx:pt>
          <cx:pt idx="2442">181</cx:pt>
          <cx:pt idx="2443">184</cx:pt>
          <cx:pt idx="2444">213</cx:pt>
          <cx:pt idx="2445">215</cx:pt>
          <cx:pt idx="2446">184</cx:pt>
          <cx:pt idx="2447">208</cx:pt>
          <cx:pt idx="2448">183</cx:pt>
          <cx:pt idx="2449">213</cx:pt>
          <cx:pt idx="2450">182</cx:pt>
          <cx:pt idx="2451">181</cx:pt>
        </cx:lvl>
      </cx:numDim>
    </cx:data>
    <cx:data id="4">
      <cx:numDim type="val">
        <cx:f>'Data Repository Table - Raw'!$G$2:$G$2453</cx:f>
        <cx:lvl ptCount="2452" formatCode="General">
          <cx:pt idx="0">54</cx:pt>
          <cx:pt idx="1">46</cx:pt>
          <cx:pt idx="2">55</cx:pt>
          <cx:pt idx="3">49</cx:pt>
          <cx:pt idx="4">50</cx:pt>
          <cx:pt idx="5">47</cx:pt>
          <cx:pt idx="6">51</cx:pt>
          <cx:pt idx="7">54</cx:pt>
          <cx:pt idx="8">53</cx:pt>
          <cx:pt idx="9">45</cx:pt>
          <cx:pt idx="10">51</cx:pt>
          <cx:pt idx="11">54</cx:pt>
          <cx:pt idx="12">45</cx:pt>
          <cx:pt idx="13">49</cx:pt>
          <cx:pt idx="14">52</cx:pt>
          <cx:pt idx="15">45</cx:pt>
          <cx:pt idx="16">47</cx:pt>
          <cx:pt idx="17">55</cx:pt>
          <cx:pt idx="18">52</cx:pt>
          <cx:pt idx="19">51</cx:pt>
          <cx:pt idx="20">45</cx:pt>
          <cx:pt idx="21">48</cx:pt>
          <cx:pt idx="22">47</cx:pt>
          <cx:pt idx="23">46</cx:pt>
          <cx:pt idx="24">48</cx:pt>
          <cx:pt idx="25">51</cx:pt>
          <cx:pt idx="26">48</cx:pt>
          <cx:pt idx="27">52</cx:pt>
          <cx:pt idx="28">46</cx:pt>
          <cx:pt idx="29">55</cx:pt>
          <cx:pt idx="30">53</cx:pt>
          <cx:pt idx="31">45</cx:pt>
          <cx:pt idx="32">46</cx:pt>
          <cx:pt idx="33">46</cx:pt>
          <cx:pt idx="34">53</cx:pt>
          <cx:pt idx="35">50</cx:pt>
          <cx:pt idx="36">51</cx:pt>
          <cx:pt idx="37">46</cx:pt>
          <cx:pt idx="38">45</cx:pt>
          <cx:pt idx="39">52</cx:pt>
          <cx:pt idx="40">46</cx:pt>
          <cx:pt idx="41">55</cx:pt>
          <cx:pt idx="42">53</cx:pt>
          <cx:pt idx="43">48</cx:pt>
          <cx:pt idx="44">49</cx:pt>
          <cx:pt idx="45">54</cx:pt>
          <cx:pt idx="46">53</cx:pt>
          <cx:pt idx="47">49</cx:pt>
          <cx:pt idx="48">49</cx:pt>
          <cx:pt idx="49">53</cx:pt>
          <cx:pt idx="50">46</cx:pt>
          <cx:pt idx="51">45</cx:pt>
          <cx:pt idx="52">52</cx:pt>
          <cx:pt idx="53">52</cx:pt>
          <cx:pt idx="54">55</cx:pt>
          <cx:pt idx="55">54</cx:pt>
          <cx:pt idx="56">55</cx:pt>
          <cx:pt idx="57">46</cx:pt>
          <cx:pt idx="58">48</cx:pt>
          <cx:pt idx="59">55</cx:pt>
          <cx:pt idx="60">48</cx:pt>
          <cx:pt idx="61">48</cx:pt>
          <cx:pt idx="62">46</cx:pt>
          <cx:pt idx="63">49</cx:pt>
          <cx:pt idx="64">52</cx:pt>
          <cx:pt idx="65">51</cx:pt>
          <cx:pt idx="66">53</cx:pt>
          <cx:pt idx="67">47</cx:pt>
          <cx:pt idx="68">49</cx:pt>
          <cx:pt idx="69">46</cx:pt>
          <cx:pt idx="70">53</cx:pt>
          <cx:pt idx="71">54</cx:pt>
          <cx:pt idx="72">46</cx:pt>
          <cx:pt idx="73">47</cx:pt>
          <cx:pt idx="74">51</cx:pt>
          <cx:pt idx="75">47</cx:pt>
          <cx:pt idx="76">55</cx:pt>
          <cx:pt idx="77">50</cx:pt>
          <cx:pt idx="78">54</cx:pt>
          <cx:pt idx="79">55</cx:pt>
          <cx:pt idx="80">53</cx:pt>
          <cx:pt idx="81">46</cx:pt>
          <cx:pt idx="82">46</cx:pt>
          <cx:pt idx="83">46</cx:pt>
          <cx:pt idx="84">52</cx:pt>
          <cx:pt idx="85">55</cx:pt>
          <cx:pt idx="86">54</cx:pt>
          <cx:pt idx="87">45</cx:pt>
          <cx:pt idx="88">48</cx:pt>
          <cx:pt idx="89">53</cx:pt>
          <cx:pt idx="90">45</cx:pt>
          <cx:pt idx="91">52</cx:pt>
          <cx:pt idx="92">55</cx:pt>
          <cx:pt idx="93">55</cx:pt>
          <cx:pt idx="94">47</cx:pt>
          <cx:pt idx="95">47</cx:pt>
          <cx:pt idx="96">48</cx:pt>
          <cx:pt idx="97">55</cx:pt>
          <cx:pt idx="98">48</cx:pt>
          <cx:pt idx="99">50</cx:pt>
          <cx:pt idx="100">49</cx:pt>
          <cx:pt idx="101">53</cx:pt>
          <cx:pt idx="102">48</cx:pt>
          <cx:pt idx="103">46</cx:pt>
          <cx:pt idx="104">50</cx:pt>
          <cx:pt idx="105">51</cx:pt>
          <cx:pt idx="106">54</cx:pt>
          <cx:pt idx="107">49</cx:pt>
          <cx:pt idx="108">45</cx:pt>
          <cx:pt idx="109">50</cx:pt>
          <cx:pt idx="110">50</cx:pt>
          <cx:pt idx="111">55</cx:pt>
          <cx:pt idx="112">48</cx:pt>
          <cx:pt idx="113">46</cx:pt>
          <cx:pt idx="114">49</cx:pt>
          <cx:pt idx="115">50</cx:pt>
          <cx:pt idx="116">49</cx:pt>
          <cx:pt idx="117">49</cx:pt>
          <cx:pt idx="118">45</cx:pt>
          <cx:pt idx="119">49</cx:pt>
          <cx:pt idx="120">52</cx:pt>
          <cx:pt idx="121">54</cx:pt>
          <cx:pt idx="122">48</cx:pt>
          <cx:pt idx="123">45</cx:pt>
          <cx:pt idx="124">52</cx:pt>
          <cx:pt idx="125">54</cx:pt>
          <cx:pt idx="126">46</cx:pt>
          <cx:pt idx="127">46</cx:pt>
          <cx:pt idx="128">48</cx:pt>
          <cx:pt idx="129">55</cx:pt>
          <cx:pt idx="130">49</cx:pt>
          <cx:pt idx="131">53</cx:pt>
          <cx:pt idx="132">52</cx:pt>
          <cx:pt idx="133">54</cx:pt>
          <cx:pt idx="134">46</cx:pt>
          <cx:pt idx="135">45</cx:pt>
          <cx:pt idx="136">45</cx:pt>
          <cx:pt idx="137">46</cx:pt>
          <cx:pt idx="138">55</cx:pt>
          <cx:pt idx="139">51</cx:pt>
          <cx:pt idx="140">54</cx:pt>
          <cx:pt idx="141">48</cx:pt>
          <cx:pt idx="142">55</cx:pt>
          <cx:pt idx="143">49</cx:pt>
          <cx:pt idx="144">51</cx:pt>
          <cx:pt idx="145">49</cx:pt>
          <cx:pt idx="146">48</cx:pt>
          <cx:pt idx="147">50</cx:pt>
          <cx:pt idx="148">51</cx:pt>
          <cx:pt idx="149">45</cx:pt>
          <cx:pt idx="150">49</cx:pt>
          <cx:pt idx="151">45</cx:pt>
          <cx:pt idx="152">46</cx:pt>
          <cx:pt idx="153">45</cx:pt>
          <cx:pt idx="154">53</cx:pt>
          <cx:pt idx="155">52</cx:pt>
          <cx:pt idx="156">47</cx:pt>
          <cx:pt idx="157">45</cx:pt>
          <cx:pt idx="158">48</cx:pt>
          <cx:pt idx="159">48</cx:pt>
          <cx:pt idx="160">45</cx:pt>
          <cx:pt idx="161">46</cx:pt>
          <cx:pt idx="162">53</cx:pt>
          <cx:pt idx="163">45</cx:pt>
          <cx:pt idx="164">50</cx:pt>
          <cx:pt idx="165">46</cx:pt>
          <cx:pt idx="166">47</cx:pt>
          <cx:pt idx="167">50</cx:pt>
          <cx:pt idx="168">52</cx:pt>
          <cx:pt idx="169">45</cx:pt>
          <cx:pt idx="170">47</cx:pt>
          <cx:pt idx="171">49</cx:pt>
          <cx:pt idx="172">47</cx:pt>
          <cx:pt idx="173">55</cx:pt>
          <cx:pt idx="174">53</cx:pt>
          <cx:pt idx="175">47</cx:pt>
          <cx:pt idx="176">52</cx:pt>
          <cx:pt idx="177">54</cx:pt>
          <cx:pt idx="178">45</cx:pt>
          <cx:pt idx="179">47</cx:pt>
          <cx:pt idx="180">49</cx:pt>
          <cx:pt idx="181">51</cx:pt>
          <cx:pt idx="182">46</cx:pt>
          <cx:pt idx="183">47</cx:pt>
          <cx:pt idx="184">47</cx:pt>
          <cx:pt idx="185">54</cx:pt>
          <cx:pt idx="186">46</cx:pt>
          <cx:pt idx="187">52</cx:pt>
          <cx:pt idx="188">54</cx:pt>
          <cx:pt idx="189">46</cx:pt>
          <cx:pt idx="190">53</cx:pt>
          <cx:pt idx="191">52</cx:pt>
          <cx:pt idx="192">55</cx:pt>
          <cx:pt idx="193">55</cx:pt>
          <cx:pt idx="194">48</cx:pt>
          <cx:pt idx="195">50</cx:pt>
          <cx:pt idx="196">51</cx:pt>
          <cx:pt idx="197">50</cx:pt>
          <cx:pt idx="198">52</cx:pt>
          <cx:pt idx="199">50</cx:pt>
          <cx:pt idx="200">49</cx:pt>
          <cx:pt idx="201">49</cx:pt>
          <cx:pt idx="202">48</cx:pt>
          <cx:pt idx="203">45</cx:pt>
          <cx:pt idx="204">51</cx:pt>
          <cx:pt idx="205">47</cx:pt>
          <cx:pt idx="206">54</cx:pt>
          <cx:pt idx="207">46</cx:pt>
          <cx:pt idx="208">45</cx:pt>
          <cx:pt idx="209">50</cx:pt>
          <cx:pt idx="210">54</cx:pt>
          <cx:pt idx="211">54</cx:pt>
          <cx:pt idx="212">47</cx:pt>
          <cx:pt idx="213">50</cx:pt>
          <cx:pt idx="214">55</cx:pt>
          <cx:pt idx="215">48</cx:pt>
          <cx:pt idx="216">49</cx:pt>
          <cx:pt idx="217">48</cx:pt>
          <cx:pt idx="218">48</cx:pt>
          <cx:pt idx="219">47</cx:pt>
          <cx:pt idx="220">53</cx:pt>
          <cx:pt idx="221">47</cx:pt>
          <cx:pt idx="222">50</cx:pt>
          <cx:pt idx="223">47</cx:pt>
          <cx:pt idx="224">45</cx:pt>
          <cx:pt idx="225">51</cx:pt>
          <cx:pt idx="226">49</cx:pt>
          <cx:pt idx="227">46</cx:pt>
          <cx:pt idx="228">55</cx:pt>
          <cx:pt idx="229">46</cx:pt>
          <cx:pt idx="230">51</cx:pt>
          <cx:pt idx="231">55</cx:pt>
          <cx:pt idx="232">53</cx:pt>
          <cx:pt idx="233">47</cx:pt>
          <cx:pt idx="234">49</cx:pt>
          <cx:pt idx="235">46</cx:pt>
          <cx:pt idx="236">45</cx:pt>
          <cx:pt idx="237">46</cx:pt>
          <cx:pt idx="238">51</cx:pt>
          <cx:pt idx="239">47</cx:pt>
          <cx:pt idx="240">45</cx:pt>
          <cx:pt idx="241">55</cx:pt>
          <cx:pt idx="242">45</cx:pt>
          <cx:pt idx="243">55</cx:pt>
          <cx:pt idx="244">54</cx:pt>
          <cx:pt idx="245">52</cx:pt>
          <cx:pt idx="246">54</cx:pt>
          <cx:pt idx="247">53</cx:pt>
          <cx:pt idx="248">54</cx:pt>
          <cx:pt idx="249">53</cx:pt>
          <cx:pt idx="250">53</cx:pt>
          <cx:pt idx="251">52</cx:pt>
          <cx:pt idx="252">52</cx:pt>
          <cx:pt idx="253">54</cx:pt>
          <cx:pt idx="254">55</cx:pt>
          <cx:pt idx="255">55</cx:pt>
          <cx:pt idx="256">55</cx:pt>
          <cx:pt idx="257">53</cx:pt>
          <cx:pt idx="258">53</cx:pt>
          <cx:pt idx="259">55</cx:pt>
          <cx:pt idx="260">55</cx:pt>
          <cx:pt idx="261">53</cx:pt>
          <cx:pt idx="262">55</cx:pt>
          <cx:pt idx="263">54</cx:pt>
          <cx:pt idx="264">52</cx:pt>
          <cx:pt idx="265">54</cx:pt>
          <cx:pt idx="266">54</cx:pt>
          <cx:pt idx="267">53</cx:pt>
          <cx:pt idx="268">55</cx:pt>
          <cx:pt idx="269">53</cx:pt>
          <cx:pt idx="270">53</cx:pt>
          <cx:pt idx="271">54</cx:pt>
          <cx:pt idx="272">52</cx:pt>
          <cx:pt idx="273">53</cx:pt>
          <cx:pt idx="274">55</cx:pt>
          <cx:pt idx="275">53</cx:pt>
          <cx:pt idx="276">55</cx:pt>
          <cx:pt idx="277">55</cx:pt>
          <cx:pt idx="278">52</cx:pt>
          <cx:pt idx="279">54</cx:pt>
          <cx:pt idx="280">52</cx:pt>
          <cx:pt idx="281">54</cx:pt>
          <cx:pt idx="282">53</cx:pt>
          <cx:pt idx="283">54</cx:pt>
          <cx:pt idx="284">52</cx:pt>
          <cx:pt idx="285">54</cx:pt>
          <cx:pt idx="286">52</cx:pt>
          <cx:pt idx="287">50</cx:pt>
          <cx:pt idx="288">49</cx:pt>
          <cx:pt idx="289">55</cx:pt>
          <cx:pt idx="290">50</cx:pt>
          <cx:pt idx="291">54</cx:pt>
          <cx:pt idx="292">53</cx:pt>
          <cx:pt idx="293">54</cx:pt>
          <cx:pt idx="294">55</cx:pt>
          <cx:pt idx="295">47</cx:pt>
          <cx:pt idx="296">55</cx:pt>
          <cx:pt idx="297">51</cx:pt>
          <cx:pt idx="298">46</cx:pt>
          <cx:pt idx="299">46</cx:pt>
          <cx:pt idx="300">45</cx:pt>
          <cx:pt idx="301">47</cx:pt>
          <cx:pt idx="302">53</cx:pt>
          <cx:pt idx="303">51</cx:pt>
          <cx:pt idx="304">54</cx:pt>
          <cx:pt idx="305">53</cx:pt>
          <cx:pt idx="306">53</cx:pt>
          <cx:pt idx="307">47</cx:pt>
          <cx:pt idx="308">54</cx:pt>
          <cx:pt idx="309">52</cx:pt>
          <cx:pt idx="310">50</cx:pt>
          <cx:pt idx="311">48</cx:pt>
          <cx:pt idx="312">51</cx:pt>
          <cx:pt idx="313">55</cx:pt>
          <cx:pt idx="314">53</cx:pt>
          <cx:pt idx="315">50</cx:pt>
          <cx:pt idx="316">48</cx:pt>
          <cx:pt idx="317">55</cx:pt>
          <cx:pt idx="318">46</cx:pt>
          <cx:pt idx="319">52</cx:pt>
          <cx:pt idx="320">47</cx:pt>
          <cx:pt idx="321">52</cx:pt>
          <cx:pt idx="322">52</cx:pt>
          <cx:pt idx="323">52</cx:pt>
          <cx:pt idx="324">46</cx:pt>
          <cx:pt idx="325">54</cx:pt>
          <cx:pt idx="326">53</cx:pt>
          <cx:pt idx="327">54</cx:pt>
          <cx:pt idx="328">52</cx:pt>
          <cx:pt idx="329">50</cx:pt>
          <cx:pt idx="330">55</cx:pt>
          <cx:pt idx="331">47</cx:pt>
          <cx:pt idx="332">51</cx:pt>
          <cx:pt idx="333">55</cx:pt>
          <cx:pt idx="334">55</cx:pt>
          <cx:pt idx="335">55</cx:pt>
          <cx:pt idx="336">46</cx:pt>
          <cx:pt idx="337">50</cx:pt>
          <cx:pt idx="338">54</cx:pt>
          <cx:pt idx="339">54</cx:pt>
          <cx:pt idx="340">45</cx:pt>
          <cx:pt idx="341">48</cx:pt>
          <cx:pt idx="342">55</cx:pt>
          <cx:pt idx="343">47</cx:pt>
          <cx:pt idx="344">46</cx:pt>
          <cx:pt idx="345">55</cx:pt>
          <cx:pt idx="346">51</cx:pt>
          <cx:pt idx="347">45</cx:pt>
          <cx:pt idx="348">52</cx:pt>
          <cx:pt idx="349">45</cx:pt>
          <cx:pt idx="350">51</cx:pt>
          <cx:pt idx="351">52</cx:pt>
          <cx:pt idx="352">53</cx:pt>
          <cx:pt idx="353">46</cx:pt>
          <cx:pt idx="354">48</cx:pt>
          <cx:pt idx="355">47</cx:pt>
          <cx:pt idx="356">45</cx:pt>
          <cx:pt idx="357">47</cx:pt>
          <cx:pt idx="358">45</cx:pt>
          <cx:pt idx="359">45</cx:pt>
          <cx:pt idx="360">49</cx:pt>
          <cx:pt idx="361">47</cx:pt>
          <cx:pt idx="362">51</cx:pt>
          <cx:pt idx="363">50</cx:pt>
          <cx:pt idx="364">54</cx:pt>
          <cx:pt idx="365">49</cx:pt>
          <cx:pt idx="366">45</cx:pt>
          <cx:pt idx="367">55</cx:pt>
          <cx:pt idx="368">54</cx:pt>
          <cx:pt idx="369">47</cx:pt>
          <cx:pt idx="370">54</cx:pt>
          <cx:pt idx="371">52</cx:pt>
          <cx:pt idx="372">47</cx:pt>
          <cx:pt idx="373">52</cx:pt>
          <cx:pt idx="374">46</cx:pt>
          <cx:pt idx="375">52</cx:pt>
          <cx:pt idx="376">50</cx:pt>
          <cx:pt idx="377">50</cx:pt>
          <cx:pt idx="378">47</cx:pt>
          <cx:pt idx="379">50</cx:pt>
          <cx:pt idx="380">45</cx:pt>
          <cx:pt idx="381">47</cx:pt>
          <cx:pt idx="382">51</cx:pt>
          <cx:pt idx="383">48</cx:pt>
          <cx:pt idx="384">50</cx:pt>
          <cx:pt idx="385">48</cx:pt>
          <cx:pt idx="386">46</cx:pt>
          <cx:pt idx="387">53</cx:pt>
          <cx:pt idx="388">55</cx:pt>
          <cx:pt idx="389">53</cx:pt>
          <cx:pt idx="390">51</cx:pt>
          <cx:pt idx="391">52</cx:pt>
          <cx:pt idx="392">53</cx:pt>
          <cx:pt idx="393">46</cx:pt>
          <cx:pt idx="394">45</cx:pt>
          <cx:pt idx="395">48</cx:pt>
          <cx:pt idx="396">48</cx:pt>
          <cx:pt idx="397">50</cx:pt>
          <cx:pt idx="398">45</cx:pt>
          <cx:pt idx="399">50</cx:pt>
          <cx:pt idx="400">45</cx:pt>
          <cx:pt idx="401">46</cx:pt>
          <cx:pt idx="402">50</cx:pt>
          <cx:pt idx="403">53</cx:pt>
          <cx:pt idx="404">45</cx:pt>
          <cx:pt idx="405">45</cx:pt>
          <cx:pt idx="406">50</cx:pt>
          <cx:pt idx="407">51</cx:pt>
          <cx:pt idx="408">54</cx:pt>
          <cx:pt idx="409">48</cx:pt>
          <cx:pt idx="410">55</cx:pt>
          <cx:pt idx="411">45</cx:pt>
          <cx:pt idx="412">46</cx:pt>
          <cx:pt idx="413">55</cx:pt>
          <cx:pt idx="414">46</cx:pt>
          <cx:pt idx="415">47</cx:pt>
          <cx:pt idx="416">48</cx:pt>
          <cx:pt idx="417">55</cx:pt>
          <cx:pt idx="418">50</cx:pt>
          <cx:pt idx="419">47</cx:pt>
          <cx:pt idx="420">46</cx:pt>
          <cx:pt idx="421">47</cx:pt>
          <cx:pt idx="422">46</cx:pt>
          <cx:pt idx="423">47</cx:pt>
          <cx:pt idx="424">55</cx:pt>
          <cx:pt idx="425">54</cx:pt>
          <cx:pt idx="426">51</cx:pt>
          <cx:pt idx="427">47</cx:pt>
          <cx:pt idx="428">46</cx:pt>
          <cx:pt idx="429">55</cx:pt>
          <cx:pt idx="430">45</cx:pt>
          <cx:pt idx="431">53</cx:pt>
          <cx:pt idx="432">46</cx:pt>
          <cx:pt idx="433">47</cx:pt>
          <cx:pt idx="434">50</cx:pt>
          <cx:pt idx="435">49</cx:pt>
          <cx:pt idx="436">54</cx:pt>
          <cx:pt idx="437">55</cx:pt>
          <cx:pt idx="438">46</cx:pt>
          <cx:pt idx="439">53</cx:pt>
          <cx:pt idx="440">46</cx:pt>
          <cx:pt idx="441">49</cx:pt>
          <cx:pt idx="442">50</cx:pt>
          <cx:pt idx="443">49</cx:pt>
          <cx:pt idx="444">51</cx:pt>
          <cx:pt idx="445">47</cx:pt>
          <cx:pt idx="446">54</cx:pt>
          <cx:pt idx="447">52</cx:pt>
          <cx:pt idx="448">50</cx:pt>
          <cx:pt idx="449">53</cx:pt>
          <cx:pt idx="450">52</cx:pt>
          <cx:pt idx="451">51</cx:pt>
          <cx:pt idx="452">50</cx:pt>
          <cx:pt idx="453">48</cx:pt>
          <cx:pt idx="454">47</cx:pt>
          <cx:pt idx="455">45</cx:pt>
          <cx:pt idx="456">53</cx:pt>
          <cx:pt idx="457">53</cx:pt>
          <cx:pt idx="458">45</cx:pt>
          <cx:pt idx="459">53</cx:pt>
          <cx:pt idx="460">48</cx:pt>
          <cx:pt idx="461">53</cx:pt>
          <cx:pt idx="462">50</cx:pt>
          <cx:pt idx="463">48</cx:pt>
          <cx:pt idx="464">55</cx:pt>
          <cx:pt idx="465">51</cx:pt>
          <cx:pt idx="466">53</cx:pt>
          <cx:pt idx="467">55</cx:pt>
          <cx:pt idx="468">47</cx:pt>
          <cx:pt idx="469">55</cx:pt>
          <cx:pt idx="470">52</cx:pt>
          <cx:pt idx="471">53</cx:pt>
          <cx:pt idx="472">52</cx:pt>
          <cx:pt idx="473">51</cx:pt>
          <cx:pt idx="474">55</cx:pt>
          <cx:pt idx="475">53</cx:pt>
          <cx:pt idx="476">51</cx:pt>
          <cx:pt idx="477">54</cx:pt>
          <cx:pt idx="478">50</cx:pt>
          <cx:pt idx="479">49</cx:pt>
          <cx:pt idx="480">47</cx:pt>
          <cx:pt idx="481">50</cx:pt>
          <cx:pt idx="482">47</cx:pt>
          <cx:pt idx="483">54</cx:pt>
          <cx:pt idx="484">53</cx:pt>
          <cx:pt idx="485">52</cx:pt>
          <cx:pt idx="486">46</cx:pt>
          <cx:pt idx="487">46</cx:pt>
          <cx:pt idx="488">49</cx:pt>
          <cx:pt idx="489">48</cx:pt>
          <cx:pt idx="490">48</cx:pt>
          <cx:pt idx="491">52</cx:pt>
          <cx:pt idx="492">55</cx:pt>
          <cx:pt idx="493">50</cx:pt>
          <cx:pt idx="494">47</cx:pt>
          <cx:pt idx="495">52</cx:pt>
          <cx:pt idx="496">47</cx:pt>
          <cx:pt idx="497">55</cx:pt>
          <cx:pt idx="498">47</cx:pt>
          <cx:pt idx="499">50</cx:pt>
          <cx:pt idx="500">46</cx:pt>
          <cx:pt idx="501">45</cx:pt>
          <cx:pt idx="502">54</cx:pt>
          <cx:pt idx="503">51</cx:pt>
          <cx:pt idx="504">47</cx:pt>
          <cx:pt idx="505">53</cx:pt>
          <cx:pt idx="506">50</cx:pt>
          <cx:pt idx="507">47</cx:pt>
          <cx:pt idx="508">52</cx:pt>
          <cx:pt idx="509">46</cx:pt>
          <cx:pt idx="510">51</cx:pt>
          <cx:pt idx="511">45</cx:pt>
          <cx:pt idx="512">50</cx:pt>
          <cx:pt idx="513">49</cx:pt>
          <cx:pt idx="514">53</cx:pt>
          <cx:pt idx="515">50</cx:pt>
          <cx:pt idx="516">51</cx:pt>
          <cx:pt idx="517">51</cx:pt>
          <cx:pt idx="518">49</cx:pt>
          <cx:pt idx="519">55</cx:pt>
          <cx:pt idx="520">49</cx:pt>
          <cx:pt idx="521">53</cx:pt>
          <cx:pt idx="522">45</cx:pt>
          <cx:pt idx="523">48</cx:pt>
          <cx:pt idx="524">45</cx:pt>
          <cx:pt idx="525">47</cx:pt>
          <cx:pt idx="526">55</cx:pt>
          <cx:pt idx="527">50</cx:pt>
          <cx:pt idx="528">52</cx:pt>
          <cx:pt idx="529">47</cx:pt>
          <cx:pt idx="530">48</cx:pt>
          <cx:pt idx="531">45</cx:pt>
          <cx:pt idx="532">46</cx:pt>
          <cx:pt idx="533">49</cx:pt>
          <cx:pt idx="534">53</cx:pt>
          <cx:pt idx="535">49</cx:pt>
          <cx:pt idx="536">50</cx:pt>
          <cx:pt idx="537">47</cx:pt>
          <cx:pt idx="538">51</cx:pt>
          <cx:pt idx="539">48</cx:pt>
          <cx:pt idx="540">47</cx:pt>
          <cx:pt idx="541">51</cx:pt>
          <cx:pt idx="542">52</cx:pt>
          <cx:pt idx="543">52</cx:pt>
          <cx:pt idx="544">48</cx:pt>
          <cx:pt idx="545">55</cx:pt>
          <cx:pt idx="546">47</cx:pt>
          <cx:pt idx="547">46</cx:pt>
          <cx:pt idx="548">48</cx:pt>
          <cx:pt idx="549">50</cx:pt>
          <cx:pt idx="550">52</cx:pt>
          <cx:pt idx="551">54</cx:pt>
          <cx:pt idx="552">54</cx:pt>
          <cx:pt idx="553">48</cx:pt>
          <cx:pt idx="554">45</cx:pt>
          <cx:pt idx="555">55</cx:pt>
          <cx:pt idx="556">46</cx:pt>
          <cx:pt idx="557">46</cx:pt>
          <cx:pt idx="558">45</cx:pt>
          <cx:pt idx="559">54</cx:pt>
          <cx:pt idx="560">45</cx:pt>
          <cx:pt idx="561">49</cx:pt>
          <cx:pt idx="562">49</cx:pt>
          <cx:pt idx="563">52</cx:pt>
          <cx:pt idx="564">49</cx:pt>
          <cx:pt idx="565">54</cx:pt>
          <cx:pt idx="566">47</cx:pt>
          <cx:pt idx="567">54</cx:pt>
          <cx:pt idx="568">55</cx:pt>
          <cx:pt idx="569">45</cx:pt>
          <cx:pt idx="570">52</cx:pt>
          <cx:pt idx="571">54</cx:pt>
          <cx:pt idx="572">45</cx:pt>
          <cx:pt idx="573">50</cx:pt>
          <cx:pt idx="574">49</cx:pt>
          <cx:pt idx="575">47</cx:pt>
          <cx:pt idx="576">54</cx:pt>
          <cx:pt idx="577">46</cx:pt>
          <cx:pt idx="578">55</cx:pt>
          <cx:pt idx="579">45</cx:pt>
          <cx:pt idx="580">53</cx:pt>
          <cx:pt idx="581">46</cx:pt>
          <cx:pt idx="582">49</cx:pt>
          <cx:pt idx="583">55</cx:pt>
          <cx:pt idx="584">48</cx:pt>
          <cx:pt idx="585">49</cx:pt>
          <cx:pt idx="586">52</cx:pt>
          <cx:pt idx="587">49</cx:pt>
          <cx:pt idx="588">46</cx:pt>
          <cx:pt idx="589">50</cx:pt>
          <cx:pt idx="590">55</cx:pt>
          <cx:pt idx="591">51</cx:pt>
          <cx:pt idx="592">48</cx:pt>
          <cx:pt idx="593">48</cx:pt>
          <cx:pt idx="594">46</cx:pt>
          <cx:pt idx="595">48</cx:pt>
          <cx:pt idx="596">55</cx:pt>
          <cx:pt idx="597">50</cx:pt>
          <cx:pt idx="598">53</cx:pt>
          <cx:pt idx="599">52</cx:pt>
          <cx:pt idx="600">53</cx:pt>
          <cx:pt idx="601">53</cx:pt>
          <cx:pt idx="602">52</cx:pt>
          <cx:pt idx="603">48</cx:pt>
          <cx:pt idx="604">53</cx:pt>
          <cx:pt idx="605">48</cx:pt>
          <cx:pt idx="606">50</cx:pt>
          <cx:pt idx="607">47</cx:pt>
          <cx:pt idx="608">47</cx:pt>
          <cx:pt idx="609">49</cx:pt>
          <cx:pt idx="610">48</cx:pt>
          <cx:pt idx="611">48</cx:pt>
          <cx:pt idx="612">49</cx:pt>
          <cx:pt idx="613">51</cx:pt>
          <cx:pt idx="614">52</cx:pt>
          <cx:pt idx="615">46</cx:pt>
          <cx:pt idx="616">53</cx:pt>
          <cx:pt idx="617">53</cx:pt>
          <cx:pt idx="618">54</cx:pt>
          <cx:pt idx="619">51</cx:pt>
          <cx:pt idx="620">46</cx:pt>
          <cx:pt idx="621">53</cx:pt>
          <cx:pt idx="622">46</cx:pt>
          <cx:pt idx="623">51</cx:pt>
          <cx:pt idx="624">53</cx:pt>
          <cx:pt idx="625">50</cx:pt>
          <cx:pt idx="626">45</cx:pt>
          <cx:pt idx="627">55</cx:pt>
          <cx:pt idx="628">53</cx:pt>
          <cx:pt idx="629">46</cx:pt>
          <cx:pt idx="630">54</cx:pt>
          <cx:pt idx="631">49</cx:pt>
          <cx:pt idx="632">52</cx:pt>
          <cx:pt idx="633">52</cx:pt>
          <cx:pt idx="634">52</cx:pt>
          <cx:pt idx="635">55</cx:pt>
          <cx:pt idx="636">53</cx:pt>
          <cx:pt idx="637">52</cx:pt>
          <cx:pt idx="638">55</cx:pt>
          <cx:pt idx="639">52</cx:pt>
          <cx:pt idx="640">53</cx:pt>
          <cx:pt idx="641">52</cx:pt>
          <cx:pt idx="642">52</cx:pt>
          <cx:pt idx="643">52</cx:pt>
          <cx:pt idx="644">53</cx:pt>
          <cx:pt idx="645">55</cx:pt>
          <cx:pt idx="646">55</cx:pt>
          <cx:pt idx="647">52</cx:pt>
          <cx:pt idx="648">54</cx:pt>
          <cx:pt idx="649">54</cx:pt>
          <cx:pt idx="650">53</cx:pt>
          <cx:pt idx="651">52</cx:pt>
          <cx:pt idx="652">53</cx:pt>
          <cx:pt idx="653">54</cx:pt>
          <cx:pt idx="654">55</cx:pt>
          <cx:pt idx="655">53</cx:pt>
          <cx:pt idx="656">55</cx:pt>
          <cx:pt idx="657">55</cx:pt>
          <cx:pt idx="658">52</cx:pt>
          <cx:pt idx="659">52</cx:pt>
          <cx:pt idx="660">54</cx:pt>
          <cx:pt idx="661">52</cx:pt>
          <cx:pt idx="662">54</cx:pt>
          <cx:pt idx="663">53</cx:pt>
          <cx:pt idx="664">54</cx:pt>
          <cx:pt idx="665">53</cx:pt>
          <cx:pt idx="666">55</cx:pt>
          <cx:pt idx="667">53</cx:pt>
          <cx:pt idx="668">55</cx:pt>
          <cx:pt idx="669">53</cx:pt>
          <cx:pt idx="670">55</cx:pt>
          <cx:pt idx="671">55</cx:pt>
          <cx:pt idx="672">54</cx:pt>
          <cx:pt idx="673">54</cx:pt>
          <cx:pt idx="674">54</cx:pt>
          <cx:pt idx="675">53</cx:pt>
          <cx:pt idx="676">45</cx:pt>
          <cx:pt idx="677">50</cx:pt>
          <cx:pt idx="678">51</cx:pt>
          <cx:pt idx="679">50</cx:pt>
          <cx:pt idx="680">53</cx:pt>
          <cx:pt idx="681">45</cx:pt>
          <cx:pt idx="682">46</cx:pt>
          <cx:pt idx="683">55</cx:pt>
          <cx:pt idx="684">52</cx:pt>
          <cx:pt idx="685">53</cx:pt>
          <cx:pt idx="686">52</cx:pt>
          <cx:pt idx="687">48</cx:pt>
          <cx:pt idx="688">47</cx:pt>
          <cx:pt idx="689">47</cx:pt>
          <cx:pt idx="690">52</cx:pt>
          <cx:pt idx="691">52</cx:pt>
          <cx:pt idx="692">49</cx:pt>
          <cx:pt idx="693">49</cx:pt>
          <cx:pt idx="694">51</cx:pt>
          <cx:pt idx="695">51</cx:pt>
          <cx:pt idx="696">48</cx:pt>
          <cx:pt idx="697">53</cx:pt>
          <cx:pt idx="698">54</cx:pt>
          <cx:pt idx="699">53</cx:pt>
          <cx:pt idx="700">45</cx:pt>
          <cx:pt idx="701">45</cx:pt>
          <cx:pt idx="702">46</cx:pt>
          <cx:pt idx="703">47</cx:pt>
          <cx:pt idx="704">50</cx:pt>
          <cx:pt idx="705">46</cx:pt>
          <cx:pt idx="706">46</cx:pt>
          <cx:pt idx="707">45</cx:pt>
          <cx:pt idx="708">48</cx:pt>
          <cx:pt idx="709">45</cx:pt>
          <cx:pt idx="710">48</cx:pt>
          <cx:pt idx="711">52</cx:pt>
          <cx:pt idx="712">54</cx:pt>
          <cx:pt idx="713">52</cx:pt>
          <cx:pt idx="714">55</cx:pt>
          <cx:pt idx="715">51</cx:pt>
          <cx:pt idx="716">45</cx:pt>
          <cx:pt idx="717">52</cx:pt>
          <cx:pt idx="718">53</cx:pt>
          <cx:pt idx="719">50</cx:pt>
          <cx:pt idx="720">54</cx:pt>
          <cx:pt idx="721">48</cx:pt>
          <cx:pt idx="722">47</cx:pt>
          <cx:pt idx="723">46</cx:pt>
          <cx:pt idx="724">51</cx:pt>
          <cx:pt idx="725">55</cx:pt>
          <cx:pt idx="726">52</cx:pt>
          <cx:pt idx="727">50</cx:pt>
          <cx:pt idx="728">50</cx:pt>
          <cx:pt idx="729">45</cx:pt>
          <cx:pt idx="730">49</cx:pt>
          <cx:pt idx="731">48</cx:pt>
          <cx:pt idx="732">49</cx:pt>
          <cx:pt idx="733">49</cx:pt>
          <cx:pt idx="734">47</cx:pt>
          <cx:pt idx="735">52</cx:pt>
          <cx:pt idx="736">53</cx:pt>
          <cx:pt idx="737">50</cx:pt>
          <cx:pt idx="738">50</cx:pt>
          <cx:pt idx="739">53</cx:pt>
          <cx:pt idx="740">45</cx:pt>
          <cx:pt idx="741">47</cx:pt>
          <cx:pt idx="742">48</cx:pt>
          <cx:pt idx="743">55</cx:pt>
          <cx:pt idx="744">46</cx:pt>
          <cx:pt idx="745">55</cx:pt>
          <cx:pt idx="746">48</cx:pt>
          <cx:pt idx="747">53</cx:pt>
          <cx:pt idx="748">46</cx:pt>
          <cx:pt idx="749">55</cx:pt>
          <cx:pt idx="750">46</cx:pt>
          <cx:pt idx="751">50</cx:pt>
          <cx:pt idx="752">52</cx:pt>
          <cx:pt idx="753">51</cx:pt>
          <cx:pt idx="754">52</cx:pt>
          <cx:pt idx="755">53</cx:pt>
          <cx:pt idx="756">50</cx:pt>
          <cx:pt idx="757">50</cx:pt>
          <cx:pt idx="758">51</cx:pt>
          <cx:pt idx="759">48</cx:pt>
          <cx:pt idx="760">50</cx:pt>
          <cx:pt idx="761">52</cx:pt>
          <cx:pt idx="762">50</cx:pt>
          <cx:pt idx="763">45</cx:pt>
          <cx:pt idx="764">45</cx:pt>
          <cx:pt idx="765">49</cx:pt>
          <cx:pt idx="766">49</cx:pt>
          <cx:pt idx="767">53</cx:pt>
          <cx:pt idx="768">49</cx:pt>
          <cx:pt idx="769">46</cx:pt>
          <cx:pt idx="770">48</cx:pt>
          <cx:pt idx="771">52</cx:pt>
          <cx:pt idx="772">49</cx:pt>
          <cx:pt idx="773">51</cx:pt>
          <cx:pt idx="774">46</cx:pt>
          <cx:pt idx="775">49</cx:pt>
          <cx:pt idx="776">49</cx:pt>
          <cx:pt idx="777">46</cx:pt>
          <cx:pt idx="778">48</cx:pt>
          <cx:pt idx="779">51</cx:pt>
          <cx:pt idx="780">46</cx:pt>
          <cx:pt idx="781">54</cx:pt>
          <cx:pt idx="782">46</cx:pt>
          <cx:pt idx="783">47</cx:pt>
          <cx:pt idx="784">48</cx:pt>
          <cx:pt idx="785">52</cx:pt>
          <cx:pt idx="786">46</cx:pt>
          <cx:pt idx="787">51</cx:pt>
          <cx:pt idx="788">53</cx:pt>
          <cx:pt idx="789">45</cx:pt>
          <cx:pt idx="790">53</cx:pt>
          <cx:pt idx="791">46</cx:pt>
          <cx:pt idx="792">45</cx:pt>
          <cx:pt idx="793">52</cx:pt>
          <cx:pt idx="794">48</cx:pt>
          <cx:pt idx="795">52</cx:pt>
          <cx:pt idx="796">54</cx:pt>
          <cx:pt idx="797">46</cx:pt>
          <cx:pt idx="798">46</cx:pt>
          <cx:pt idx="799">55</cx:pt>
          <cx:pt idx="800">55</cx:pt>
          <cx:pt idx="801">49</cx:pt>
          <cx:pt idx="802">45</cx:pt>
          <cx:pt idx="803">55</cx:pt>
          <cx:pt idx="804">55</cx:pt>
          <cx:pt idx="805">53</cx:pt>
          <cx:pt idx="806">53</cx:pt>
          <cx:pt idx="807">55</cx:pt>
          <cx:pt idx="808">53</cx:pt>
          <cx:pt idx="809">52</cx:pt>
          <cx:pt idx="810">48</cx:pt>
          <cx:pt idx="811">47</cx:pt>
          <cx:pt idx="812">50</cx:pt>
          <cx:pt idx="813">46</cx:pt>
          <cx:pt idx="814">52</cx:pt>
          <cx:pt idx="815">50</cx:pt>
          <cx:pt idx="816">50</cx:pt>
          <cx:pt idx="817">48</cx:pt>
          <cx:pt idx="818">50</cx:pt>
          <cx:pt idx="819">51</cx:pt>
          <cx:pt idx="820">47</cx:pt>
          <cx:pt idx="821">51</cx:pt>
          <cx:pt idx="822">51</cx:pt>
          <cx:pt idx="823">45</cx:pt>
          <cx:pt idx="824">51</cx:pt>
          <cx:pt idx="825">52</cx:pt>
          <cx:pt idx="826">45</cx:pt>
          <cx:pt idx="827">54</cx:pt>
          <cx:pt idx="828">47</cx:pt>
          <cx:pt idx="829">46</cx:pt>
          <cx:pt idx="830">47</cx:pt>
          <cx:pt idx="831">46</cx:pt>
          <cx:pt idx="832">48</cx:pt>
          <cx:pt idx="833">45</cx:pt>
          <cx:pt idx="834">53</cx:pt>
          <cx:pt idx="835">53</cx:pt>
          <cx:pt idx="836">51</cx:pt>
          <cx:pt idx="837">55</cx:pt>
          <cx:pt idx="838">53</cx:pt>
          <cx:pt idx="839">50</cx:pt>
          <cx:pt idx="840">49</cx:pt>
          <cx:pt idx="841">48</cx:pt>
          <cx:pt idx="842">55</cx:pt>
          <cx:pt idx="843">46</cx:pt>
          <cx:pt idx="844">48</cx:pt>
          <cx:pt idx="845">54</cx:pt>
          <cx:pt idx="846">45</cx:pt>
          <cx:pt idx="847">51</cx:pt>
          <cx:pt idx="848">49</cx:pt>
          <cx:pt idx="849">52</cx:pt>
          <cx:pt idx="850">50</cx:pt>
          <cx:pt idx="851">54</cx:pt>
          <cx:pt idx="852">53</cx:pt>
          <cx:pt idx="853">51</cx:pt>
          <cx:pt idx="854">49</cx:pt>
          <cx:pt idx="855">47</cx:pt>
          <cx:pt idx="856">48</cx:pt>
          <cx:pt idx="857">48</cx:pt>
          <cx:pt idx="858">51</cx:pt>
          <cx:pt idx="859">48</cx:pt>
          <cx:pt idx="860">50</cx:pt>
          <cx:pt idx="861">53</cx:pt>
          <cx:pt idx="862">52</cx:pt>
          <cx:pt idx="863">50</cx:pt>
          <cx:pt idx="864">49</cx:pt>
          <cx:pt idx="865">45</cx:pt>
          <cx:pt idx="866">55</cx:pt>
          <cx:pt idx="867">47</cx:pt>
          <cx:pt idx="868">53</cx:pt>
          <cx:pt idx="869">47</cx:pt>
          <cx:pt idx="870">52</cx:pt>
          <cx:pt idx="871">51</cx:pt>
          <cx:pt idx="872">53</cx:pt>
          <cx:pt idx="873">46</cx:pt>
          <cx:pt idx="874">49</cx:pt>
          <cx:pt idx="875">46</cx:pt>
          <cx:pt idx="876">49</cx:pt>
          <cx:pt idx="877">54</cx:pt>
          <cx:pt idx="878">51</cx:pt>
          <cx:pt idx="879">46</cx:pt>
          <cx:pt idx="880">45</cx:pt>
          <cx:pt idx="881">51</cx:pt>
          <cx:pt idx="882">49</cx:pt>
          <cx:pt idx="883">47</cx:pt>
          <cx:pt idx="884">54</cx:pt>
          <cx:pt idx="885">48</cx:pt>
          <cx:pt idx="886">48</cx:pt>
          <cx:pt idx="887">54</cx:pt>
          <cx:pt idx="888">45</cx:pt>
          <cx:pt idx="889">51</cx:pt>
          <cx:pt idx="890">53</cx:pt>
          <cx:pt idx="891">45</cx:pt>
          <cx:pt idx="892">46</cx:pt>
          <cx:pt idx="893">52</cx:pt>
          <cx:pt idx="894">48</cx:pt>
          <cx:pt idx="895">54</cx:pt>
          <cx:pt idx="896">50</cx:pt>
          <cx:pt idx="897">48</cx:pt>
          <cx:pt idx="898">55</cx:pt>
          <cx:pt idx="899">55</cx:pt>
          <cx:pt idx="900">49</cx:pt>
          <cx:pt idx="901">45</cx:pt>
          <cx:pt idx="902">48</cx:pt>
          <cx:pt idx="903">46</cx:pt>
          <cx:pt idx="904">48</cx:pt>
          <cx:pt idx="905">50</cx:pt>
          <cx:pt idx="906">52</cx:pt>
          <cx:pt idx="907">45</cx:pt>
          <cx:pt idx="908">54</cx:pt>
          <cx:pt idx="909">52</cx:pt>
          <cx:pt idx="910">50</cx:pt>
          <cx:pt idx="911">55</cx:pt>
          <cx:pt idx="912">52</cx:pt>
          <cx:pt idx="913">52</cx:pt>
          <cx:pt idx="914">55</cx:pt>
          <cx:pt idx="915">55</cx:pt>
          <cx:pt idx="916">55</cx:pt>
          <cx:pt idx="917">46</cx:pt>
          <cx:pt idx="918">48</cx:pt>
          <cx:pt idx="919">50</cx:pt>
          <cx:pt idx="920">53</cx:pt>
          <cx:pt idx="921">51</cx:pt>
          <cx:pt idx="922">52</cx:pt>
          <cx:pt idx="923">50</cx:pt>
          <cx:pt idx="924">45</cx:pt>
          <cx:pt idx="925">51</cx:pt>
          <cx:pt idx="926">50</cx:pt>
          <cx:pt idx="927">50</cx:pt>
          <cx:pt idx="928">50</cx:pt>
          <cx:pt idx="929">47</cx:pt>
          <cx:pt idx="930">46</cx:pt>
          <cx:pt idx="931">46</cx:pt>
          <cx:pt idx="932">46</cx:pt>
          <cx:pt idx="933">51</cx:pt>
          <cx:pt idx="934">51</cx:pt>
          <cx:pt idx="935">53</cx:pt>
          <cx:pt idx="936">55</cx:pt>
          <cx:pt idx="937">49</cx:pt>
          <cx:pt idx="938">49</cx:pt>
          <cx:pt idx="939">47</cx:pt>
          <cx:pt idx="940">45</cx:pt>
          <cx:pt idx="941">52</cx:pt>
          <cx:pt idx="942">46</cx:pt>
          <cx:pt idx="943">48</cx:pt>
          <cx:pt idx="944">55</cx:pt>
          <cx:pt idx="945">55</cx:pt>
          <cx:pt idx="946">52</cx:pt>
          <cx:pt idx="947">54</cx:pt>
          <cx:pt idx="948">51</cx:pt>
          <cx:pt idx="949">50</cx:pt>
          <cx:pt idx="950">48</cx:pt>
          <cx:pt idx="951">48</cx:pt>
          <cx:pt idx="952">51</cx:pt>
          <cx:pt idx="953">45</cx:pt>
          <cx:pt idx="954">54</cx:pt>
          <cx:pt idx="955">52</cx:pt>
          <cx:pt idx="956">48</cx:pt>
          <cx:pt idx="957">47</cx:pt>
          <cx:pt idx="958">47</cx:pt>
          <cx:pt idx="959">54</cx:pt>
          <cx:pt idx="960">49</cx:pt>
          <cx:pt idx="961">53</cx:pt>
          <cx:pt idx="962">51</cx:pt>
          <cx:pt idx="963">46</cx:pt>
          <cx:pt idx="964">52</cx:pt>
          <cx:pt idx="965">55</cx:pt>
          <cx:pt idx="966">45</cx:pt>
          <cx:pt idx="967">53</cx:pt>
          <cx:pt idx="968">55</cx:pt>
          <cx:pt idx="969">46</cx:pt>
          <cx:pt idx="970">51</cx:pt>
          <cx:pt idx="971">49</cx:pt>
          <cx:pt idx="972">51</cx:pt>
          <cx:pt idx="973">52</cx:pt>
          <cx:pt idx="974">54</cx:pt>
          <cx:pt idx="975">53</cx:pt>
          <cx:pt idx="976">49</cx:pt>
          <cx:pt idx="977">48</cx:pt>
          <cx:pt idx="978">45</cx:pt>
          <cx:pt idx="979">54</cx:pt>
          <cx:pt idx="980">55</cx:pt>
          <cx:pt idx="981">53</cx:pt>
          <cx:pt idx="982">53</cx:pt>
          <cx:pt idx="983">51</cx:pt>
          <cx:pt idx="984">48</cx:pt>
          <cx:pt idx="985">54</cx:pt>
          <cx:pt idx="986">47</cx:pt>
          <cx:pt idx="987">55</cx:pt>
          <cx:pt idx="988">46</cx:pt>
          <cx:pt idx="989">49</cx:pt>
          <cx:pt idx="990">48</cx:pt>
          <cx:pt idx="991">45</cx:pt>
          <cx:pt idx="992">53</cx:pt>
          <cx:pt idx="993">50</cx:pt>
          <cx:pt idx="994">50</cx:pt>
          <cx:pt idx="995">54</cx:pt>
          <cx:pt idx="996">48</cx:pt>
          <cx:pt idx="997">53</cx:pt>
          <cx:pt idx="998">52</cx:pt>
          <cx:pt idx="999">50</cx:pt>
          <cx:pt idx="1000">46</cx:pt>
          <cx:pt idx="1001">45</cx:pt>
          <cx:pt idx="1002">50</cx:pt>
          <cx:pt idx="1003">45</cx:pt>
          <cx:pt idx="1004">50</cx:pt>
          <cx:pt idx="1005">50</cx:pt>
          <cx:pt idx="1006">49</cx:pt>
          <cx:pt idx="1007">45</cx:pt>
          <cx:pt idx="1008">55</cx:pt>
          <cx:pt idx="1009">45</cx:pt>
          <cx:pt idx="1010">47</cx:pt>
          <cx:pt idx="1011">54</cx:pt>
          <cx:pt idx="1012">45</cx:pt>
          <cx:pt idx="1013">50</cx:pt>
          <cx:pt idx="1014">46</cx:pt>
          <cx:pt idx="1015">53</cx:pt>
          <cx:pt idx="1016">52</cx:pt>
          <cx:pt idx="1017">48</cx:pt>
          <cx:pt idx="1018">45</cx:pt>
          <cx:pt idx="1019">48</cx:pt>
          <cx:pt idx="1020">53</cx:pt>
          <cx:pt idx="1021">47</cx:pt>
          <cx:pt idx="1022">47</cx:pt>
          <cx:pt idx="1023">52</cx:pt>
          <cx:pt idx="1024">54</cx:pt>
          <cx:pt idx="1025">54</cx:pt>
          <cx:pt idx="1026">46</cx:pt>
          <cx:pt idx="1027">55</cx:pt>
          <cx:pt idx="1028">53</cx:pt>
          <cx:pt idx="1029">47</cx:pt>
          <cx:pt idx="1030">53</cx:pt>
          <cx:pt idx="1031">46</cx:pt>
          <cx:pt idx="1032">52</cx:pt>
          <cx:pt idx="1033">45</cx:pt>
          <cx:pt idx="1034">48</cx:pt>
          <cx:pt idx="1035">54</cx:pt>
          <cx:pt idx="1036">54</cx:pt>
          <cx:pt idx="1037">53</cx:pt>
          <cx:pt idx="1038">47</cx:pt>
          <cx:pt idx="1039">48</cx:pt>
          <cx:pt idx="1040">45</cx:pt>
          <cx:pt idx="1041">51</cx:pt>
          <cx:pt idx="1042">47</cx:pt>
          <cx:pt idx="1043">54</cx:pt>
          <cx:pt idx="1044">45</cx:pt>
          <cx:pt idx="1045">47</cx:pt>
          <cx:pt idx="1046">54</cx:pt>
          <cx:pt idx="1047">45</cx:pt>
          <cx:pt idx="1048">53</cx:pt>
          <cx:pt idx="1049">55</cx:pt>
          <cx:pt idx="1050">55</cx:pt>
          <cx:pt idx="1051">46</cx:pt>
          <cx:pt idx="1052">47</cx:pt>
          <cx:pt idx="1053">48</cx:pt>
          <cx:pt idx="1054">49</cx:pt>
          <cx:pt idx="1055">55</cx:pt>
          <cx:pt idx="1056">53</cx:pt>
          <cx:pt idx="1057">54</cx:pt>
          <cx:pt idx="1058">53</cx:pt>
          <cx:pt idx="1059">51</cx:pt>
          <cx:pt idx="1060">48</cx:pt>
          <cx:pt idx="1061">51</cx:pt>
          <cx:pt idx="1062">51</cx:pt>
          <cx:pt idx="1063">55</cx:pt>
          <cx:pt idx="1064">46</cx:pt>
          <cx:pt idx="1065">45</cx:pt>
          <cx:pt idx="1066">54</cx:pt>
          <cx:pt idx="1067">50</cx:pt>
          <cx:pt idx="1068">51</cx:pt>
          <cx:pt idx="1069">47</cx:pt>
          <cx:pt idx="1070">55</cx:pt>
          <cx:pt idx="1071">53</cx:pt>
          <cx:pt idx="1072">55</cx:pt>
          <cx:pt idx="1073">53</cx:pt>
          <cx:pt idx="1074">54</cx:pt>
          <cx:pt idx="1075">52</cx:pt>
          <cx:pt idx="1076">53</cx:pt>
          <cx:pt idx="1077">52</cx:pt>
          <cx:pt idx="1078">54</cx:pt>
          <cx:pt idx="1079">53</cx:pt>
          <cx:pt idx="1080">54</cx:pt>
          <cx:pt idx="1081">53</cx:pt>
          <cx:pt idx="1082">53</cx:pt>
          <cx:pt idx="1083">52</cx:pt>
          <cx:pt idx="1084">54</cx:pt>
          <cx:pt idx="1085">53</cx:pt>
          <cx:pt idx="1086">53</cx:pt>
          <cx:pt idx="1087">52</cx:pt>
          <cx:pt idx="1088">53</cx:pt>
          <cx:pt idx="1089">54</cx:pt>
          <cx:pt idx="1090">52</cx:pt>
          <cx:pt idx="1091">54</cx:pt>
          <cx:pt idx="1092">54</cx:pt>
          <cx:pt idx="1093">52</cx:pt>
          <cx:pt idx="1094">55</cx:pt>
          <cx:pt idx="1095">53</cx:pt>
          <cx:pt idx="1096">53</cx:pt>
          <cx:pt idx="1097">54</cx:pt>
          <cx:pt idx="1098">52</cx:pt>
          <cx:pt idx="1099">54</cx:pt>
          <cx:pt idx="1100">52</cx:pt>
          <cx:pt idx="1101">55</cx:pt>
          <cx:pt idx="1102">52</cx:pt>
          <cx:pt idx="1103">53</cx:pt>
          <cx:pt idx="1104">53</cx:pt>
          <cx:pt idx="1105">53</cx:pt>
          <cx:pt idx="1106">52</cx:pt>
          <cx:pt idx="1107">55</cx:pt>
          <cx:pt idx="1108">52</cx:pt>
          <cx:pt idx="1109">52</cx:pt>
          <cx:pt idx="1110">53</cx:pt>
          <cx:pt idx="1111">54</cx:pt>
          <cx:pt idx="1112">54</cx:pt>
          <cx:pt idx="1113">53</cx:pt>
          <cx:pt idx="1114">46</cx:pt>
          <cx:pt idx="1115">53</cx:pt>
          <cx:pt idx="1116">46</cx:pt>
          <cx:pt idx="1117">49</cx:pt>
          <cx:pt idx="1118">47</cx:pt>
          <cx:pt idx="1119">50</cx:pt>
          <cx:pt idx="1120">53</cx:pt>
          <cx:pt idx="1121">55</cx:pt>
          <cx:pt idx="1122">46</cx:pt>
          <cx:pt idx="1123">52</cx:pt>
          <cx:pt idx="1124">53</cx:pt>
          <cx:pt idx="1125">52</cx:pt>
          <cx:pt idx="1126">48</cx:pt>
          <cx:pt idx="1127">50</cx:pt>
          <cx:pt idx="1128">48</cx:pt>
          <cx:pt idx="1129">49</cx:pt>
          <cx:pt idx="1130">47</cx:pt>
          <cx:pt idx="1131">55</cx:pt>
          <cx:pt idx="1132">47</cx:pt>
          <cx:pt idx="1133">48</cx:pt>
          <cx:pt idx="1134">54</cx:pt>
          <cx:pt idx="1135">51</cx:pt>
          <cx:pt idx="1136">50</cx:pt>
          <cx:pt idx="1137">54</cx:pt>
          <cx:pt idx="1138">45</cx:pt>
          <cx:pt idx="1139">45</cx:pt>
          <cx:pt idx="1140">53</cx:pt>
          <cx:pt idx="1141">55</cx:pt>
          <cx:pt idx="1142">52</cx:pt>
          <cx:pt idx="1143">49</cx:pt>
          <cx:pt idx="1144">51</cx:pt>
          <cx:pt idx="1145">55</cx:pt>
          <cx:pt idx="1146">52</cx:pt>
          <cx:pt idx="1147">54</cx:pt>
          <cx:pt idx="1148">53</cx:pt>
          <cx:pt idx="1149">54</cx:pt>
          <cx:pt idx="1150">53</cx:pt>
          <cx:pt idx="1151">47</cx:pt>
          <cx:pt idx="1152">55</cx:pt>
          <cx:pt idx="1153">49</cx:pt>
          <cx:pt idx="1154">53</cx:pt>
          <cx:pt idx="1155">53</cx:pt>
          <cx:pt idx="1156">51</cx:pt>
          <cx:pt idx="1157">53</cx:pt>
          <cx:pt idx="1158">51</cx:pt>
          <cx:pt idx="1159">55</cx:pt>
          <cx:pt idx="1160">46</cx:pt>
          <cx:pt idx="1161">53</cx:pt>
          <cx:pt idx="1162">49</cx:pt>
          <cx:pt idx="1163">45</cx:pt>
          <cx:pt idx="1164">54</cx:pt>
          <cx:pt idx="1165">51</cx:pt>
          <cx:pt idx="1166">52</cx:pt>
          <cx:pt idx="1167">49</cx:pt>
          <cx:pt idx="1168">55</cx:pt>
          <cx:pt idx="1169">47</cx:pt>
          <cx:pt idx="1170">55</cx:pt>
          <cx:pt idx="1171">47</cx:pt>
          <cx:pt idx="1172">51</cx:pt>
          <cx:pt idx="1173">55</cx:pt>
          <cx:pt idx="1174">46</cx:pt>
          <cx:pt idx="1175">45</cx:pt>
          <cx:pt idx="1176">53</cx:pt>
          <cx:pt idx="1177">52</cx:pt>
          <cx:pt idx="1178">45</cx:pt>
          <cx:pt idx="1179">45</cx:pt>
          <cx:pt idx="1180">50</cx:pt>
          <cx:pt idx="1181">47</cx:pt>
          <cx:pt idx="1182">54</cx:pt>
          <cx:pt idx="1183">49</cx:pt>
          <cx:pt idx="1184">47</cx:pt>
          <cx:pt idx="1185">53</cx:pt>
          <cx:pt idx="1186">46</cx:pt>
          <cx:pt idx="1187">51</cx:pt>
          <cx:pt idx="1188">55</cx:pt>
          <cx:pt idx="1189">49</cx:pt>
          <cx:pt idx="1190">49</cx:pt>
          <cx:pt idx="1191">53</cx:pt>
          <cx:pt idx="1192">51</cx:pt>
          <cx:pt idx="1193">47</cx:pt>
          <cx:pt idx="1194">45</cx:pt>
          <cx:pt idx="1195">48</cx:pt>
          <cx:pt idx="1196">54</cx:pt>
          <cx:pt idx="1197">50</cx:pt>
          <cx:pt idx="1198">45</cx:pt>
          <cx:pt idx="1199">53</cx:pt>
          <cx:pt idx="1200">49</cx:pt>
          <cx:pt idx="1201">48</cx:pt>
          <cx:pt idx="1202">46</cx:pt>
          <cx:pt idx="1203">46</cx:pt>
          <cx:pt idx="1204">54</cx:pt>
          <cx:pt idx="1205">47</cx:pt>
          <cx:pt idx="1206">53</cx:pt>
          <cx:pt idx="1207">49</cx:pt>
          <cx:pt idx="1208">48</cx:pt>
          <cx:pt idx="1209">52</cx:pt>
          <cx:pt idx="1210">48</cx:pt>
          <cx:pt idx="1211">50</cx:pt>
          <cx:pt idx="1212">54</cx:pt>
          <cx:pt idx="1213">54</cx:pt>
          <cx:pt idx="1214">46</cx:pt>
          <cx:pt idx="1215">49</cx:pt>
          <cx:pt idx="1216">45</cx:pt>
          <cx:pt idx="1217">45</cx:pt>
          <cx:pt idx="1218">52</cx:pt>
          <cx:pt idx="1219">46</cx:pt>
          <cx:pt idx="1220">51</cx:pt>
          <cx:pt idx="1221">53</cx:pt>
          <cx:pt idx="1222">55</cx:pt>
          <cx:pt idx="1223">47</cx:pt>
          <cx:pt idx="1224">52</cx:pt>
          <cx:pt idx="1225">51</cx:pt>
          <cx:pt idx="1226">46</cx:pt>
          <cx:pt idx="1227">55</cx:pt>
          <cx:pt idx="1228">53</cx:pt>
          <cx:pt idx="1229">49</cx:pt>
          <cx:pt idx="1230">53</cx:pt>
          <cx:pt idx="1231">53</cx:pt>
          <cx:pt idx="1232">48</cx:pt>
          <cx:pt idx="1233">48</cx:pt>
          <cx:pt idx="1234">52</cx:pt>
          <cx:pt idx="1235">45</cx:pt>
          <cx:pt idx="1236">51</cx:pt>
          <cx:pt idx="1237">51</cx:pt>
          <cx:pt idx="1238">49</cx:pt>
          <cx:pt idx="1239">54</cx:pt>
          <cx:pt idx="1240">48</cx:pt>
          <cx:pt idx="1241">47</cx:pt>
          <cx:pt idx="1242">55</cx:pt>
          <cx:pt idx="1243">54</cx:pt>
          <cx:pt idx="1244">53</cx:pt>
          <cx:pt idx="1245">55</cx:pt>
          <cx:pt idx="1246">52</cx:pt>
          <cx:pt idx="1247">49</cx:pt>
          <cx:pt idx="1248">54</cx:pt>
          <cx:pt idx="1249">53</cx:pt>
          <cx:pt idx="1250">52</cx:pt>
          <cx:pt idx="1251">55</cx:pt>
          <cx:pt idx="1252">53</cx:pt>
          <cx:pt idx="1253">48</cx:pt>
          <cx:pt idx="1254">54</cx:pt>
          <cx:pt idx="1255">54</cx:pt>
          <cx:pt idx="1256">51</cx:pt>
          <cx:pt idx="1257">55</cx:pt>
          <cx:pt idx="1258">48</cx:pt>
          <cx:pt idx="1259">48</cx:pt>
          <cx:pt idx="1260">55</cx:pt>
          <cx:pt idx="1261">53</cx:pt>
          <cx:pt idx="1262">52</cx:pt>
          <cx:pt idx="1263">53</cx:pt>
          <cx:pt idx="1264">55</cx:pt>
          <cx:pt idx="1265">53</cx:pt>
          <cx:pt idx="1266">53</cx:pt>
          <cx:pt idx="1267">53</cx:pt>
          <cx:pt idx="1268">53</cx:pt>
          <cx:pt idx="1269">55</cx:pt>
          <cx:pt idx="1270">52</cx:pt>
          <cx:pt idx="1271">54</cx:pt>
          <cx:pt idx="1272">54</cx:pt>
          <cx:pt idx="1273">52</cx:pt>
          <cx:pt idx="1274">55</cx:pt>
          <cx:pt idx="1275">54</cx:pt>
          <cx:pt idx="1276">53</cx:pt>
          <cx:pt idx="1277">55</cx:pt>
          <cx:pt idx="1278">52</cx:pt>
          <cx:pt idx="1279">55</cx:pt>
          <cx:pt idx="1280">54</cx:pt>
          <cx:pt idx="1281">52</cx:pt>
          <cx:pt idx="1282">52</cx:pt>
          <cx:pt idx="1283">52</cx:pt>
          <cx:pt idx="1284">54</cx:pt>
          <cx:pt idx="1285">55</cx:pt>
          <cx:pt idx="1286">53</cx:pt>
          <cx:pt idx="1287">53</cx:pt>
          <cx:pt idx="1288">54</cx:pt>
          <cx:pt idx="1289">55</cx:pt>
          <cx:pt idx="1290">53</cx:pt>
          <cx:pt idx="1291">52</cx:pt>
          <cx:pt idx="1292">53</cx:pt>
          <cx:pt idx="1293">54</cx:pt>
          <cx:pt idx="1294">53</cx:pt>
          <cx:pt idx="1295">55</cx:pt>
          <cx:pt idx="1296">55</cx:pt>
          <cx:pt idx="1297">53</cx:pt>
          <cx:pt idx="1298">53</cx:pt>
          <cx:pt idx="1299">53</cx:pt>
          <cx:pt idx="1300">54</cx:pt>
          <cx:pt idx="1301">52</cx:pt>
          <cx:pt idx="1302">54</cx:pt>
          <cx:pt idx="1303">53</cx:pt>
          <cx:pt idx="1304">54</cx:pt>
          <cx:pt idx="1305">52</cx:pt>
          <cx:pt idx="1306">47</cx:pt>
          <cx:pt idx="1307">52</cx:pt>
          <cx:pt idx="1308">54</cx:pt>
          <cx:pt idx="1309">49</cx:pt>
          <cx:pt idx="1310">52</cx:pt>
          <cx:pt idx="1311">45</cx:pt>
          <cx:pt idx="1312">53</cx:pt>
          <cx:pt idx="1313">51</cx:pt>
          <cx:pt idx="1314">46</cx:pt>
          <cx:pt idx="1315">52</cx:pt>
          <cx:pt idx="1316">50</cx:pt>
          <cx:pt idx="1317">46</cx:pt>
          <cx:pt idx="1318">47</cx:pt>
          <cx:pt idx="1319">45</cx:pt>
          <cx:pt idx="1320">47</cx:pt>
          <cx:pt idx="1321">50</cx:pt>
          <cx:pt idx="1322">45</cx:pt>
          <cx:pt idx="1323">54</cx:pt>
          <cx:pt idx="1324">46</cx:pt>
          <cx:pt idx="1325">47</cx:pt>
          <cx:pt idx="1326">48</cx:pt>
          <cx:pt idx="1327">51</cx:pt>
          <cx:pt idx="1328">50</cx:pt>
          <cx:pt idx="1329">49</cx:pt>
          <cx:pt idx="1330">54</cx:pt>
          <cx:pt idx="1331">48</cx:pt>
          <cx:pt idx="1332">55</cx:pt>
          <cx:pt idx="1333">51</cx:pt>
          <cx:pt idx="1334">55</cx:pt>
          <cx:pt idx="1335">48</cx:pt>
          <cx:pt idx="1336">53</cx:pt>
          <cx:pt idx="1337">55</cx:pt>
          <cx:pt idx="1338">55</cx:pt>
          <cx:pt idx="1339">55</cx:pt>
          <cx:pt idx="1340">46</cx:pt>
          <cx:pt idx="1341">53</cx:pt>
          <cx:pt idx="1342">49</cx:pt>
          <cx:pt idx="1343">55</cx:pt>
          <cx:pt idx="1344">54</cx:pt>
          <cx:pt idx="1345">49</cx:pt>
          <cx:pt idx="1346">45</cx:pt>
          <cx:pt idx="1347">46</cx:pt>
          <cx:pt idx="1348">47</cx:pt>
          <cx:pt idx="1349">46</cx:pt>
          <cx:pt idx="1350">54</cx:pt>
          <cx:pt idx="1351">55</cx:pt>
          <cx:pt idx="1352">50</cx:pt>
          <cx:pt idx="1353">53</cx:pt>
          <cx:pt idx="1354">51</cx:pt>
          <cx:pt idx="1355">50</cx:pt>
          <cx:pt idx="1356">53</cx:pt>
          <cx:pt idx="1357">51</cx:pt>
          <cx:pt idx="1358">46</cx:pt>
          <cx:pt idx="1359">52</cx:pt>
          <cx:pt idx="1360">51</cx:pt>
          <cx:pt idx="1361">50</cx:pt>
          <cx:pt idx="1362">49</cx:pt>
          <cx:pt idx="1363">46</cx:pt>
          <cx:pt idx="1364">46</cx:pt>
          <cx:pt idx="1365">54</cx:pt>
          <cx:pt idx="1366">55</cx:pt>
          <cx:pt idx="1367">49</cx:pt>
          <cx:pt idx="1368">45</cx:pt>
          <cx:pt idx="1369">54</cx:pt>
          <cx:pt idx="1370">53</cx:pt>
          <cx:pt idx="1371">45</cx:pt>
          <cx:pt idx="1372">46</cx:pt>
          <cx:pt idx="1373">47</cx:pt>
          <cx:pt idx="1374">46</cx:pt>
          <cx:pt idx="1375">49</cx:pt>
          <cx:pt idx="1376">51</cx:pt>
          <cx:pt idx="1377">51</cx:pt>
          <cx:pt idx="1378">54</cx:pt>
          <cx:pt idx="1379">45</cx:pt>
          <cx:pt idx="1380">52</cx:pt>
          <cx:pt idx="1381">48</cx:pt>
          <cx:pt idx="1382">52</cx:pt>
          <cx:pt idx="1383">45</cx:pt>
          <cx:pt idx="1384">48</cx:pt>
          <cx:pt idx="1385">51</cx:pt>
          <cx:pt idx="1386">47</cx:pt>
          <cx:pt idx="1387">50</cx:pt>
          <cx:pt idx="1388">50</cx:pt>
          <cx:pt idx="1389">50</cx:pt>
          <cx:pt idx="1390">45</cx:pt>
          <cx:pt idx="1391">52</cx:pt>
          <cx:pt idx="1392">47</cx:pt>
          <cx:pt idx="1393">48</cx:pt>
          <cx:pt idx="1394">50</cx:pt>
          <cx:pt idx="1395">48</cx:pt>
          <cx:pt idx="1396">51</cx:pt>
          <cx:pt idx="1397">51</cx:pt>
          <cx:pt idx="1398">48</cx:pt>
          <cx:pt idx="1399">45</cx:pt>
          <cx:pt idx="1400">50</cx:pt>
          <cx:pt idx="1401">53</cx:pt>
          <cx:pt idx="1402">53</cx:pt>
          <cx:pt idx="1403">53</cx:pt>
          <cx:pt idx="1404">47</cx:pt>
          <cx:pt idx="1405">50</cx:pt>
          <cx:pt idx="1406">48</cx:pt>
          <cx:pt idx="1407">46</cx:pt>
          <cx:pt idx="1408">47</cx:pt>
          <cx:pt idx="1409">48</cx:pt>
          <cx:pt idx="1410">50</cx:pt>
          <cx:pt idx="1411">50</cx:pt>
          <cx:pt idx="1412">46</cx:pt>
          <cx:pt idx="1413">48</cx:pt>
          <cx:pt idx="1414">55</cx:pt>
          <cx:pt idx="1415">55</cx:pt>
          <cx:pt idx="1416">45</cx:pt>
          <cx:pt idx="1417">49</cx:pt>
          <cx:pt idx="1418">46</cx:pt>
          <cx:pt idx="1419">53</cx:pt>
          <cx:pt idx="1420">50</cx:pt>
          <cx:pt idx="1421">51</cx:pt>
          <cx:pt idx="1422">53</cx:pt>
          <cx:pt idx="1423">49</cx:pt>
          <cx:pt idx="1424">51</cx:pt>
          <cx:pt idx="1425">50</cx:pt>
          <cx:pt idx="1426">53</cx:pt>
          <cx:pt idx="1427">54</cx:pt>
          <cx:pt idx="1428">52</cx:pt>
          <cx:pt idx="1429">53</cx:pt>
          <cx:pt idx="1430">53</cx:pt>
          <cx:pt idx="1431">53</cx:pt>
          <cx:pt idx="1432">51</cx:pt>
          <cx:pt idx="1433">54</cx:pt>
          <cx:pt idx="1434">55</cx:pt>
          <cx:pt idx="1435">50</cx:pt>
          <cx:pt idx="1436">55</cx:pt>
          <cx:pt idx="1437">54</cx:pt>
          <cx:pt idx="1438">54</cx:pt>
          <cx:pt idx="1439">54</cx:pt>
          <cx:pt idx="1440">45</cx:pt>
          <cx:pt idx="1441">46</cx:pt>
          <cx:pt idx="1442">50</cx:pt>
          <cx:pt idx="1443">49</cx:pt>
          <cx:pt idx="1444">50</cx:pt>
          <cx:pt idx="1445">48</cx:pt>
          <cx:pt idx="1446">47</cx:pt>
          <cx:pt idx="1447">48</cx:pt>
          <cx:pt idx="1448">54</cx:pt>
          <cx:pt idx="1449">50</cx:pt>
          <cx:pt idx="1450">46</cx:pt>
          <cx:pt idx="1451">50</cx:pt>
          <cx:pt idx="1452">55</cx:pt>
          <cx:pt idx="1453">53</cx:pt>
          <cx:pt idx="1454">45</cx:pt>
          <cx:pt idx="1455">45</cx:pt>
          <cx:pt idx="1456">48</cx:pt>
          <cx:pt idx="1457">53</cx:pt>
          <cx:pt idx="1458">52</cx:pt>
          <cx:pt idx="1459">54</cx:pt>
          <cx:pt idx="1460">50</cx:pt>
          <cx:pt idx="1461">47</cx:pt>
          <cx:pt idx="1462">54</cx:pt>
          <cx:pt idx="1463">47</cx:pt>
          <cx:pt idx="1464">50</cx:pt>
          <cx:pt idx="1465">55</cx:pt>
          <cx:pt idx="1466">53</cx:pt>
          <cx:pt idx="1467">51</cx:pt>
          <cx:pt idx="1468">49</cx:pt>
          <cx:pt idx="1469">51</cx:pt>
          <cx:pt idx="1470">45</cx:pt>
          <cx:pt idx="1471">46</cx:pt>
          <cx:pt idx="1472">46</cx:pt>
          <cx:pt idx="1473">50</cx:pt>
          <cx:pt idx="1474">54</cx:pt>
          <cx:pt idx="1475">53</cx:pt>
          <cx:pt idx="1476">50</cx:pt>
          <cx:pt idx="1477">48</cx:pt>
          <cx:pt idx="1478">52</cx:pt>
          <cx:pt idx="1479">55</cx:pt>
          <cx:pt idx="1480">45</cx:pt>
          <cx:pt idx="1481">54</cx:pt>
          <cx:pt idx="1482">52</cx:pt>
          <cx:pt idx="1483">48</cx:pt>
          <cx:pt idx="1484">51</cx:pt>
          <cx:pt idx="1485">47</cx:pt>
          <cx:pt idx="1486">49</cx:pt>
          <cx:pt idx="1487">53</cx:pt>
          <cx:pt idx="1488">49</cx:pt>
          <cx:pt idx="1489">47</cx:pt>
          <cx:pt idx="1490">46</cx:pt>
          <cx:pt idx="1491">54</cx:pt>
          <cx:pt idx="1492">50</cx:pt>
          <cx:pt idx="1493">45</cx:pt>
          <cx:pt idx="1494">52</cx:pt>
          <cx:pt idx="1495">46</cx:pt>
          <cx:pt idx="1496">48</cx:pt>
          <cx:pt idx="1497">52</cx:pt>
          <cx:pt idx="1498">52</cx:pt>
          <cx:pt idx="1499">55</cx:pt>
          <cx:pt idx="1500">53</cx:pt>
          <cx:pt idx="1501">55</cx:pt>
          <cx:pt idx="1502">52</cx:pt>
          <cx:pt idx="1503">53</cx:pt>
          <cx:pt idx="1504">55</cx:pt>
          <cx:pt idx="1505">55</cx:pt>
          <cx:pt idx="1506">55</cx:pt>
          <cx:pt idx="1507">54</cx:pt>
          <cx:pt idx="1508">55</cx:pt>
          <cx:pt idx="1509">54</cx:pt>
          <cx:pt idx="1510">52</cx:pt>
          <cx:pt idx="1511">46</cx:pt>
          <cx:pt idx="1512">54</cx:pt>
          <cx:pt idx="1513">50</cx:pt>
          <cx:pt idx="1514">52</cx:pt>
          <cx:pt idx="1515">55</cx:pt>
          <cx:pt idx="1516">51</cx:pt>
          <cx:pt idx="1517">47</cx:pt>
          <cx:pt idx="1518">45</cx:pt>
          <cx:pt idx="1519">53</cx:pt>
          <cx:pt idx="1520">51</cx:pt>
          <cx:pt idx="1521">55</cx:pt>
          <cx:pt idx="1522">52</cx:pt>
          <cx:pt idx="1523">55</cx:pt>
          <cx:pt idx="1524">49</cx:pt>
          <cx:pt idx="1525">45</cx:pt>
          <cx:pt idx="1526">49</cx:pt>
          <cx:pt idx="1527">47</cx:pt>
          <cx:pt idx="1528">50</cx:pt>
          <cx:pt idx="1529">50</cx:pt>
          <cx:pt idx="1530">55</cx:pt>
          <cx:pt idx="1531">54</cx:pt>
          <cx:pt idx="1532">47</cx:pt>
          <cx:pt idx="1533">45</cx:pt>
          <cx:pt idx="1534">52</cx:pt>
          <cx:pt idx="1535">50</cx:pt>
          <cx:pt idx="1536">55</cx:pt>
          <cx:pt idx="1537">50</cx:pt>
          <cx:pt idx="1538">45</cx:pt>
          <cx:pt idx="1539">46</cx:pt>
          <cx:pt idx="1540">49</cx:pt>
          <cx:pt idx="1541">46</cx:pt>
          <cx:pt idx="1542">45</cx:pt>
          <cx:pt idx="1543">48</cx:pt>
          <cx:pt idx="1544">52</cx:pt>
          <cx:pt idx="1545">50</cx:pt>
          <cx:pt idx="1546">50</cx:pt>
          <cx:pt idx="1547">51</cx:pt>
          <cx:pt idx="1548">47</cx:pt>
          <cx:pt idx="1549">51</cx:pt>
          <cx:pt idx="1550">45</cx:pt>
          <cx:pt idx="1551">50</cx:pt>
          <cx:pt idx="1552">52</cx:pt>
          <cx:pt idx="1553">54</cx:pt>
          <cx:pt idx="1554">49</cx:pt>
          <cx:pt idx="1555">53</cx:pt>
          <cx:pt idx="1556">45</cx:pt>
          <cx:pt idx="1557">51</cx:pt>
          <cx:pt idx="1558">46</cx:pt>
          <cx:pt idx="1559">47</cx:pt>
          <cx:pt idx="1560">55</cx:pt>
          <cx:pt idx="1561">54</cx:pt>
          <cx:pt idx="1562">53</cx:pt>
          <cx:pt idx="1563">49</cx:pt>
          <cx:pt idx="1564">53</cx:pt>
          <cx:pt idx="1565">46</cx:pt>
          <cx:pt idx="1566">53</cx:pt>
          <cx:pt idx="1567">55</cx:pt>
          <cx:pt idx="1568">54</cx:pt>
          <cx:pt idx="1569">50</cx:pt>
          <cx:pt idx="1570">49</cx:pt>
          <cx:pt idx="1571">45</cx:pt>
          <cx:pt idx="1572">55</cx:pt>
          <cx:pt idx="1573">45</cx:pt>
          <cx:pt idx="1574">54</cx:pt>
          <cx:pt idx="1575">53</cx:pt>
          <cx:pt idx="1576">51</cx:pt>
          <cx:pt idx="1577">55</cx:pt>
          <cx:pt idx="1578">53</cx:pt>
          <cx:pt idx="1579">46</cx:pt>
          <cx:pt idx="1580">46</cx:pt>
          <cx:pt idx="1581">52</cx:pt>
          <cx:pt idx="1582">54</cx:pt>
          <cx:pt idx="1583">54</cx:pt>
          <cx:pt idx="1584">46</cx:pt>
          <cx:pt idx="1585">55</cx:pt>
          <cx:pt idx="1586">52</cx:pt>
          <cx:pt idx="1587">49</cx:pt>
          <cx:pt idx="1588">48</cx:pt>
          <cx:pt idx="1589">54</cx:pt>
          <cx:pt idx="1590">52</cx:pt>
          <cx:pt idx="1591">52</cx:pt>
          <cx:pt idx="1592">55</cx:pt>
          <cx:pt idx="1593">47</cx:pt>
          <cx:pt idx="1594">53</cx:pt>
          <cx:pt idx="1595">46</cx:pt>
          <cx:pt idx="1596">54</cx:pt>
          <cx:pt idx="1597">50</cx:pt>
          <cx:pt idx="1598">55</cx:pt>
          <cx:pt idx="1599">52</cx:pt>
          <cx:pt idx="1600">47</cx:pt>
          <cx:pt idx="1601">52</cx:pt>
          <cx:pt idx="1602">45</cx:pt>
          <cx:pt idx="1603">51</cx:pt>
          <cx:pt idx="1604">50</cx:pt>
          <cx:pt idx="1605">52</cx:pt>
          <cx:pt idx="1606">49</cx:pt>
          <cx:pt idx="1607">46</cx:pt>
          <cx:pt idx="1608">54</cx:pt>
          <cx:pt idx="1609">51</cx:pt>
          <cx:pt idx="1610">54</cx:pt>
          <cx:pt idx="1611">45</cx:pt>
          <cx:pt idx="1612">52</cx:pt>
          <cx:pt idx="1613">47</cx:pt>
          <cx:pt idx="1614">49</cx:pt>
          <cx:pt idx="1615">50</cx:pt>
          <cx:pt idx="1616">55</cx:pt>
          <cx:pt idx="1617">47</cx:pt>
          <cx:pt idx="1618">48</cx:pt>
          <cx:pt idx="1619">55</cx:pt>
          <cx:pt idx="1620">48</cx:pt>
          <cx:pt idx="1621">53</cx:pt>
          <cx:pt idx="1622">54</cx:pt>
          <cx:pt idx="1623">48</cx:pt>
          <cx:pt idx="1624">53</cx:pt>
          <cx:pt idx="1625">53</cx:pt>
          <cx:pt idx="1626">54</cx:pt>
          <cx:pt idx="1627">49</cx:pt>
          <cx:pt idx="1628">50</cx:pt>
          <cx:pt idx="1629">54</cx:pt>
          <cx:pt idx="1630">51</cx:pt>
          <cx:pt idx="1631">53</cx:pt>
          <cx:pt idx="1632">46</cx:pt>
          <cx:pt idx="1633">54</cx:pt>
          <cx:pt idx="1634">54</cx:pt>
          <cx:pt idx="1635">51</cx:pt>
          <cx:pt idx="1636">48</cx:pt>
          <cx:pt idx="1637">55</cx:pt>
          <cx:pt idx="1638">45</cx:pt>
          <cx:pt idx="1639">52</cx:pt>
          <cx:pt idx="1640">47</cx:pt>
          <cx:pt idx="1641">47</cx:pt>
          <cx:pt idx="1642">52</cx:pt>
          <cx:pt idx="1643">46</cx:pt>
          <cx:pt idx="1644">48</cx:pt>
          <cx:pt idx="1645">51</cx:pt>
          <cx:pt idx="1646">55</cx:pt>
          <cx:pt idx="1647">54</cx:pt>
          <cx:pt idx="1648">54</cx:pt>
          <cx:pt idx="1649">50</cx:pt>
          <cx:pt idx="1650">48</cx:pt>
          <cx:pt idx="1651">55</cx:pt>
          <cx:pt idx="1652">51</cx:pt>
          <cx:pt idx="1653">45</cx:pt>
          <cx:pt idx="1654">46</cx:pt>
          <cx:pt idx="1655">52</cx:pt>
          <cx:pt idx="1656">54</cx:pt>
          <cx:pt idx="1657">49</cx:pt>
          <cx:pt idx="1658">50</cx:pt>
          <cx:pt idx="1659">47</cx:pt>
          <cx:pt idx="1660">53</cx:pt>
          <cx:pt idx="1661">55</cx:pt>
          <cx:pt idx="1662">54</cx:pt>
          <cx:pt idx="1663">49</cx:pt>
          <cx:pt idx="1664">45</cx:pt>
          <cx:pt idx="1665">49</cx:pt>
          <cx:pt idx="1666">55</cx:pt>
          <cx:pt idx="1667">52</cx:pt>
          <cx:pt idx="1668">49</cx:pt>
          <cx:pt idx="1669">49</cx:pt>
          <cx:pt idx="1670">48</cx:pt>
          <cx:pt idx="1671">47</cx:pt>
          <cx:pt idx="1672">49</cx:pt>
          <cx:pt idx="1673">55</cx:pt>
          <cx:pt idx="1674">49</cx:pt>
          <cx:pt idx="1675">51</cx:pt>
          <cx:pt idx="1676">46</cx:pt>
          <cx:pt idx="1677">53</cx:pt>
          <cx:pt idx="1678">54</cx:pt>
          <cx:pt idx="1679">55</cx:pt>
          <cx:pt idx="1680">48</cx:pt>
          <cx:pt idx="1681">54</cx:pt>
          <cx:pt idx="1682">54</cx:pt>
          <cx:pt idx="1683">55</cx:pt>
          <cx:pt idx="1684">49</cx:pt>
          <cx:pt idx="1685">47</cx:pt>
          <cx:pt idx="1686">47</cx:pt>
          <cx:pt idx="1687">47</cx:pt>
          <cx:pt idx="1688">55</cx:pt>
          <cx:pt idx="1689">50</cx:pt>
          <cx:pt idx="1690">54</cx:pt>
          <cx:pt idx="1691">52</cx:pt>
          <cx:pt idx="1692">51</cx:pt>
          <cx:pt idx="1693">45</cx:pt>
          <cx:pt idx="1694">52</cx:pt>
          <cx:pt idx="1695">47</cx:pt>
          <cx:pt idx="1696">52</cx:pt>
          <cx:pt idx="1697">46</cx:pt>
          <cx:pt idx="1698">55</cx:pt>
          <cx:pt idx="1699">48</cx:pt>
          <cx:pt idx="1700">55</cx:pt>
          <cx:pt idx="1701">52</cx:pt>
          <cx:pt idx="1702">50</cx:pt>
          <cx:pt idx="1703">47</cx:pt>
          <cx:pt idx="1704">55</cx:pt>
          <cx:pt idx="1705">53</cx:pt>
          <cx:pt idx="1706">45</cx:pt>
          <cx:pt idx="1707">49</cx:pt>
          <cx:pt idx="1708">54</cx:pt>
          <cx:pt idx="1709">45</cx:pt>
          <cx:pt idx="1710">47</cx:pt>
          <cx:pt idx="1711">49</cx:pt>
          <cx:pt idx="1712">50</cx:pt>
          <cx:pt idx="1713">50</cx:pt>
          <cx:pt idx="1714">54</cx:pt>
          <cx:pt idx="1715">55</cx:pt>
          <cx:pt idx="1716">52</cx:pt>
          <cx:pt idx="1717">52</cx:pt>
          <cx:pt idx="1718">49</cx:pt>
          <cx:pt idx="1719">54</cx:pt>
          <cx:pt idx="1720">50</cx:pt>
          <cx:pt idx="1721">52</cx:pt>
          <cx:pt idx="1722">54</cx:pt>
          <cx:pt idx="1723">52</cx:pt>
          <cx:pt idx="1724">53</cx:pt>
          <cx:pt idx="1725">45</cx:pt>
          <cx:pt idx="1726">55</cx:pt>
          <cx:pt idx="1727">52</cx:pt>
          <cx:pt idx="1728">49</cx:pt>
          <cx:pt idx="1729">53</cx:pt>
          <cx:pt idx="1730">54</cx:pt>
          <cx:pt idx="1731">55</cx:pt>
          <cx:pt idx="1732">55</cx:pt>
          <cx:pt idx="1733">55</cx:pt>
          <cx:pt idx="1734">52</cx:pt>
          <cx:pt idx="1735">55</cx:pt>
          <cx:pt idx="1736">52</cx:pt>
          <cx:pt idx="1737">55</cx:pt>
          <cx:pt idx="1738">54</cx:pt>
          <cx:pt idx="1739">53</cx:pt>
          <cx:pt idx="1740">54</cx:pt>
          <cx:pt idx="1741">52</cx:pt>
          <cx:pt idx="1742">55</cx:pt>
          <cx:pt idx="1743">52</cx:pt>
          <cx:pt idx="1744">52</cx:pt>
          <cx:pt idx="1745">53</cx:pt>
          <cx:pt idx="1746">52</cx:pt>
          <cx:pt idx="1747">52</cx:pt>
          <cx:pt idx="1748">55</cx:pt>
          <cx:pt idx="1749">52</cx:pt>
          <cx:pt idx="1750">53</cx:pt>
          <cx:pt idx="1751">53</cx:pt>
          <cx:pt idx="1752">54</cx:pt>
          <cx:pt idx="1753">55</cx:pt>
          <cx:pt idx="1754">54</cx:pt>
          <cx:pt idx="1755">55</cx:pt>
          <cx:pt idx="1756">55</cx:pt>
          <cx:pt idx="1757">53</cx:pt>
          <cx:pt idx="1758">54</cx:pt>
          <cx:pt idx="1759">53</cx:pt>
          <cx:pt idx="1760">53</cx:pt>
          <cx:pt idx="1761">53</cx:pt>
          <cx:pt idx="1762">53</cx:pt>
          <cx:pt idx="1763">53</cx:pt>
          <cx:pt idx="1764">53</cx:pt>
          <cx:pt idx="1765">53</cx:pt>
          <cx:pt idx="1766">52</cx:pt>
          <cx:pt idx="1767">53</cx:pt>
          <cx:pt idx="1768">55</cx:pt>
          <cx:pt idx="1769">52</cx:pt>
          <cx:pt idx="1770">54</cx:pt>
          <cx:pt idx="1771">52</cx:pt>
          <cx:pt idx="1772">53</cx:pt>
          <cx:pt idx="1773">46</cx:pt>
          <cx:pt idx="1774">47</cx:pt>
          <cx:pt idx="1775">47</cx:pt>
          <cx:pt idx="1776">49</cx:pt>
          <cx:pt idx="1777">46</cx:pt>
          <cx:pt idx="1778">47</cx:pt>
          <cx:pt idx="1779">46</cx:pt>
          <cx:pt idx="1780">46</cx:pt>
          <cx:pt idx="1781">54</cx:pt>
          <cx:pt idx="1782">46</cx:pt>
          <cx:pt idx="1783">53</cx:pt>
          <cx:pt idx="1784">51</cx:pt>
          <cx:pt idx="1785">51</cx:pt>
          <cx:pt idx="1786">47</cx:pt>
          <cx:pt idx="1787">45</cx:pt>
          <cx:pt idx="1788">55</cx:pt>
          <cx:pt idx="1789">49</cx:pt>
          <cx:pt idx="1790">47</cx:pt>
          <cx:pt idx="1791">51</cx:pt>
          <cx:pt idx="1792">53</cx:pt>
          <cx:pt idx="1793">49</cx:pt>
          <cx:pt idx="1794">53</cx:pt>
          <cx:pt idx="1795">47</cx:pt>
          <cx:pt idx="1796">53</cx:pt>
          <cx:pt idx="1797">47</cx:pt>
          <cx:pt idx="1798">55</cx:pt>
          <cx:pt idx="1799">46</cx:pt>
          <cx:pt idx="1800">55</cx:pt>
          <cx:pt idx="1801">52</cx:pt>
          <cx:pt idx="1802">49</cx:pt>
          <cx:pt idx="1803">46</cx:pt>
          <cx:pt idx="1804">47</cx:pt>
          <cx:pt idx="1805">49</cx:pt>
          <cx:pt idx="1806">53</cx:pt>
          <cx:pt idx="1807">48</cx:pt>
          <cx:pt idx="1808">55</cx:pt>
          <cx:pt idx="1809">51</cx:pt>
          <cx:pt idx="1810">54</cx:pt>
          <cx:pt idx="1811">53</cx:pt>
          <cx:pt idx="1812">46</cx:pt>
          <cx:pt idx="1813">54</cx:pt>
          <cx:pt idx="1814">45</cx:pt>
          <cx:pt idx="1815">48</cx:pt>
          <cx:pt idx="1816">48</cx:pt>
          <cx:pt idx="1817">53</cx:pt>
          <cx:pt idx="1818">50</cx:pt>
          <cx:pt idx="1819">48</cx:pt>
          <cx:pt idx="1820">47</cx:pt>
          <cx:pt idx="1821">55</cx:pt>
          <cx:pt idx="1822">46</cx:pt>
          <cx:pt idx="1823">53</cx:pt>
          <cx:pt idx="1824">45</cx:pt>
          <cx:pt idx="1825">55</cx:pt>
          <cx:pt idx="1826">50</cx:pt>
          <cx:pt idx="1827">52</cx:pt>
          <cx:pt idx="1828">51</cx:pt>
          <cx:pt idx="1829">47</cx:pt>
          <cx:pt idx="1830">55</cx:pt>
          <cx:pt idx="1831">55</cx:pt>
          <cx:pt idx="1832">45</cx:pt>
          <cx:pt idx="1833">48</cx:pt>
          <cx:pt idx="1834">48</cx:pt>
          <cx:pt idx="1835">53</cx:pt>
          <cx:pt idx="1836">55</cx:pt>
          <cx:pt idx="1837">50</cx:pt>
          <cx:pt idx="1838">55</cx:pt>
          <cx:pt idx="1839">54</cx:pt>
          <cx:pt idx="1840">48</cx:pt>
          <cx:pt idx="1841">45</cx:pt>
          <cx:pt idx="1842">49</cx:pt>
          <cx:pt idx="1843">49</cx:pt>
          <cx:pt idx="1844">54</cx:pt>
          <cx:pt idx="1845">49</cx:pt>
          <cx:pt idx="1846">48</cx:pt>
          <cx:pt idx="1847">46</cx:pt>
          <cx:pt idx="1848">45</cx:pt>
          <cx:pt idx="1849">45</cx:pt>
          <cx:pt idx="1850">50</cx:pt>
          <cx:pt idx="1851">46</cx:pt>
          <cx:pt idx="1852">53</cx:pt>
          <cx:pt idx="1853">51</cx:pt>
          <cx:pt idx="1854">47</cx:pt>
          <cx:pt idx="1855">46</cx:pt>
          <cx:pt idx="1856">50</cx:pt>
          <cx:pt idx="1857">52</cx:pt>
          <cx:pt idx="1858">47</cx:pt>
          <cx:pt idx="1859">55</cx:pt>
          <cx:pt idx="1860">51</cx:pt>
          <cx:pt idx="1861">55</cx:pt>
          <cx:pt idx="1862">46</cx:pt>
          <cx:pt idx="1863">53</cx:pt>
          <cx:pt idx="1864">52</cx:pt>
          <cx:pt idx="1865">49</cx:pt>
          <cx:pt idx="1866">48</cx:pt>
          <cx:pt idx="1867">46</cx:pt>
          <cx:pt idx="1868">49</cx:pt>
          <cx:pt idx="1869">47</cx:pt>
          <cx:pt idx="1870">49</cx:pt>
          <cx:pt idx="1871">53</cx:pt>
          <cx:pt idx="1872">53</cx:pt>
          <cx:pt idx="1873">48</cx:pt>
          <cx:pt idx="1874">52</cx:pt>
          <cx:pt idx="1875">55</cx:pt>
          <cx:pt idx="1876">48</cx:pt>
          <cx:pt idx="1877">48</cx:pt>
          <cx:pt idx="1878">54</cx:pt>
          <cx:pt idx="1879">52</cx:pt>
          <cx:pt idx="1880">54</cx:pt>
          <cx:pt idx="1881">45</cx:pt>
          <cx:pt idx="1882">49</cx:pt>
          <cx:pt idx="1883">46</cx:pt>
          <cx:pt idx="1884">45</cx:pt>
          <cx:pt idx="1885">50</cx:pt>
          <cx:pt idx="1886">54</cx:pt>
          <cx:pt idx="1887">52</cx:pt>
          <cx:pt idx="1888">55</cx:pt>
          <cx:pt idx="1889">50</cx:pt>
          <cx:pt idx="1890">53</cx:pt>
          <cx:pt idx="1891">55</cx:pt>
          <cx:pt idx="1892">45</cx:pt>
          <cx:pt idx="1893">45</cx:pt>
          <cx:pt idx="1894">46</cx:pt>
          <cx:pt idx="1895">52</cx:pt>
          <cx:pt idx="1896">52</cx:pt>
          <cx:pt idx="1897">53</cx:pt>
          <cx:pt idx="1898">55</cx:pt>
          <cx:pt idx="1899">47</cx:pt>
          <cx:pt idx="1900">53</cx:pt>
          <cx:pt idx="1901">51</cx:pt>
          <cx:pt idx="1902">47</cx:pt>
          <cx:pt idx="1903">45</cx:pt>
          <cx:pt idx="1904">53</cx:pt>
          <cx:pt idx="1905">49</cx:pt>
          <cx:pt idx="1906">50</cx:pt>
          <cx:pt idx="1907">48</cx:pt>
          <cx:pt idx="1908">47</cx:pt>
          <cx:pt idx="1909">54</cx:pt>
          <cx:pt idx="1910">51</cx:pt>
          <cx:pt idx="1911">52</cx:pt>
          <cx:pt idx="1912">53</cx:pt>
          <cx:pt idx="1913">46</cx:pt>
          <cx:pt idx="1914">49</cx:pt>
          <cx:pt idx="1915">51</cx:pt>
          <cx:pt idx="1916">50</cx:pt>
          <cx:pt idx="1917">52</cx:pt>
          <cx:pt idx="1918">55</cx:pt>
          <cx:pt idx="1919">53</cx:pt>
          <cx:pt idx="1920">53</cx:pt>
          <cx:pt idx="1921">54</cx:pt>
          <cx:pt idx="1922">55</cx:pt>
          <cx:pt idx="1923">52</cx:pt>
          <cx:pt idx="1924">54</cx:pt>
          <cx:pt idx="1925">52</cx:pt>
          <cx:pt idx="1926">53</cx:pt>
          <cx:pt idx="1927">54</cx:pt>
          <cx:pt idx="1928">52</cx:pt>
          <cx:pt idx="1929">52</cx:pt>
          <cx:pt idx="1930">54</cx:pt>
          <cx:pt idx="1931">55</cx:pt>
          <cx:pt idx="1932">54</cx:pt>
          <cx:pt idx="1933">55</cx:pt>
          <cx:pt idx="1934">53</cx:pt>
          <cx:pt idx="1935">54</cx:pt>
          <cx:pt idx="1936">55</cx:pt>
          <cx:pt idx="1937">52</cx:pt>
          <cx:pt idx="1938">54</cx:pt>
          <cx:pt idx="1939">53</cx:pt>
          <cx:pt idx="1940">52</cx:pt>
          <cx:pt idx="1941">55</cx:pt>
          <cx:pt idx="1942">52</cx:pt>
          <cx:pt idx="1943">52</cx:pt>
          <cx:pt idx="1944">54</cx:pt>
          <cx:pt idx="1945">53</cx:pt>
          <cx:pt idx="1946">55</cx:pt>
          <cx:pt idx="1947">54</cx:pt>
          <cx:pt idx="1948">54</cx:pt>
          <cx:pt idx="1949">53</cx:pt>
          <cx:pt idx="1950">54</cx:pt>
          <cx:pt idx="1951">52</cx:pt>
          <cx:pt idx="1952">52</cx:pt>
          <cx:pt idx="1953">53</cx:pt>
          <cx:pt idx="1954">53</cx:pt>
          <cx:pt idx="1955">53</cx:pt>
          <cx:pt idx="1956">53</cx:pt>
          <cx:pt idx="1957">55</cx:pt>
          <cx:pt idx="1958">55</cx:pt>
          <cx:pt idx="1959">54</cx:pt>
          <cx:pt idx="1960">54</cx:pt>
          <cx:pt idx="1961">47</cx:pt>
          <cx:pt idx="1962">46</cx:pt>
          <cx:pt idx="1963">51</cx:pt>
          <cx:pt idx="1964">55</cx:pt>
          <cx:pt idx="1965">54</cx:pt>
          <cx:pt idx="1966">53</cx:pt>
          <cx:pt idx="1967">49</cx:pt>
          <cx:pt idx="1968">50</cx:pt>
          <cx:pt idx="1969">46</cx:pt>
          <cx:pt idx="1970">45</cx:pt>
          <cx:pt idx="1971">48</cx:pt>
          <cx:pt idx="1972">48</cx:pt>
          <cx:pt idx="1973">52</cx:pt>
          <cx:pt idx="1974">53</cx:pt>
          <cx:pt idx="1975">54</cx:pt>
          <cx:pt idx="1976">48</cx:pt>
          <cx:pt idx="1977">51</cx:pt>
          <cx:pt idx="1978">55</cx:pt>
          <cx:pt idx="1979">55</cx:pt>
          <cx:pt idx="1980">50</cx:pt>
          <cx:pt idx="1981">51</cx:pt>
          <cx:pt idx="1982">47</cx:pt>
          <cx:pt idx="1983">50</cx:pt>
          <cx:pt idx="1984">53</cx:pt>
          <cx:pt idx="1985">51</cx:pt>
          <cx:pt idx="1986">52</cx:pt>
          <cx:pt idx="1987">49</cx:pt>
          <cx:pt idx="1988">51</cx:pt>
          <cx:pt idx="1989">50</cx:pt>
          <cx:pt idx="1990">52</cx:pt>
          <cx:pt idx="1991">54</cx:pt>
          <cx:pt idx="1992">55</cx:pt>
          <cx:pt idx="1993">51</cx:pt>
          <cx:pt idx="1994">46</cx:pt>
          <cx:pt idx="1995">51</cx:pt>
          <cx:pt idx="1996">55</cx:pt>
          <cx:pt idx="1997">48</cx:pt>
          <cx:pt idx="1998">51</cx:pt>
          <cx:pt idx="1999">53</cx:pt>
          <cx:pt idx="2000">49</cx:pt>
          <cx:pt idx="2001">55</cx:pt>
          <cx:pt idx="2002">46</cx:pt>
          <cx:pt idx="2003">55</cx:pt>
          <cx:pt idx="2004">54</cx:pt>
          <cx:pt idx="2005">53</cx:pt>
          <cx:pt idx="2006">47</cx:pt>
          <cx:pt idx="2007">50</cx:pt>
          <cx:pt idx="2008">46</cx:pt>
          <cx:pt idx="2009">55</cx:pt>
          <cx:pt idx="2010">52</cx:pt>
          <cx:pt idx="2011">49</cx:pt>
          <cx:pt idx="2012">45</cx:pt>
          <cx:pt idx="2013">52</cx:pt>
          <cx:pt idx="2014">48</cx:pt>
          <cx:pt idx="2015">55</cx:pt>
          <cx:pt idx="2016">54</cx:pt>
          <cx:pt idx="2017">50</cx:pt>
          <cx:pt idx="2018">53</cx:pt>
          <cx:pt idx="2019">46</cx:pt>
          <cx:pt idx="2020">47</cx:pt>
          <cx:pt idx="2021">54</cx:pt>
          <cx:pt idx="2022">53</cx:pt>
          <cx:pt idx="2023">48</cx:pt>
          <cx:pt idx="2024">45</cx:pt>
          <cx:pt idx="2025">54</cx:pt>
          <cx:pt idx="2026">52</cx:pt>
          <cx:pt idx="2027">48</cx:pt>
          <cx:pt idx="2028">51</cx:pt>
          <cx:pt idx="2029">52</cx:pt>
          <cx:pt idx="2030">53</cx:pt>
          <cx:pt idx="2031">51</cx:pt>
          <cx:pt idx="2032">54</cx:pt>
          <cx:pt idx="2033">51</cx:pt>
          <cx:pt idx="2034">45</cx:pt>
          <cx:pt idx="2035">45</cx:pt>
          <cx:pt idx="2036">53</cx:pt>
          <cx:pt idx="2037">55</cx:pt>
          <cx:pt idx="2038">46</cx:pt>
          <cx:pt idx="2039">52</cx:pt>
          <cx:pt idx="2040">55</cx:pt>
          <cx:pt idx="2041">45</cx:pt>
          <cx:pt idx="2042">53</cx:pt>
          <cx:pt idx="2043">48</cx:pt>
          <cx:pt idx="2044">52</cx:pt>
          <cx:pt idx="2045">53</cx:pt>
          <cx:pt idx="2046">48</cx:pt>
          <cx:pt idx="2047">53</cx:pt>
          <cx:pt idx="2048">48</cx:pt>
          <cx:pt idx="2049">50</cx:pt>
          <cx:pt idx="2050">45</cx:pt>
          <cx:pt idx="2051">46</cx:pt>
          <cx:pt idx="2052">53</cx:pt>
          <cx:pt idx="2053">48</cx:pt>
          <cx:pt idx="2054">49</cx:pt>
          <cx:pt idx="2055">53</cx:pt>
          <cx:pt idx="2056">48</cx:pt>
          <cx:pt idx="2057">52</cx:pt>
          <cx:pt idx="2058">52</cx:pt>
          <cx:pt idx="2059">46</cx:pt>
          <cx:pt idx="2060">45</cx:pt>
          <cx:pt idx="2061">46</cx:pt>
          <cx:pt idx="2062">52</cx:pt>
          <cx:pt idx="2063">49</cx:pt>
          <cx:pt idx="2064">50</cx:pt>
          <cx:pt idx="2065">52</cx:pt>
          <cx:pt idx="2066">52</cx:pt>
          <cx:pt idx="2067">49</cx:pt>
          <cx:pt idx="2068">55</cx:pt>
          <cx:pt idx="2069">48</cx:pt>
          <cx:pt idx="2070">49</cx:pt>
          <cx:pt idx="2071">55</cx:pt>
          <cx:pt idx="2072">51</cx:pt>
          <cx:pt idx="2073">48</cx:pt>
          <cx:pt idx="2074">51</cx:pt>
          <cx:pt idx="2075">50</cx:pt>
          <cx:pt idx="2076">46</cx:pt>
          <cx:pt idx="2077">53</cx:pt>
          <cx:pt idx="2078">51</cx:pt>
          <cx:pt idx="2079">50</cx:pt>
          <cx:pt idx="2080">47</cx:pt>
          <cx:pt idx="2081">48</cx:pt>
          <cx:pt idx="2082">50</cx:pt>
          <cx:pt idx="2083">47</cx:pt>
          <cx:pt idx="2084">53</cx:pt>
          <cx:pt idx="2085">52</cx:pt>
          <cx:pt idx="2086">53</cx:pt>
          <cx:pt idx="2087">45</cx:pt>
          <cx:pt idx="2088">46</cx:pt>
          <cx:pt idx="2089">52</cx:pt>
          <cx:pt idx="2090">54</cx:pt>
          <cx:pt idx="2091">48</cx:pt>
          <cx:pt idx="2092">47</cx:pt>
          <cx:pt idx="2093">52</cx:pt>
          <cx:pt idx="2094">52</cx:pt>
          <cx:pt idx="2095">46</cx:pt>
          <cx:pt idx="2096">50</cx:pt>
          <cx:pt idx="2097">48</cx:pt>
          <cx:pt idx="2098">49</cx:pt>
          <cx:pt idx="2099">50</cx:pt>
          <cx:pt idx="2100">54</cx:pt>
          <cx:pt idx="2101">49</cx:pt>
          <cx:pt idx="2102">46</cx:pt>
          <cx:pt idx="2103">49</cx:pt>
          <cx:pt idx="2104">48</cx:pt>
          <cx:pt idx="2105">48</cx:pt>
          <cx:pt idx="2106">45</cx:pt>
          <cx:pt idx="2107">54</cx:pt>
          <cx:pt idx="2108">49</cx:pt>
          <cx:pt idx="2109">53</cx:pt>
          <cx:pt idx="2110">47</cx:pt>
          <cx:pt idx="2111">48</cx:pt>
          <cx:pt idx="2112">47</cx:pt>
          <cx:pt idx="2113">48</cx:pt>
          <cx:pt idx="2114">47</cx:pt>
          <cx:pt idx="2115">47</cx:pt>
          <cx:pt idx="2116">54</cx:pt>
          <cx:pt idx="2117">51</cx:pt>
          <cx:pt idx="2118">45</cx:pt>
          <cx:pt idx="2119">48</cx:pt>
          <cx:pt idx="2120">45</cx:pt>
          <cx:pt idx="2121">49</cx:pt>
          <cx:pt idx="2122">45</cx:pt>
          <cx:pt idx="2123">52</cx:pt>
          <cx:pt idx="2124">53</cx:pt>
          <cx:pt idx="2125">45</cx:pt>
          <cx:pt idx="2126">51</cx:pt>
          <cx:pt idx="2127">47</cx:pt>
          <cx:pt idx="2128">49</cx:pt>
          <cx:pt idx="2129">54</cx:pt>
          <cx:pt idx="2130">53</cx:pt>
          <cx:pt idx="2131">45</cx:pt>
          <cx:pt idx="2132">55</cx:pt>
          <cx:pt idx="2133">51</cx:pt>
          <cx:pt idx="2134">55</cx:pt>
          <cx:pt idx="2135">55</cx:pt>
          <cx:pt idx="2136">54</cx:pt>
          <cx:pt idx="2137">46</cx:pt>
          <cx:pt idx="2138">48</cx:pt>
          <cx:pt idx="2139">55</cx:pt>
          <cx:pt idx="2140">55</cx:pt>
          <cx:pt idx="2141">47</cx:pt>
          <cx:pt idx="2142">50</cx:pt>
          <cx:pt idx="2143">47</cx:pt>
          <cx:pt idx="2144">48</cx:pt>
          <cx:pt idx="2145">48</cx:pt>
          <cx:pt idx="2146">55</cx:pt>
          <cx:pt idx="2147">45</cx:pt>
          <cx:pt idx="2148">46</cx:pt>
          <cx:pt idx="2149">49</cx:pt>
          <cx:pt idx="2150">49</cx:pt>
          <cx:pt idx="2151">45</cx:pt>
          <cx:pt idx="2152">51</cx:pt>
          <cx:pt idx="2153">49</cx:pt>
          <cx:pt idx="2154">55</cx:pt>
          <cx:pt idx="2155">45</cx:pt>
          <cx:pt idx="2156">52</cx:pt>
          <cx:pt idx="2157">47</cx:pt>
          <cx:pt idx="2158">49</cx:pt>
          <cx:pt idx="2159">55</cx:pt>
          <cx:pt idx="2160">51</cx:pt>
          <cx:pt idx="2161">52</cx:pt>
          <cx:pt idx="2162">46</cx:pt>
          <cx:pt idx="2163">45</cx:pt>
          <cx:pt idx="2164">49</cx:pt>
          <cx:pt idx="2165">45</cx:pt>
          <cx:pt idx="2166">55</cx:pt>
          <cx:pt idx="2167">48</cx:pt>
          <cx:pt idx="2168">52</cx:pt>
          <cx:pt idx="2169">51</cx:pt>
          <cx:pt idx="2170">46</cx:pt>
          <cx:pt idx="2171">48</cx:pt>
          <cx:pt idx="2172">54</cx:pt>
          <cx:pt idx="2173">49</cx:pt>
          <cx:pt idx="2174">54</cx:pt>
          <cx:pt idx="2175">53</cx:pt>
          <cx:pt idx="2176">46</cx:pt>
          <cx:pt idx="2177">48</cx:pt>
          <cx:pt idx="2178">52</cx:pt>
          <cx:pt idx="2179">49</cx:pt>
          <cx:pt idx="2180">51</cx:pt>
          <cx:pt idx="2181">45</cx:pt>
          <cx:pt idx="2182">55</cx:pt>
          <cx:pt idx="2183">45</cx:pt>
          <cx:pt idx="2184">49</cx:pt>
          <cx:pt idx="2185">53</cx:pt>
          <cx:pt idx="2186">53</cx:pt>
          <cx:pt idx="2187">52</cx:pt>
          <cx:pt idx="2188">53</cx:pt>
          <cx:pt idx="2189">54</cx:pt>
          <cx:pt idx="2190">50</cx:pt>
          <cx:pt idx="2191">54</cx:pt>
          <cx:pt idx="2192">48</cx:pt>
          <cx:pt idx="2193">54</cx:pt>
          <cx:pt idx="2194">52</cx:pt>
          <cx:pt idx="2195">49</cx:pt>
          <cx:pt idx="2196">53</cx:pt>
          <cx:pt idx="2197">50</cx:pt>
          <cx:pt idx="2198">52</cx:pt>
          <cx:pt idx="2199">49</cx:pt>
          <cx:pt idx="2200">46</cx:pt>
          <cx:pt idx="2201">50</cx:pt>
          <cx:pt idx="2202">52</cx:pt>
          <cx:pt idx="2203">49</cx:pt>
          <cx:pt idx="2204">55</cx:pt>
          <cx:pt idx="2205">55</cx:pt>
          <cx:pt idx="2206">45</cx:pt>
          <cx:pt idx="2207">50</cx:pt>
          <cx:pt idx="2208">49</cx:pt>
          <cx:pt idx="2209">46</cx:pt>
          <cx:pt idx="2210">52</cx:pt>
          <cx:pt idx="2211">48</cx:pt>
          <cx:pt idx="2212">45</cx:pt>
          <cx:pt idx="2213">55</cx:pt>
          <cx:pt idx="2214">54</cx:pt>
          <cx:pt idx="2215">55</cx:pt>
          <cx:pt idx="2216">47</cx:pt>
          <cx:pt idx="2217">51</cx:pt>
          <cx:pt idx="2218">46</cx:pt>
          <cx:pt idx="2219">48</cx:pt>
          <cx:pt idx="2220">48</cx:pt>
          <cx:pt idx="2221">55</cx:pt>
          <cx:pt idx="2222">55</cx:pt>
          <cx:pt idx="2223">51</cx:pt>
          <cx:pt idx="2224">49</cx:pt>
          <cx:pt idx="2225">51</cx:pt>
          <cx:pt idx="2226">45</cx:pt>
          <cx:pt idx="2227">53</cx:pt>
          <cx:pt idx="2228">45</cx:pt>
          <cx:pt idx="2229">49</cx:pt>
          <cx:pt idx="2230">55</cx:pt>
          <cx:pt idx="2231">45</cx:pt>
          <cx:pt idx="2232">55</cx:pt>
          <cx:pt idx="2233">46</cx:pt>
          <cx:pt idx="2234">47</cx:pt>
          <cx:pt idx="2235">55</cx:pt>
          <cx:pt idx="2236">46</cx:pt>
          <cx:pt idx="2237">53</cx:pt>
          <cx:pt idx="2238">54</cx:pt>
          <cx:pt idx="2239">47</cx:pt>
          <cx:pt idx="2240">46</cx:pt>
          <cx:pt idx="2241">48</cx:pt>
          <cx:pt idx="2242">50</cx:pt>
          <cx:pt idx="2243">54</cx:pt>
          <cx:pt idx="2244">47</cx:pt>
          <cx:pt idx="2245">51</cx:pt>
          <cx:pt idx="2246">52</cx:pt>
          <cx:pt idx="2247">51</cx:pt>
          <cx:pt idx="2248">48</cx:pt>
          <cx:pt idx="2249">51</cx:pt>
          <cx:pt idx="2250">47</cx:pt>
          <cx:pt idx="2251">55</cx:pt>
          <cx:pt idx="2252">51</cx:pt>
          <cx:pt idx="2253">57</cx:pt>
          <cx:pt idx="2254">54</cx:pt>
          <cx:pt idx="2255">59</cx:pt>
          <cx:pt idx="2256">56</cx:pt>
          <cx:pt idx="2257">56</cx:pt>
          <cx:pt idx="2258">59</cx:pt>
          <cx:pt idx="2259">58</cx:pt>
          <cx:pt idx="2260">56</cx:pt>
          <cx:pt idx="2261">54</cx:pt>
          <cx:pt idx="2262">56</cx:pt>
          <cx:pt idx="2263">55</cx:pt>
          <cx:pt idx="2264">54</cx:pt>
          <cx:pt idx="2265">54</cx:pt>
          <cx:pt idx="2266">59</cx:pt>
          <cx:pt idx="2267">54</cx:pt>
          <cx:pt idx="2268">59</cx:pt>
          <cx:pt idx="2269">58</cx:pt>
          <cx:pt idx="2270">55</cx:pt>
          <cx:pt idx="2271">59</cx:pt>
          <cx:pt idx="2272">56</cx:pt>
          <cx:pt idx="2273">57</cx:pt>
          <cx:pt idx="2274">56</cx:pt>
          <cx:pt idx="2275">58</cx:pt>
          <cx:pt idx="2276">54</cx:pt>
          <cx:pt idx="2277">59</cx:pt>
          <cx:pt idx="2278">59</cx:pt>
          <cx:pt idx="2279">59</cx:pt>
          <cx:pt idx="2280">56</cx:pt>
          <cx:pt idx="2281">54</cx:pt>
          <cx:pt idx="2282">55</cx:pt>
          <cx:pt idx="2283">55</cx:pt>
          <cx:pt idx="2284">58</cx:pt>
          <cx:pt idx="2285">57</cx:pt>
          <cx:pt idx="2286">59</cx:pt>
          <cx:pt idx="2287">59</cx:pt>
          <cx:pt idx="2288">59</cx:pt>
          <cx:pt idx="2289">58</cx:pt>
          <cx:pt idx="2290">58</cx:pt>
          <cx:pt idx="2291">55</cx:pt>
          <cx:pt idx="2292">55</cx:pt>
          <cx:pt idx="2293">54</cx:pt>
          <cx:pt idx="2294">58</cx:pt>
          <cx:pt idx="2295">59</cx:pt>
          <cx:pt idx="2296">63</cx:pt>
          <cx:pt idx="2297">65</cx:pt>
          <cx:pt idx="2298">63</cx:pt>
          <cx:pt idx="2299">61</cx:pt>
          <cx:pt idx="2300">61</cx:pt>
          <cx:pt idx="2301">64</cx:pt>
          <cx:pt idx="2302">60</cx:pt>
          <cx:pt idx="2303">63</cx:pt>
          <cx:pt idx="2304">62</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47</cx:pt>
          <cx:pt idx="2322">45</cx:pt>
          <cx:pt idx="2323">50</cx:pt>
          <cx:pt idx="2324">46</cx:pt>
          <cx:pt idx="2325">55</cx:pt>
          <cx:pt idx="2326">54</cx:pt>
          <cx:pt idx="2327">49</cx:pt>
          <cx:pt idx="2328">46</cx:pt>
          <cx:pt idx="2329">45</cx:pt>
          <cx:pt idx="2330">53</cx:pt>
          <cx:pt idx="2331">48</cx:pt>
          <cx:pt idx="2332">51</cx:pt>
          <cx:pt idx="2333">51</cx:pt>
          <cx:pt idx="2334">46</cx:pt>
          <cx:pt idx="2335">54</cx:pt>
          <cx:pt idx="2336">53</cx:pt>
          <cx:pt idx="2337">55</cx:pt>
          <cx:pt idx="2338">51</cx:pt>
          <cx:pt idx="2339">54</cx:pt>
          <cx:pt idx="2340">46</cx:pt>
          <cx:pt idx="2341">51</cx:pt>
          <cx:pt idx="2342">50</cx:pt>
          <cx:pt idx="2343">49</cx:pt>
          <cx:pt idx="2344">50</cx:pt>
          <cx:pt idx="2345">50</cx:pt>
          <cx:pt idx="2346">51</cx:pt>
          <cx:pt idx="2347">54</cx:pt>
          <cx:pt idx="2348">49</cx:pt>
          <cx:pt idx="2349">51</cx:pt>
          <cx:pt idx="2350">49</cx:pt>
          <cx:pt idx="2351">49</cx:pt>
          <cx:pt idx="2352">49</cx:pt>
          <cx:pt idx="2353">54</cx:pt>
          <cx:pt idx="2354">45</cx:pt>
          <cx:pt idx="2355">55</cx:pt>
          <cx:pt idx="2356">48</cx:pt>
          <cx:pt idx="2357">48</cx:pt>
          <cx:pt idx="2358">55</cx:pt>
          <cx:pt idx="2359">50</cx:pt>
          <cx:pt idx="2360">49</cx:pt>
          <cx:pt idx="2361">51</cx:pt>
          <cx:pt idx="2362">53</cx:pt>
          <cx:pt idx="2363">45</cx:pt>
          <cx:pt idx="2364">47</cx:pt>
          <cx:pt idx="2365">52</cx:pt>
          <cx:pt idx="2366">48</cx:pt>
          <cx:pt idx="2367">45</cx:pt>
          <cx:pt idx="2368">54</cx:pt>
          <cx:pt idx="2369">50</cx:pt>
          <cx:pt idx="2370">46</cx:pt>
          <cx:pt idx="2371">54</cx:pt>
          <cx:pt idx="2372">54</cx:pt>
          <cx:pt idx="2373">54</cx:pt>
          <cx:pt idx="2374">53</cx:pt>
          <cx:pt idx="2375">52</cx:pt>
          <cx:pt idx="2376">50</cx:pt>
          <cx:pt idx="2377">48</cx:pt>
          <cx:pt idx="2378">54</cx:pt>
          <cx:pt idx="2379">51</cx:pt>
          <cx:pt idx="2380">45</cx:pt>
          <cx:pt idx="2381">52</cx:pt>
          <cx:pt idx="2382">47</cx:pt>
          <cx:pt idx="2383">48</cx:pt>
          <cx:pt idx="2384">54</cx:pt>
          <cx:pt idx="2385">49</cx:pt>
          <cx:pt idx="2386">53</cx:pt>
          <cx:pt idx="2387">47</cx:pt>
          <cx:pt idx="2388">54</cx:pt>
          <cx:pt idx="2389">47</cx:pt>
          <cx:pt idx="2390">45</cx:pt>
          <cx:pt idx="2391">45</cx:pt>
          <cx:pt idx="2392">46</cx:pt>
          <cx:pt idx="2393">46</cx:pt>
          <cx:pt idx="2394">45</cx:pt>
          <cx:pt idx="2395">46</cx:pt>
          <cx:pt idx="2396">50</cx:pt>
          <cx:pt idx="2397">53</cx:pt>
          <cx:pt idx="2398">50</cx:pt>
          <cx:pt idx="2399">53</cx:pt>
          <cx:pt idx="2400">51</cx:pt>
          <cx:pt idx="2401">48</cx:pt>
          <cx:pt idx="2402">47</cx:pt>
          <cx:pt idx="2403">46</cx:pt>
          <cx:pt idx="2404">49</cx:pt>
          <cx:pt idx="2405">51</cx:pt>
          <cx:pt idx="2406">51</cx:pt>
          <cx:pt idx="2407">54</cx:pt>
          <cx:pt idx="2408">46</cx:pt>
          <cx:pt idx="2409">51</cx:pt>
          <cx:pt idx="2410">47</cx:pt>
          <cx:pt idx="2411">54</cx:pt>
          <cx:pt idx="2412">54</cx:pt>
          <cx:pt idx="2413">53</cx:pt>
          <cx:pt idx="2414">54</cx:pt>
          <cx:pt idx="2415">52</cx:pt>
          <cx:pt idx="2416">47</cx:pt>
          <cx:pt idx="2417">51</cx:pt>
          <cx:pt idx="2418">46</cx:pt>
          <cx:pt idx="2419">55</cx:pt>
          <cx:pt idx="2420">45</cx:pt>
          <cx:pt idx="2421">49</cx:pt>
          <cx:pt idx="2422">51</cx:pt>
          <cx:pt idx="2423">53</cx:pt>
          <cx:pt idx="2424">50</cx:pt>
          <cx:pt idx="2425">45</cx:pt>
          <cx:pt idx="2426">46</cx:pt>
          <cx:pt idx="2427">50</cx:pt>
          <cx:pt idx="2428">52</cx:pt>
          <cx:pt idx="2429">47</cx:pt>
          <cx:pt idx="2430">53</cx:pt>
          <cx:pt idx="2431">53</cx:pt>
          <cx:pt idx="2432">54</cx:pt>
          <cx:pt idx="2433">55</cx:pt>
          <cx:pt idx="2434">49</cx:pt>
          <cx:pt idx="2435">46</cx:pt>
          <cx:pt idx="2436">46</cx:pt>
          <cx:pt idx="2437">47</cx:pt>
          <cx:pt idx="2438">45</cx:pt>
          <cx:pt idx="2439">50</cx:pt>
          <cx:pt idx="2440">47</cx:pt>
          <cx:pt idx="2441">51</cx:pt>
          <cx:pt idx="2442">45</cx:pt>
          <cx:pt idx="2443">45</cx:pt>
          <cx:pt idx="2444">51</cx:pt>
          <cx:pt idx="2445">47</cx:pt>
          <cx:pt idx="2446">49</cx:pt>
          <cx:pt idx="2447">46</cx:pt>
          <cx:pt idx="2448">48</cx:pt>
          <cx:pt idx="2449">48</cx:pt>
          <cx:pt idx="2450">51</cx:pt>
          <cx:pt idx="2451">49</cx:pt>
        </cx:lvl>
      </cx:numDim>
    </cx:data>
    <cx:data id="5">
      <cx:numDim type="val">
        <cx:f>'Data Repository Table - Raw'!$H$2:$H$2453</cx:f>
        <cx:lvl ptCount="2452" formatCode="0.00">
          <cx:pt idx="0">3.8625285605483626</cx:pt>
          <cx:pt idx="1">3.7136329017517138</cx:pt>
          <cx:pt idx="2">3.153084539223153</cx:pt>
          <cx:pt idx="3">3.0026656511805028</cx:pt>
          <cx:pt idx="4">3.3415841584158414</cx:pt>
          <cx:pt idx="5">3.853769992383854</cx:pt>
          <cx:pt idx="6">3.4550647372429553</cx:pt>
          <cx:pt idx="7">3.6572734196496572</cx:pt>
          <cx:pt idx="8">3.222772277227723</cx:pt>
          <cx:pt idx="9">2.9868621477532367</cx:pt>
          <cx:pt idx="10">3.3177837014470679</cx:pt>
          <cx:pt idx="11">3.1850723533891849</cx:pt>
          <cx:pt idx="12">3.3313023610053314</cx:pt>
          <cx:pt idx="13">3.1500380807311501</cx:pt>
          <cx:pt idx="14">3.392993145468393</cx:pt>
          <cx:pt idx="15">3.0830159939070829</cx:pt>
          <cx:pt idx="16">3.4272658035034271</cx:pt>
          <cx:pt idx="17">3.3073115003808073</cx:pt>
          <cx:pt idx="18">3.0148514851485149</cx:pt>
          <cx:pt idx="19">3.0500761614623002</cx:pt>
          <cx:pt idx="20">3.8118811881188117</cx:pt>
          <cx:pt idx="21">3.8071210967250573</cx:pt>
          <cx:pt idx="22">3.6694592536176693</cx:pt>
          <cx:pt idx="23">3.2162985529322161</cx:pt>
          <cx:pt idx="24">4.0078065498857578</cx:pt>
          <cx:pt idx="25">3.0342726580350341</cx:pt>
          <cx:pt idx="26">3.8252094440213251</cx:pt>
          <cx:pt idx="27">3.3412033511043413</cx:pt>
          <cx:pt idx="28">3.9339299314546841</cx:pt>
          <cx:pt idx="29">3.6961157654226962</cx:pt>
          <cx:pt idx="30">3.6384234577303882</cx:pt>
          <cx:pt idx="31">3.362147753236862</cx:pt>
          <cx:pt idx="32">3.5276085300837776</cx:pt>
          <cx:pt idx="33">3.3463442498095963</cx:pt>
          <cx:pt idx="34">2.9457349581111956</cx:pt>
          <cx:pt idx="35">3.3244478293983244</cx:pt>
          <cx:pt idx="36">3.511805026656512</cx:pt>
          <cx:pt idx="37">3.0388423457730389</cx:pt>
          <cx:pt idx="38">2.8223533891850723</cx:pt>
          <cx:pt idx="39">2.914889565879665</cx:pt>
          <cx:pt idx="40">3.7111576542269611</cx:pt>
          <cx:pt idx="41">3.0691165270373193</cx:pt>
          <cx:pt idx="42">3.5415079969535417</cx:pt>
          <cx:pt idx="43">3.700875856816451</cx:pt>
          <cx:pt idx="44">3.5616907844630616</cx:pt>
          <cx:pt idx="45">3.7599009900990099</cx:pt>
          <cx:pt idx="46">3.4364051789794363</cx:pt>
          <cx:pt idx="47">3.6740289413556741</cx:pt>
          <cx:pt idx="48">3.3175932977913174</cx:pt>
          <cx:pt idx="49">2.9457349581111956</cx:pt>
          <cx:pt idx="50">2.8377760853008378</cx:pt>
          <cx:pt idx="51">3.4683929931454682</cx:pt>
          <cx:pt idx="52">3.3240670220868243</cx:pt>
          <cx:pt idx="53">3.3412033511043413</cx:pt>
          <cx:pt idx="54">3.0750190403655751</cx:pt>
          <cx:pt idx="55">3.2079207920792081</cx:pt>
          <cx:pt idx="56">3.3960396039603959</cx:pt>
          <cx:pt idx="57">3.2901751713632903</cx:pt>
          <cx:pt idx="58">3.1603198781416602</cx:pt>
          <cx:pt idx="59">3.1835491241431835</cx:pt>
          <cx:pt idx="60">3.5769230769230771</cx:pt>
          <cx:pt idx="61">2.8994668697638994</cx:pt>
          <cx:pt idx="62">3.3240670220868243</cx:pt>
          <cx:pt idx="63">3.5689261233815688</cx:pt>
          <cx:pt idx="64">3.5034272658035035</cx:pt>
          <cx:pt idx="65">3.2444782939832444</cx:pt>
          <cx:pt idx="66">3.1165270373191167</cx:pt>
          <cx:pt idx="67">3.1639375476009137</cx:pt>
          <cx:pt idx="68">3.4548743335872047</cx:pt>
          <cx:pt idx="69">2.926884996191927</cx:pt>
          <cx:pt idx="70">3.4310738766184312</cx:pt>
          <cx:pt idx="71">3.1765041888804264</cx:pt>
          <cx:pt idx="72">2.977913175932978</cx:pt>
          <cx:pt idx="73">3.3004569687738003</cx:pt>
          <cx:pt idx="74">3.5281797410510283</cx:pt>
          <cx:pt idx="75">3.2574257425742572</cx:pt>
          <cx:pt idx="76">3.2787509520182789</cx:pt>
          <cx:pt idx="77">2.977913175932978</cx:pt>
          <cx:pt idx="78">3.8166412795125666</cx:pt>
          <cx:pt idx="79">3.3004569687738003</cx:pt>
          <cx:pt idx="80">3.853769992383854</cx:pt>
          <cx:pt idx="81">3.789032749428789</cx:pt>
          <cx:pt idx="82">3.086824067022087</cx:pt>
          <cx:pt idx="83">3.1165270373191167</cx:pt>
          <cx:pt idx="84">3.9154607768469156</cx:pt>
          <cx:pt idx="85">3.2505712109672507</cx:pt>
          <cx:pt idx="86">3.3998476770754</cx:pt>
          <cx:pt idx="87">3.4786747905559787</cx:pt>
          <cx:pt idx="88">3.4722010662604723</cx:pt>
          <cx:pt idx="89">3.3815689261233817</cx:pt>
          <cx:pt idx="90">3.3343488194973343</cx:pt>
          <cx:pt idx="91">3.8779512566641281</cx:pt>
          <cx:pt idx="92">3.6772658035034271</cx:pt>
          <cx:pt idx="93">3.777227722772277</cx:pt>
          <cx:pt idx="94">3.3825209444021325</cx:pt>
          <cx:pt idx="95">3.2530464584920029</cx:pt>
          <cx:pt idx="96">3.1507996953541508</cx:pt>
          <cx:pt idx="97">3.6785986290936785</cx:pt>
          <cx:pt idx="98">3.700875856816451</cx:pt>
          <cx:pt idx="99">3.2044935262757046</cx:pt>
          <cx:pt idx="100">3.9339299314546841</cx:pt>
          <cx:pt idx="101">3.7128712871287131</cx:pt>
          <cx:pt idx="102">3.4722010662604723</cx:pt>
          <cx:pt idx="103">3.6300456968773802</cx:pt>
          <cx:pt idx="104">3.4135567402894136</cx:pt>
          <cx:pt idx="105">3.2050647372429553</cx:pt>
          <cx:pt idx="106">3.3450114242193449</cx:pt>
          <cx:pt idx="107">3.4529702970297032</cx:pt>
          <cx:pt idx="108">3.1473724295506473</cx:pt>
          <cx:pt idx="109">3.5521706016755523</cx:pt>
          <cx:pt idx="110">3.823115003808073</cx:pt>
          <cx:pt idx="111">3.4333587204874334</cx:pt>
          <cx:pt idx="112">3.6942117288651941</cx:pt>
          <cx:pt idx="113">3.8889946686976389</cx:pt>
          <cx:pt idx="114">3.4226961157654228</cx:pt>
          <cx:pt idx="115">3.527227722772277</cx:pt>
          <cx:pt idx="116">3.4036557501904037</cx:pt>
          <cx:pt idx="117">3.4683929931454682</cx:pt>
          <cx:pt idx="118">3.9613480578827112</cx:pt>
          <cx:pt idx="119">3.7185833968012187</cx:pt>
          <cx:pt idx="120">3.671934501142422</cx:pt>
          <cx:pt idx="121">3.1873571972581876</cx:pt>
          <cx:pt idx="122">2.9977151561309978</cx:pt>
          <cx:pt idx="123">3.3775704493526275</cx:pt>
          <cx:pt idx="124">3.0997715156130998</cx:pt>
          <cx:pt idx="125">3.0999619192688499</cx:pt>
          <cx:pt idx="126">3.3552932216298554</cx:pt>
          <cx:pt idx="127">3.5384615384615383</cx:pt>
          <cx:pt idx="128">3.4543031226199541</cx:pt>
          <cx:pt idx="129">3.6191926884996191</cx:pt>
          <cx:pt idx="130">3.2627570449352628</cx:pt>
          <cx:pt idx="131">2.9855293221629857</cx:pt>
          <cx:pt idx="132">3.8122619954303123</cx:pt>
          <cx:pt idx="133">3.0228484386900227</cx:pt>
          <cx:pt idx="134">3.3244478293983244</cx:pt>
          <cx:pt idx="135">3.6329017517136331</cx:pt>
          <cx:pt idx="136">3.5346534653465347</cx:pt>
          <cx:pt idx="137">3.4192688499619193</cx:pt>
          <cx:pt idx="138">3.4158415841584158</cx:pt>
          <cx:pt idx="139">3.6386138613861387</cx:pt>
          <cx:pt idx="140">3.4386900228484385</cx:pt>
          <cx:pt idx="141">3.392993145468393</cx:pt>
          <cx:pt idx="142">3.2050647372429553</cx:pt>
          <cx:pt idx="143">3.8602437166793604</cx:pt>
          <cx:pt idx="144">3.0672124904798173</cx:pt>
          <cx:pt idx="145">3.6772658035034271</cx:pt>
          <cx:pt idx="146">2.9236481340441736</cx:pt>
          <cx:pt idx="147">3.4333587204874334</cx:pt>
          <cx:pt idx="148">3.2696115765422697</cx:pt>
          <cx:pt idx="149">3.2216298552932217</cx:pt>
          <cx:pt idx="150">3.3501523229246</cx:pt>
          <cx:pt idx="151">3.4101294744859101</cx:pt>
          <cx:pt idx="152">3.2044935262757046</cx:pt>
          <cx:pt idx="153">3.0645468392993145</cx:pt>
          <cx:pt idx="154">3.3177837014470679</cx:pt>
          <cx:pt idx="155">3.6905940594059405</cx:pt>
          <cx:pt idx="156">3.5643564356435644</cx:pt>
          <cx:pt idx="157">4.0936785986290936</cx:pt>
          <cx:pt idx="158">3.1694592536176693</cx:pt>
          <cx:pt idx="159">3.5643564356435644</cx:pt>
          <cx:pt idx="160">3.9154607768469156</cx:pt>
          <cx:pt idx="161">3.460967250571211</cx:pt>
          <cx:pt idx="162">3.578065498857578</cx:pt>
          <cx:pt idx="163">3.6009139375476007</cx:pt>
          <cx:pt idx="164">3.4714394516374716</cx:pt>
          <cx:pt idx="165">3.2692307692307692</cx:pt>
          <cx:pt idx="166">3.2875095201827875</cx:pt>
          <cx:pt idx="167">2.9093678598629094</cx:pt>
          <cx:pt idx="168">3.8301599390708301</cx:pt>
          <cx:pt idx="169">3.5586443259710587</cx:pt>
          <cx:pt idx="170">3.0620715917745622</cx:pt>
          <cx:pt idx="171">3.9299314546839299</cx:pt>
          <cx:pt idx="172">2.9550647372429553</cx:pt>
          <cx:pt idx="173">2.8884234577303882</cx:pt>
          <cx:pt idx="174">3.7471439451637472</cx:pt>
          <cx:pt idx="175">3.2530464584920029</cx:pt>
          <cx:pt idx="176">3.5860624523990863</cx:pt>
          <cx:pt idx="177">3.3383472962680885</cx:pt>
          <cx:pt idx="178">3.2397182025894895</cx:pt>
          <cx:pt idx="179">3.153084539223153</cx:pt>
          <cx:pt idx="180">3.6435643564356437</cx:pt>
          <cx:pt idx="181">3.4061309977151559</cx:pt>
          <cx:pt idx="182">4.033891850723534</cx:pt>
          <cx:pt idx="183">3.7132520944402132</cx:pt>
          <cx:pt idx="184">3.4444021325209442</cx:pt>
          <cx:pt idx="185">3.3427265803503428</cx:pt>
          <cx:pt idx="186">3.7699923838537699</cx:pt>
          <cx:pt idx="187">3.4520182787509519</cx:pt>
          <cx:pt idx="188">3.5277989337395277</cx:pt>
          <cx:pt idx="189">3.6329017517136331</cx:pt>
          <cx:pt idx="190">3.5300837776085299</cx:pt>
          <cx:pt idx="191">3.3054074638233053</cx:pt>
          <cx:pt idx="192">3.3175932977913174</cx:pt>
          <cx:pt idx="193">3.5460776846915461</cx:pt>
          <cx:pt idx="194">3.3244478293983244</cx:pt>
          <cx:pt idx="195">3.1873571972581876</cx:pt>
          <cx:pt idx="196">3.1924980959634426</cx:pt>
          <cx:pt idx="197">3.925171363290175</cx:pt>
          <cx:pt idx="198">3.222772277227723</cx:pt>
          <cx:pt idx="199">3.136138613861386</cx:pt>
          <cx:pt idx="200">3.5519801980198018</cx:pt>
          <cx:pt idx="201">3.9432597105864433</cx:pt>
          <cx:pt idx="202">2.914889565879665</cx:pt>
          <cx:pt idx="203">3.5276085300837776</cx:pt>
          <cx:pt idx="204">3.8019801980198018</cx:pt>
          <cx:pt idx="205">3.4786747905559787</cx:pt>
          <cx:pt idx="206">3.0672124904798173</cx:pt>
          <cx:pt idx="207">3.414889565879665</cx:pt>
          <cx:pt idx="208">3.7717060167555219</cx:pt>
          <cx:pt idx="209">3.1559405940594059</cx:pt>
          <cx:pt idx="210">3.3206397562833208</cx:pt>
          <cx:pt idx="211">3.4226961157654228</cx:pt>
          <cx:pt idx="212">2.8789032749428789</cx:pt>
          <cx:pt idx="213">3.1835491241431835</cx:pt>
          <cx:pt idx="214">2.8446306169078448</cx:pt>
          <cx:pt idx="215">3.3467250571210969</cx:pt>
          <cx:pt idx="216">3.3099771515613101</cx:pt>
          <cx:pt idx="217">3.2871287128712869</cx:pt>
          <cx:pt idx="218">3.3501523229246</cx:pt>
          <cx:pt idx="219">3.4272658035034271</cx:pt>
          <cx:pt idx="220">3.9196496572734199</cx:pt>
          <cx:pt idx="221">3.2292460015232294</cx:pt>
          <cx:pt idx="222">3.153084539223153</cx:pt>
          <cx:pt idx="223">2.8259710586443259</cx:pt>
          <cx:pt idx="224">3.4878141660319879</cx:pt>
          <cx:pt idx="225">3.1873571972581876</cx:pt>
          <cx:pt idx="226">3.4367859862909369</cx:pt>
          <cx:pt idx="227">2.7418126428027416</cx:pt>
          <cx:pt idx="228">3.955826351865956</cx:pt>
          <cx:pt idx="229">2.9638233054074639</cx:pt>
          <cx:pt idx="230">3.671934501142422</cx:pt>
          <cx:pt idx="231">3.7943640517897945</cx:pt>
          <cx:pt idx="232">3.8779512566641281</cx:pt>
          <cx:pt idx="233">3.5826351865955828</cx:pt>
          <cx:pt idx="234">3.2581873571972584</cx:pt>
          <cx:pt idx="235">3.1827875095201827</cx:pt>
          <cx:pt idx="236">3.4866717440974866</cx:pt>
          <cx:pt idx="237">3.4910510281797409</cx:pt>
          <cx:pt idx="238">3.6012947448591013</cx:pt>
          <cx:pt idx="239">3.3461538461538463</cx:pt>
          <cx:pt idx="240">2.926884996191927</cx:pt>
          <cx:pt idx="241">3.3008377760853009</cx:pt>
          <cx:pt idx="242">3.9375476009139376</cx:pt>
          <cx:pt idx="243">4.1370906321401373</cx:pt>
          <cx:pt idx="244">4.3731911652703728</cx:pt>
          <cx:pt idx="245">4.3960396039603964</cx:pt>
          <cx:pt idx="246">4.5833968012185835</cx:pt>
          <cx:pt idx="247">4.523990860624524</cx:pt>
          <cx:pt idx="248">4.7067783701447068</cx:pt>
          <cx:pt idx="249">4.4325971058644322</cx:pt>
          <cx:pt idx="250">4.3290175171363288</cx:pt>
          <cx:pt idx="251">4.3476770753998473</cx:pt>
          <cx:pt idx="252">4.1924980959634421</cx:pt>
          <cx:pt idx="253">4.5316070068545313</cx:pt>
          <cx:pt idx="254">4.2269611576542268</cx:pt>
          <cx:pt idx="255">4.4364051789794363</cx:pt>
          <cx:pt idx="256">4.4036557501904037</cx:pt>
          <cx:pt idx="257">4.1610814927646613</cx:pt>
          <cx:pt idx="258">4.5251332825590254</cx:pt>
          <cx:pt idx="259">4.2789413556740286</cx:pt>
          <cx:pt idx="260">4.4036557501904037</cx:pt>
          <cx:pt idx="261">4.5639756283320638</cx:pt>
          <cx:pt idx="262">4.0944402132520947</cx:pt>
          <cx:pt idx="263">4.2726580350342722</cx:pt>
          <cx:pt idx="264">4.2507616146230012</cx:pt>
          <cx:pt idx="265">4.3341584158415838</cx:pt>
          <cx:pt idx="266">4.2079207920792081</cx:pt>
          <cx:pt idx="267">4.622239146991622</cx:pt>
          <cx:pt idx="268">4.3792840822543795</cx:pt>
          <cx:pt idx="269">4.1060548362528557</cx:pt>
          <cx:pt idx="270">4.2920792079207919</cx:pt>
          <cx:pt idx="271">4.3231150038080735</cx:pt>
          <cx:pt idx="272">4.7128712871287126</cx:pt>
          <cx:pt idx="273">4.5982482863670979</cx:pt>
          <cx:pt idx="274">4.5182787509520184</cx:pt>
          <cx:pt idx="275">4.1237623762376234</cx:pt>
          <cx:pt idx="276">4.057882711348058</cx:pt>
          <cx:pt idx="277">4.2223914699162224</cx:pt>
          <cx:pt idx="278">4.4782939832444786</cx:pt>
          <cx:pt idx="279">4.204112718964204</cx:pt>
          <cx:pt idx="280">4.2460015232292463</cx:pt>
          <cx:pt idx="281">4.25</cx:pt>
          <cx:pt idx="282">4.1001523229246004</cx:pt>
          <cx:pt idx="283">4.3920411271896418</cx:pt>
          <cx:pt idx="284">4.3115003808073116</cx:pt>
          <cx:pt idx="285">4.2507616146230012</cx:pt>
          <cx:pt idx="286">4.3033130236100536</cx:pt>
          <cx:pt idx="287">3.3722391469916224</cx:pt>
          <cx:pt idx="288">3.3722391469916224</cx:pt>
          <cx:pt idx="289">3.2713252094440213</cx:pt>
          <cx:pt idx="290">3.6862147753236862</cx:pt>
          <cx:pt idx="291">3.2730388423457732</cx:pt>
          <cx:pt idx="292">3.4352627570449354</cx:pt>
          <cx:pt idx="293">3.4386900228484385</cx:pt>
          <cx:pt idx="294">3.3511043412033512</cx:pt>
          <cx:pt idx="295">3.9154607768469156</cx:pt>
          <cx:pt idx="296">3.7281035795887281</cx:pt>
          <cx:pt idx="297">3.3747143945163747</cx:pt>
          <cx:pt idx="298">3.2854150799695354</cx:pt>
          <cx:pt idx="299">3.5173267326732671</cx:pt>
          <cx:pt idx="300">3.2368621477532367</cx:pt>
          <cx:pt idx="301">3.7985529322162987</cx:pt>
          <cx:pt idx="302">3.1188118811881189</cx:pt>
          <cx:pt idx="303">3.4348819497334349</cx:pt>
          <cx:pt idx="304">3.4550647372429553</cx:pt>
          <cx:pt idx="305">3.5346534653465347</cx:pt>
          <cx:pt idx="306">3.4952399086062451</cx:pt>
          <cx:pt idx="307">3.635948210205636</cx:pt>
          <cx:pt idx="308">3.4653465346534653</cx:pt>
          <cx:pt idx="309">3.5300837776085299</cx:pt>
          <cx:pt idx="310">3.777227722772277</cx:pt>
          <cx:pt idx="311">3.0502665651180503</cx:pt>
          <cx:pt idx="312">3.2574257425742572</cx:pt>
          <cx:pt idx="313">3.7486671744097486</cx:pt>
          <cx:pt idx="314">3.6094821020563597</cx:pt>
          <cx:pt idx="315">3.9893373952779894</cx:pt>
          <cx:pt idx="316">2.9246001523229248</cx:pt>
          <cx:pt idx="317">4.0078065498857578</cx:pt>
          <cx:pt idx="318">3.5095201827875093</cx:pt>
          <cx:pt idx="319">3.5026656511805028</cx:pt>
          <cx:pt idx="320">3.4386900228484385</cx:pt>
          <cx:pt idx="321">3.1332825590251332</cx:pt>
          <cx:pt idx="322">3.5645468392993145</cx:pt>
          <cx:pt idx="323">3.5437928408225439</cx:pt>
          <cx:pt idx="324">3.8347296268088349</cx:pt>
          <cx:pt idx="325">3.0841584158415842</cx:pt>
          <cx:pt idx="326">3.1519421172886521</cx:pt>
          <cx:pt idx="327">3.2559025133282558</cx:pt>
          <cx:pt idx="328">3.3073115003808073</cx:pt>
          <cx:pt idx="329">3.9794364051789795</cx:pt>
          <cx:pt idx="330">3.937166793602437</cx:pt>
          <cx:pt idx="331">2.9455445544554455</cx:pt>
          <cx:pt idx="332">3.0228484386900227</cx:pt>
          <cx:pt idx="333">3.1707920792079207</cx:pt>
          <cx:pt idx="334">3.4893373952779894</cx:pt>
          <cx:pt idx="335">3.0502665651180503</cx:pt>
          <cx:pt idx="336">3.0750190403655751</cx:pt>
          <cx:pt idx="337">3.311119573495811</cx:pt>
          <cx:pt idx="338">3.8830921553693831</cx:pt>
          <cx:pt idx="339">3.4146991622239149</cx:pt>
          <cx:pt idx="340">3.4722010662604723</cx:pt>
          <cx:pt idx="341">3.4118431073876621</cx:pt>
          <cx:pt idx="342">3.1805026656511806</cx:pt>
          <cx:pt idx="343">2.8884234577303882</cx:pt>
          <cx:pt idx="344">3.2404798172124907</cx:pt>
          <cx:pt idx="345">4.1092916984006091</cx:pt>
          <cx:pt idx="346">3.3107387661843108</cx:pt>
          <cx:pt idx="347">3.6740289413556741</cx:pt>
          <cx:pt idx="348">3.3998476770754</cx:pt>
          <cx:pt idx="349">3.460967250571211</cx:pt>
          <cx:pt idx="350">3.5060929169840063</cx:pt>
          <cx:pt idx="351">2.8941355674028943</cx:pt>
          <cx:pt idx="352">3.4067022086824066</cx:pt>
          <cx:pt idx="353">3.9223153084539222</cx:pt>
          <cx:pt idx="354">3.6111957349581112</cx:pt>
          <cx:pt idx="355">3.0500761614623002</cx:pt>
          <cx:pt idx="356">3.5026656511805028</cx:pt>
          <cx:pt idx="357">3.3054074638233053</cx:pt>
          <cx:pt idx="358">3.5281797410510283</cx:pt>
          <cx:pt idx="359">3.9773419649657273</cx:pt>
          <cx:pt idx="360">3.6386138613861387</cx:pt>
          <cx:pt idx="361">3.2787509520182789</cx:pt>
          <cx:pt idx="362">3.2301980198019802</cx:pt>
          <cx:pt idx="363">2.9246001523229248</cx:pt>
          <cx:pt idx="364">3.2574257425742572</cx:pt>
          <cx:pt idx="365">3.5224676313785226</cx:pt>
          <cx:pt idx="366">3.8568164508758569</cx:pt>
          <cx:pt idx="367">3.4520182787509519</cx:pt>
          <cx:pt idx="368">3.2692307692307692</cx:pt>
          <cx:pt idx="369">3.9207920792079207</cx:pt>
          <cx:pt idx="370">3.722772277227723</cx:pt>
          <cx:pt idx="371">3.7511424219345013</cx:pt>
          <cx:pt idx="372">3.8012185833968011</cx:pt>
          <cx:pt idx="373">3.1011043412033512</cx:pt>
          <cx:pt idx="374">3.5592155369383094</cx:pt>
          <cx:pt idx="375">3.135948210205636</cx:pt>
          <cx:pt idx="376">3.3177837014470679</cx:pt>
          <cx:pt idx="377">2.7418126428027416</cx:pt>
          <cx:pt idx="378">2.9817212490479816</cx:pt>
          <cx:pt idx="379">3.0948210205635949</cx:pt>
          <cx:pt idx="380">4.033891850723534</cx:pt>
          <cx:pt idx="381">3.7307692307692308</cx:pt>
          <cx:pt idx="382">3.4333587204874334</cx:pt>
          <cx:pt idx="383">3.5995811119573498</cx:pt>
          <cx:pt idx="384">2.9588728103579589</cx:pt>
          <cx:pt idx="385">3.3819497334348818</cx:pt>
          <cx:pt idx="386">3.6772658035034271</cx:pt>
          <cx:pt idx="387">2.9977151561309978</cx:pt>
          <cx:pt idx="388">2.8994668697638994</cx:pt>
          <cx:pt idx="389">3.7357197258187358</cx:pt>
          <cx:pt idx="390">3.3044554455445545</cx:pt>
          <cx:pt idx="391">3.3206397562833208</cx:pt>
          <cx:pt idx="392">2.8027418126428025</cx:pt>
          <cx:pt idx="393">3.2081111957349582</cx:pt>
          <cx:pt idx="394">2.857197258187357</cx:pt>
          <cx:pt idx="395">3.3383472962680885</cx:pt>
          <cx:pt idx="396">3.4653465346534653</cx:pt>
          <cx:pt idx="397">3.8889946686976389</cx:pt>
          <cx:pt idx="398">3.722772277227723</cx:pt>
          <cx:pt idx="399">4.1888804265041886</cx:pt>
          <cx:pt idx="400">3.3722391469916224</cx:pt>
          <cx:pt idx="401">3.2673267326732671</cx:pt>
          <cx:pt idx="402">3.6443259710586444</cx:pt>
          <cx:pt idx="403">3.153084539223153</cx:pt>
          <cx:pt idx="404">4.1507996953541504</cx:pt>
          <cx:pt idx="405">3.2597105864432598</cx:pt>
          <cx:pt idx="406">2.9855293221629857</cx:pt>
          <cx:pt idx="407">3.2850342726580348</cx:pt>
          <cx:pt idx="408">3.2258187357197259</cx:pt>
          <cx:pt idx="409">3.4543031226199541</cx:pt>
          <cx:pt idx="410">3.5814927646610815</cx:pt>
          <cx:pt idx="411">3.7692307692307692</cx:pt>
          <cx:pt idx="412">3.392993145468393</cx:pt>
          <cx:pt idx="413">3.0784463061690786</cx:pt>
          <cx:pt idx="414">4.1469916222391472</cx:pt>
          <cx:pt idx="415">3.5533130236100532</cx:pt>
          <cx:pt idx="416">3.2444782939832444</cx:pt>
          <cx:pt idx="417">3.2233434881949732</cx:pt>
          <cx:pt idx="418">3.3747143945163747</cx:pt>
          <cx:pt idx="419">3.7692307692307692</cx:pt>
          <cx:pt idx="420">2.9398324447829398</cx:pt>
          <cx:pt idx="421">3.3467250571210969</cx:pt>
          <cx:pt idx="422">3.5605483625285603</cx:pt>
          <cx:pt idx="423">3.5415079969535417</cx:pt>
          <cx:pt idx="424">3.7319116527037317</cx:pt>
          <cx:pt idx="425">3.6557501904036558</cx:pt>
          <cx:pt idx="426">3.8659558263518661</cx:pt>
          <cx:pt idx="427">3.578065498857578</cx:pt>
          <cx:pt idx="428">3.8065498857578066</cx:pt>
          <cx:pt idx="429">2.8762376237623761</cx:pt>
          <cx:pt idx="430">3.4013709063214015</cx:pt>
          <cx:pt idx="431">3.1439451637471438</cx:pt>
          <cx:pt idx="432">3.3295887281035794</cx:pt>
          <cx:pt idx="433">3.4186976389946686</cx:pt>
          <cx:pt idx="434">3.1827875095201827</cx:pt>
          <cx:pt idx="435">3.7281035795887281</cx:pt>
          <cx:pt idx="436">3.8568164508758569</cx:pt>
          <cx:pt idx="437">3.6191926884996191</cx:pt>
          <cx:pt idx="438">3.8889946686976389</cx:pt>
          <cx:pt idx="439">3.3511043412033512</cx:pt>
          <cx:pt idx="440">3.3587204874333589</cx:pt>
          <cx:pt idx="441">3.1616527037319115</cx:pt>
          <cx:pt idx="442">3.8012185833968011</cx:pt>
          <cx:pt idx="443">3.2387661843107387</cx:pt>
          <cx:pt idx="444">4.0632140137090635</cx:pt>
          <cx:pt idx="445">3.2530464584920029</cx:pt>
          <cx:pt idx="446">3.6759329779131757</cx:pt>
          <cx:pt idx="447">2.9108910891089108</cx:pt>
          <cx:pt idx="448">3.6538461538461537</cx:pt>
          <cx:pt idx="449">3.2444782939832444</cx:pt>
          <cx:pt idx="450">3.0382711348057883</cx:pt>
          <cx:pt idx="451">3.8122619954303123</cx:pt>
          <cx:pt idx="452">2.9908606245239908</cx:pt>
          <cx:pt idx="453">2.977913175932978</cx:pt>
          <cx:pt idx="454">3.1500380807311501</cx:pt>
          <cx:pt idx="455">2.9246001523229248</cx:pt>
          <cx:pt idx="456">3.3240670220868243</cx:pt>
          <cx:pt idx="457">3.6153846153846154</cx:pt>
          <cx:pt idx="458">3.2301980198019802</cx:pt>
          <cx:pt idx="459">3.789032749428789</cx:pt>
          <cx:pt idx="460">3.3568164508758569</cx:pt>
          <cx:pt idx="461">2.7875095201827875</cx:pt>
          <cx:pt idx="462">3.2597105864432598</cx:pt>
          <cx:pt idx="463">3.8265422696115765</cx:pt>
          <cx:pt idx="464">3.9396420411271897</cx:pt>
          <cx:pt idx="465">3.4352627570449354</cx:pt>
          <cx:pt idx="466">2.9293602437166792</cx:pt>
          <cx:pt idx="467">3.1683168316831685</cx:pt>
          <cx:pt idx="468">3.4683929931454682</cx:pt>
          <cx:pt idx="469">3.3568164508758569</cx:pt>
          <cx:pt idx="470">3.5472201066260474</cx:pt>
          <cx:pt idx="471">3.3960396039603959</cx:pt>
          <cx:pt idx="472">3.2027798933739526</cx:pt>
          <cx:pt idx="473">3.4175552170601677</cx:pt>
          <cx:pt idx="474">3.107006854531607</cx:pt>
          <cx:pt idx="475">2.8941355674028943</cx:pt>
          <cx:pt idx="476">3.8012185833968011</cx:pt>
          <cx:pt idx="477">3.3503427265803505</cx:pt>
          <cx:pt idx="478">3.8122619954303123</cx:pt>
          <cx:pt idx="479">3.3958492003046459</cx:pt>
          <cx:pt idx="480">4.1317593297791317</cx:pt>
          <cx:pt idx="481">3.1987814166031989</cx:pt>
          <cx:pt idx="482">3.2319116527037317</cx:pt>
          <cx:pt idx="483">2.857197258187357</cx:pt>
          <cx:pt idx="484">4.1469916222391472</cx:pt>
          <cx:pt idx="485">3.4843869002284844</cx:pt>
          <cx:pt idx="486">3.8779512566641281</cx:pt>
          <cx:pt idx="487">3.6759329779131757</cx:pt>
          <cx:pt idx="488">3.0148514851485149</cx:pt>
          <cx:pt idx="489">3.4272658035034271</cx:pt>
          <cx:pt idx="490">3.3206397562833208</cx:pt>
          <cx:pt idx="491">3.1226199543031226</cx:pt>
          <cx:pt idx="492">2.7722772277227721</cx:pt>
          <cx:pt idx="493">3.4958111195734958</cx:pt>
          <cx:pt idx="494">3.3404417364813406</cx:pt>
          <cx:pt idx="495">3.6014851485148514</cx:pt>
          <cx:pt idx="496">3.2136329017517138</cx:pt>
          <cx:pt idx="497">3.6199543031226198</cx:pt>
          <cx:pt idx="498">2.8686214775323684</cx:pt>
          <cx:pt idx="499">2.9801980198019802</cx:pt>
          <cx:pt idx="500">3.6500380807311501</cx:pt>
          <cx:pt idx="501">3.0658796648895659</cx:pt>
          <cx:pt idx="502">4.0213252094440213</cx:pt>
          <cx:pt idx="503">3.993145468392993</cx:pt>
          <cx:pt idx="504">3.5460776846915461</cx:pt>
          <cx:pt idx="505">3.2044935262757046</cx:pt>
          <cx:pt idx="506">3.1707920792079207</cx:pt>
          <cx:pt idx="507">3.7511424219345013</cx:pt>
          <cx:pt idx="508">3.2692307692307692</cx:pt>
          <cx:pt idx="509">3.824828636709825</cx:pt>
          <cx:pt idx="510">3.2559025133282558</cx:pt>
          <cx:pt idx="511">3.2749428789032748</cx:pt>
          <cx:pt idx="512">3.7281035795887281</cx:pt>
          <cx:pt idx="513">3.6945925361766947</cx:pt>
          <cx:pt idx="514">3.3587204874333589</cx:pt>
          <cx:pt idx="515">3.8568164508758569</cx:pt>
          <cx:pt idx="516">3.7717060167555219</cx:pt>
          <cx:pt idx="517">3.3983244478293981</cx:pt>
          <cx:pt idx="518">3.4386900228484385</cx:pt>
          <cx:pt idx="519">3.8071210967250573</cx:pt>
          <cx:pt idx="520">3.789032749428789</cx:pt>
          <cx:pt idx="521">3.3440594059405941</cx:pt>
          <cx:pt idx="522">3.7111576542269611</cx:pt>
          <cx:pt idx="523">3.2530464584920029</cx:pt>
          <cx:pt idx="524">3.8779512566641281</cx:pt>
          <cx:pt idx="525">3.1165270373191167</cx:pt>
          <cx:pt idx="526">3.2631378522467633</cx:pt>
          <cx:pt idx="527">3.4786747905559787</cx:pt>
          <cx:pt idx="528">3.726199543031226</cx:pt>
          <cx:pt idx="529">3.0708301599390708</cx:pt>
          <cx:pt idx="530">3.0548362528560546</cx:pt>
          <cx:pt idx="531">3.9794364051789795</cx:pt>
          <cx:pt idx="532">3.3648134044173648</cx:pt>
          <cx:pt idx="533">3.3457730388423457</cx:pt>
          <cx:pt idx="534">3.9984767707539985</cx:pt>
          <cx:pt idx="535">3.1132901751713633</cx:pt>
          <cx:pt idx="536">3.7128712871287131</cx:pt>
          <cx:pt idx="537">3.7511424219345013</cx:pt>
          <cx:pt idx="538">3.4006092916984008</cx:pt>
          <cx:pt idx="539">4.0213252094440213</cx:pt>
          <cx:pt idx="540">3.6277608530083776</cx:pt>
          <cx:pt idx="541">3.1308073115003809</cx:pt>
          <cx:pt idx="542">3.4706778370144709</cx:pt>
          <cx:pt idx="543">3.9299314546839299</cx:pt>
          <cx:pt idx="544">3.8347296268088349</cx:pt>
          <cx:pt idx="545">3.5693069306930694</cx:pt>
          <cx:pt idx="546">3.1016755521706019</cx:pt>
          <cx:pt idx="547">2.9108910891089108</cx:pt>
          <cx:pt idx="548">3.0913937547600914</cx:pt>
          <cx:pt idx="549">3.0811119573495813</cx:pt>
          <cx:pt idx="550">3.4906702208682407</cx:pt>
          <cx:pt idx="551">2.9078446306169079</cx:pt>
          <cx:pt idx="552">3.8651942117288653</cx:pt>
          <cx:pt idx="553">3.9847677075399845</cx:pt>
          <cx:pt idx="554">3.2850342726580348</cx:pt>
          <cx:pt idx="555">3.4067022086824066</cx:pt>
          <cx:pt idx="556">3.5995811119573498</cx:pt>
          <cx:pt idx="557">3.6014851485148514</cx:pt>
          <cx:pt idx="558">3.7861766945925361</cx:pt>
          <cx:pt idx="559">3.2747524752475248</cx:pt>
          <cx:pt idx="560">3.3404417364813406</cx:pt>
          <cx:pt idx="561">3.5696877380045695</cx:pt>
          <cx:pt idx="562">3.7511424219345013</cx:pt>
          <cx:pt idx="563">3.0479817212490481</cx:pt>
          <cx:pt idx="564">3.3825209444021325</cx:pt>
          <cx:pt idx="565">3.4569687738004569</cx:pt>
          <cx:pt idx="566">3.8842345773038844</cx:pt>
          <cx:pt idx="567">3.7322924600152323</cx:pt>
          <cx:pt idx="568">3.4851485148514851</cx:pt>
          <cx:pt idx="569">2.8636709824828639</cx:pt>
          <cx:pt idx="570">3.0548362528560546</cx:pt>
          <cx:pt idx="571">3.3792840822543795</cx:pt>
          <cx:pt idx="572">3.511995430312262</cx:pt>
          <cx:pt idx="573">3.6260472201066261</cx:pt>
          <cx:pt idx="574">3.3773800456968774</cx:pt>
          <cx:pt idx="575">3.5769230769230771</cx:pt>
          <cx:pt idx="576">3.1827875095201827</cx:pt>
          <cx:pt idx="577">2.8840441736481339</cx:pt>
          <cx:pt idx="578">3.726199543031226</cx:pt>
          <cx:pt idx="579">3.3819497334348818</cx:pt>
          <cx:pt idx="580">3.0616907844630616</cx:pt>
          <cx:pt idx="581">3.7837014470677839</cx:pt>
          <cx:pt idx="582">3.6212871287128712</cx:pt>
          <cx:pt idx="583">3.0464584920030466</cx:pt>
          <cx:pt idx="584">3.5814927646610815</cx:pt>
          <cx:pt idx="585">3.523800456968774</cx:pt>
          <cx:pt idx="586">2.914889565879665</cx:pt>
          <cx:pt idx="587">3.1702208682406701</cx:pt>
          <cx:pt idx="588">2.9588728103579589</cx:pt>
          <cx:pt idx="589">2.9855293221629857</cx:pt>
          <cx:pt idx="590">3.5449352627570447</cx:pt>
          <cx:pt idx="591">3.6176694592536176</cx:pt>
          <cx:pt idx="592">3.416793602437167</cx:pt>
          <cx:pt idx="593">3.4893373952779894</cx:pt>
          <cx:pt idx="594">3.1930693069306932</cx:pt>
          <cx:pt idx="595">3.5995811119573498</cx:pt>
          <cx:pt idx="596">3.5277989337395277</cx:pt>
          <cx:pt idx="597">3.2003046458492004</cx:pt>
          <cx:pt idx="598">3.4520182787509519</cx:pt>
          <cx:pt idx="599">3.5814927646610815</cx:pt>
          <cx:pt idx="600">3.5946306169078448</cx:pt>
          <cx:pt idx="601">3.0601675552170602</cx:pt>
          <cx:pt idx="602">3.1616527037319115</cx:pt>
          <cx:pt idx="603">3.6557501904036558</cx:pt>
          <cx:pt idx="604">3.7837014470677839</cx:pt>
          <cx:pt idx="605">2.9474485910129475</cx:pt>
          <cx:pt idx="606">3.4516374714394518</cx:pt>
          <cx:pt idx="607">3.4185072353389185</cx:pt>
          <cx:pt idx="608">3.511995430312262</cx:pt>
          <cx:pt idx="609">3.2079207920792081</cx:pt>
          <cx:pt idx="610">3.4293602437166792</cx:pt>
          <cx:pt idx="611">3.0426504188880426</cx:pt>
          <cx:pt idx="612">3.2753236862147754</cx:pt>
          <cx:pt idx="613">3.1308073115003809</cx:pt>
          <cx:pt idx="614">3.6212871287128712</cx:pt>
          <cx:pt idx="615">3.0999619192688499</cx:pt>
          <cx:pt idx="616">3.2901751713632903</cx:pt>
          <cx:pt idx="617">3.3054074638233053</cx:pt>
          <cx:pt idx="618">3.0312261995430312</cx:pt>
          <cx:pt idx="619">3.5986290936785985</cx:pt>
          <cx:pt idx="620">3.8118811881188117</cx:pt>
          <cx:pt idx="621">3.1188118811881189</cx:pt>
          <cx:pt idx="622">3.8651942117288653</cx:pt>
          <cx:pt idx="623">3.511805026656512</cx:pt>
          <cx:pt idx="624">2.8484386900228484</cx:pt>
          <cx:pt idx="625">3.3427265803503428</cx:pt>
          <cx:pt idx="626">3.4223153084539222</cx:pt>
          <cx:pt idx="627">3.1827875095201827</cx:pt>
          <cx:pt idx="628">2.8789032749428789</cx:pt>
          <cx:pt idx="629">3.9375476009139376</cx:pt>
          <cx:pt idx="630">3.4706778370144709</cx:pt>
          <cx:pt idx="631">4.0491241431835494</cx:pt>
          <cx:pt idx="632">4.3033130236100536</cx:pt>
          <cx:pt idx="633">4.3929931454683926</cx:pt>
          <cx:pt idx="634">4.2916984006092918</cx:pt>
          <cx:pt idx="635">4.0337014470677834</cx:pt>
          <cx:pt idx="636">4.4485910129474489</cx:pt>
          <cx:pt idx="637">4.2307692307692308</cx:pt>
          <cx:pt idx="638">4.4036557501904037</cx:pt>
          <cx:pt idx="639">4.4108910891089108</cx:pt>
          <cx:pt idx="640">4.3697638994668697</cx:pt>
          <cx:pt idx="641">4.6782178217821784</cx:pt>
          <cx:pt idx="642">4.2507616146230012</cx:pt>
          <cx:pt idx="643">4.3290175171363288</cx:pt>
          <cx:pt idx="644">4.5302741812642804</cx:pt>
          <cx:pt idx="645">4.06987814166032</cx:pt>
          <cx:pt idx="646">4.178408225437928</cx:pt>
          <cx:pt idx="647">4.06987814166032</cx:pt>
          <cx:pt idx="648">4.3476770753998473</cx:pt>
          <cx:pt idx="649">4.5961538461538458</cx:pt>
          <cx:pt idx="650">4.2460015232292463</cx:pt>
          <cx:pt idx="651">4.204112718964204</cx:pt>
          <cx:pt idx="652">4.2977913175932976</cx:pt>
          <cx:pt idx="653">4.3983244478293981</cx:pt>
          <cx:pt idx="654">4.3663366336633667</cx:pt>
          <cx:pt idx="655">4.673267326732673</cx:pt>
          <cx:pt idx="656">4.5982482863670979</cx:pt>
          <cx:pt idx="657">4.6675552170601673</cx:pt>
          <cx:pt idx="658">4.3341584158415838</cx:pt>
          <cx:pt idx="659">4.4364051789794363</cx:pt>
          <cx:pt idx="660">4.3217821782178216</cx:pt>
          <cx:pt idx="661">4.4038461538461542</cx:pt>
          <cx:pt idx="662">4.1555597867479053</cx:pt>
          <cx:pt idx="663">4.178408225437928</cx:pt>
          <cx:pt idx="664">4.2145849200304646</cx:pt>
          <cx:pt idx="665">4.3341584158415838</cx:pt>
          <cx:pt idx="666">4.4714394516374716</cx:pt>
          <cx:pt idx="667">4.0816831683168315</cx:pt>
          <cx:pt idx="668">4.1051028179741049</cx:pt>
          <cx:pt idx="669">4.2726580350342722</cx:pt>
          <cx:pt idx="670">4.1370906321401373</cx:pt>
          <cx:pt idx="671">4.3217821782178216</cx:pt>
          <cx:pt idx="672">4.4782939832444786</cx:pt>
          <cx:pt idx="673">4.5782559025133285</cx:pt>
          <cx:pt idx="674">4.2357197258187353</cx:pt>
          <cx:pt idx="675">4.3960396039603964</cx:pt>
          <cx:pt idx="676">3.8651942117288653</cx:pt>
          <cx:pt idx="677">3.5277989337395277</cx:pt>
          <cx:pt idx="678">3.6759329779131757</cx:pt>
          <cx:pt idx="679">2.9246001523229248</cx:pt>
          <cx:pt idx="680">3.1142421934501141</cx:pt>
          <cx:pt idx="681">3.2406702208682407</cx:pt>
          <cx:pt idx="682">3.1382330540746382</cx:pt>
          <cx:pt idx="683">2.7418126428027416</cx:pt>
          <cx:pt idx="684">3.5814927646610815</cx:pt>
          <cx:pt idx="685">3.3412033511043413</cx:pt>
          <cx:pt idx="686">3.2559025133282558</cx:pt>
          <cx:pt idx="687">3.0662604722010665</cx:pt>
          <cx:pt idx="688">3.5586443259710587</cx:pt>
          <cx:pt idx="689">3.107006854531607</cx:pt>
          <cx:pt idx="690">3.4451637471439454</cx:pt>
          <cx:pt idx="691">3.7764661081492763</cx:pt>
          <cx:pt idx="692">3.4101294744859101</cx:pt>
          <cx:pt idx="693">3.3415841584158414</cx:pt>
          <cx:pt idx="694">3.8461538461538463</cx:pt>
          <cx:pt idx="695">3.7185833968012187</cx:pt>
          <cx:pt idx="696">3.5472201066260474</cx:pt>
          <cx:pt idx="697">3.925171363290175</cx:pt>
          <cx:pt idx="698">3.0588347296268088</cx:pt>
          <cx:pt idx="699">3.3076923076923075</cx:pt>
          <cx:pt idx="700">3.4958111195734958</cx:pt>
          <cx:pt idx="701">3.8065498857578066</cx:pt>
          <cx:pt idx="702">3.1308073115003809</cx:pt>
          <cx:pt idx="703">3.6433739527798932</cx:pt>
          <cx:pt idx="704">3.0588347296268088</cx:pt>
          <cx:pt idx="705">3.823115003808073</cx:pt>
          <cx:pt idx="706">3.9603960396039604</cx:pt>
          <cx:pt idx="707">3.6690784463061692</cx:pt>
          <cx:pt idx="708">3.726199543031226</cx:pt>
          <cx:pt idx="709">3.4175552170601677</cx:pt>
          <cx:pt idx="710">3.4878141660319879</cx:pt>
          <cx:pt idx="711">3.8385376999238385</cx:pt>
          <cx:pt idx="712">3.166793602437167</cx:pt>
          <cx:pt idx="713">3.8071210967250573</cx:pt>
          <cx:pt idx="714">2.9550647372429553</cx:pt>
          <cx:pt idx="715">2.9617288651942117</cx:pt>
          <cx:pt idx="716">3.7699923838537699</cx:pt>
          <cx:pt idx="717">3.4569687738004569</cx:pt>
          <cx:pt idx="718">3.6176694592536176</cx:pt>
          <cx:pt idx="719">3.3846153846153846</cx:pt>
          <cx:pt idx="720">3.1873571972581876</cx:pt>
          <cx:pt idx="721">3.6094821020563597</cx:pt>
          <cx:pt idx="722">3.5078065498857578</cx:pt>
          <cx:pt idx="723">2.8103579588728103</cx:pt>
          <cx:pt idx="724">3.5346534653465347</cx:pt>
          <cx:pt idx="725">3.5643564356435644</cx:pt>
          <cx:pt idx="726">3.9413556740289413</cx:pt>
          <cx:pt idx="727">3.0948210205635949</cx:pt>
          <cx:pt idx="728">3.671934501142422</cx:pt>
          <cx:pt idx="729">3.993145468392993</cx:pt>
          <cx:pt idx="730">3.0148514851485149</cx:pt>
          <cx:pt idx="731">2.833206397562833</cx:pt>
          <cx:pt idx="732">3.5586443259710587</cx:pt>
          <cx:pt idx="733">3.3404417364813406</cx:pt>
          <cx:pt idx="734">3.0184691546077684</cx:pt>
          <cx:pt idx="735">3.3678598629093677</cx:pt>
          <cx:pt idx="736">3.2696115765422697</cx:pt>
          <cx:pt idx="737">3.346915460776847</cx:pt>
          <cx:pt idx="738">3.4706778370144709</cx:pt>
          <cx:pt idx="739">3.0536938309215538</cx:pt>
          <cx:pt idx="740">3.7492383853769993</cx:pt>
          <cx:pt idx="741">3.3627189642041126</cx:pt>
          <cx:pt idx="742">3.1348057882711347</cx:pt>
          <cx:pt idx="743">3.5519801980198018</cx:pt>
          <cx:pt idx="744">3.392993145468393</cx:pt>
          <cx:pt idx="745">2.971058644325971</cx:pt>
          <cx:pt idx="746">2.9765803503427266</cx:pt>
          <cx:pt idx="747">3.4883853769992386</cx:pt>
          <cx:pt idx="748">2.926884996191927</cx:pt>
          <cx:pt idx="749">2.9352627570449354</cx:pt>
          <cx:pt idx="750">3.1706016755521707</cx:pt>
          <cx:pt idx="751">3.693830921553694</cx:pt>
          <cx:pt idx="752">3.4908606245239908</cx:pt>
          <cx:pt idx="753">3.4958111195734958</cx:pt>
          <cx:pt idx="754">3.6527037319116529</cx:pt>
          <cx:pt idx="755">3.4872429550647372</cx:pt>
          <cx:pt idx="756">3.0148514851485149</cx:pt>
          <cx:pt idx="757">3.0662604722010665</cx:pt>
          <cx:pt idx="758">3.5946306169078448</cx:pt>
          <cx:pt idx="759">3.5266565118050268</cx:pt>
          <cx:pt idx="760">3.6024371667936026</cx:pt>
          <cx:pt idx="761">3.511995430312262</cx:pt>
          <cx:pt idx="762">3.3501523229246</cx:pt>
          <cx:pt idx="763">3.3267326732673266</cx:pt>
          <cx:pt idx="764">3.3747143945163747</cx:pt>
          <cx:pt idx="765">3.2368621477532367</cx:pt>
          <cx:pt idx="766">3.1770753998476771</cx:pt>
          <cx:pt idx="767">3.2574257425742572</cx:pt>
          <cx:pt idx="768">4.052741812642803</cx:pt>
          <cx:pt idx="769">3.166793602437167</cx:pt>
          <cx:pt idx="770">2.9457349581111956</cx:pt>
          <cx:pt idx="771">3.006854531607007</cx:pt>
          <cx:pt idx="772">3.1500380807311501</cx:pt>
          <cx:pt idx="773">3.4520182787509519</cx:pt>
          <cx:pt idx="774">3.1349961919268852</cx:pt>
          <cx:pt idx="775">3.5415079969535417</cx:pt>
          <cx:pt idx="776">4.0365575019040367</cx:pt>
          <cx:pt idx="777">3.4621096725057119</cx:pt>
          <cx:pt idx="778">3.2366717440974866</cx:pt>
          <cx:pt idx="779">3.7132520944402132</cx:pt>
          <cx:pt idx="780">3.2850342726580348</cx:pt>
          <cx:pt idx="781">3.9413556740289413</cx:pt>
          <cx:pt idx="782">3.5946306169078448</cx:pt>
          <cx:pt idx="783">3.6942117288651941</cx:pt>
          <cx:pt idx="784">3.2397182025894895</cx:pt>
          <cx:pt idx="785">3.6191926884996191</cx:pt>
          <cx:pt idx="786">3.8019801980198018</cx:pt>
          <cx:pt idx="787">3.4272658035034271</cx:pt>
          <cx:pt idx="788">3.3467250571210969</cx:pt>
          <cx:pt idx="789">3.3099771515613101</cx:pt>
          <cx:pt idx="790">3.3819497334348818</cx:pt>
          <cx:pt idx="791">3.6264280274181266</cx:pt>
          <cx:pt idx="792">3.8118811881188117</cx:pt>
          <cx:pt idx="793">3.2404798172124907</cx:pt>
          <cx:pt idx="794">3.5079969535415079</cx:pt>
          <cx:pt idx="795">3.6332825590251332</cx:pt>
          <cx:pt idx="796">3.1873571972581876</cx:pt>
          <cx:pt idx="797">3.4386900228484385</cx:pt>
          <cx:pt idx="798">3.006854531607007</cx:pt>
          <cx:pt idx="799">3.3240670220868243</cx:pt>
          <cx:pt idx="800">2.9702970297029703</cx:pt>
          <cx:pt idx="801">3.472962680883473</cx:pt>
          <cx:pt idx="802">3.9708682406702209</cx:pt>
          <cx:pt idx="803">3.3632901751713633</cx:pt>
          <cx:pt idx="804">3.4124143183549123</cx:pt>
          <cx:pt idx="805">3.2400990099009901</cx:pt>
          <cx:pt idx="806">3.4520182787509519</cx:pt>
          <cx:pt idx="807">3.9375476009139376</cx:pt>
          <cx:pt idx="808">3.7105864432597104</cx:pt>
          <cx:pt idx="809">3.511995430312262</cx:pt>
          <cx:pt idx="810">3.3295887281035794</cx:pt>
          <cx:pt idx="811">4.1092916984006091</cx:pt>
          <cx:pt idx="812">3.2056359482102055</cx:pt>
          <cx:pt idx="813">3.1153846153846154</cx:pt>
          <cx:pt idx="814">3.6942117288651941</cx:pt>
          <cx:pt idx="815">3.3004569687738003</cx:pt>
          <cx:pt idx="816">3.3678598629093677</cx:pt>
          <cx:pt idx="817">4.1317593297791317</cx:pt>
          <cx:pt idx="818">3.328255902513328</cx:pt>
          <cx:pt idx="819">3.777227722772277</cx:pt>
          <cx:pt idx="820">3.3678598629093677</cx:pt>
          <cx:pt idx="821">3.3568164508758569</cx:pt>
          <cx:pt idx="822">3.137852246763138</cx:pt>
          <cx:pt idx="823">3.6012947448591013</cx:pt>
          <cx:pt idx="824">3.4859101294744859</cx:pt>
          <cx:pt idx="825">3.5078065498857578</cx:pt>
          <cx:pt idx="826">3.6568926123381571</cx:pt>
          <cx:pt idx="827">3.1603198781416602</cx:pt>
          <cx:pt idx="828">3.6654607768469156</cx:pt>
          <cx:pt idx="829">3.284082254379284</cx:pt>
          <cx:pt idx="830">3.726199543031226</cx:pt>
          <cx:pt idx="831">3.2530464584920029</cx:pt>
          <cx:pt idx="832">3.7362909367859864</cx:pt>
          <cx:pt idx="833">3.7288651942117288</cx:pt>
          <cx:pt idx="834">2.7760853008377762</cx:pt>
          <cx:pt idx="835">3.686976389946687</cx:pt>
          <cx:pt idx="836">2.9855293221629857</cx:pt>
          <cx:pt idx="837">3.853769992383854</cx:pt>
          <cx:pt idx="838">3.5026656511805028</cx:pt>
          <cx:pt idx="839">3.6477532368621479</cx:pt>
          <cx:pt idx="840">3.6085300837776084</cx:pt>
          <cx:pt idx="841">3.5449352627570447</cx:pt>
          <cx:pt idx="842">3.693830921553694</cx:pt>
          <cx:pt idx="843">3.5533130236100532</cx:pt>
          <cx:pt idx="844">3.2932216298552932</cx:pt>
          <cx:pt idx="845">3.5645468392993145</cx:pt>
          <cx:pt idx="846">3.2749428789032748</cx:pt>
          <cx:pt idx="847">3.4223153084539222</cx:pt>
          <cx:pt idx="848">3.5041888804265042</cx:pt>
          <cx:pt idx="849">3.4516374714394518</cx:pt>
          <cx:pt idx="850">2.8223533891850723</cx:pt>
          <cx:pt idx="851">3.9375476009139376</cx:pt>
          <cx:pt idx="852">2.926884996191927</cx:pt>
          <cx:pt idx="853">4.0262757044935267</cx:pt>
          <cx:pt idx="854">3.1073876618431076</cx:pt>
          <cx:pt idx="855">3.2404798172124907</cx:pt>
          <cx:pt idx="856">3.8265422696115765</cx:pt>
          <cx:pt idx="857">3.4796268088347295</cx:pt>
          <cx:pt idx="858">3.2094440213252096</cx:pt>
          <cx:pt idx="859">3.6671744097486672</cx:pt>
          <cx:pt idx="860">4.0304645849200309</cx:pt>
          <cx:pt idx="861">3.5826351865955828</cx:pt>
          <cx:pt idx="862">2.8531987814166033</cx:pt>
          <cx:pt idx="863">3.5369383092155369</cx:pt>
          <cx:pt idx="864">3.3503427265803505</cx:pt>
          <cx:pt idx="865">3.0293221629855291</cx:pt>
          <cx:pt idx="866">3.5437928408225439</cx:pt>
          <cx:pt idx="867">3.4230769230769229</cx:pt>
          <cx:pt idx="868">3.6477532368621479</cx:pt>
          <cx:pt idx="869">3.5091393754760092</cx:pt>
          <cx:pt idx="870">3.5472201066260474</cx:pt>
          <cx:pt idx="871">3.8889946686976389</cx:pt>
          <cx:pt idx="872">3.1688880426504187</cx:pt>
          <cx:pt idx="873">3.346915460776847</cx:pt>
          <cx:pt idx="874">3.686976389946687</cx:pt>
          <cx:pt idx="875">3.8528179741051027</cx:pt>
          <cx:pt idx="876">3.9794364051789795</cx:pt>
          <cx:pt idx="877">3.3977532368621479</cx:pt>
          <cx:pt idx="878">3.7804645849200305</cx:pt>
          <cx:pt idx="879">3.5034272658035035</cx:pt>
          <cx:pt idx="880">3.3187357197258187</cx:pt>
          <cx:pt idx="881">3.3457730388423457</cx:pt>
          <cx:pt idx="882">3.3960396039603959</cx:pt>
          <cx:pt idx="883">3.8012185833968011</cx:pt>
          <cx:pt idx="884">3.726199543031226</cx:pt>
          <cx:pt idx="885">2.9293602437166792</cx:pt>
          <cx:pt idx="886">3.2338156892612338</cx:pt>
          <cx:pt idx="887">3.3815689261233817</cx:pt>
          <cx:pt idx="888">3.0102817974105105</cx:pt>
          <cx:pt idx="889">3.7319116527037317</cx:pt>
          <cx:pt idx="890">3.4352627570449354</cx:pt>
          <cx:pt idx="891">3.2505712109672507</cx:pt>
          <cx:pt idx="892">3.3113099771515615</cx:pt>
          <cx:pt idx="893">3.9794364051789795</cx:pt>
          <cx:pt idx="894">3.6603198781416602</cx:pt>
          <cx:pt idx="895">3.7888423457730389</cx:pt>
          <cx:pt idx="896">3.7945544554455446</cx:pt>
          <cx:pt idx="897">3.0026656511805028</cx:pt>
          <cx:pt idx="898">3.6085300837776084</cx:pt>
          <cx:pt idx="899">3.5060929169840063</cx:pt>
          <cx:pt idx="900">3.511995430312262</cx:pt>
          <cx:pt idx="901">2.7570449352627571</cx:pt>
          <cx:pt idx="902">3.9017517136329016</cx:pt>
          <cx:pt idx="903">3.7943640517897945</cx:pt>
          <cx:pt idx="904">3.4333587204874334</cx:pt>
          <cx:pt idx="905">3.1348057882711347</cx:pt>
          <cx:pt idx="906">3.302932216298553</cx:pt>
          <cx:pt idx="907">3.2006854531607005</cx:pt>
          <cx:pt idx="908">3.5258948971820261</cx:pt>
          <cx:pt idx="909">3.6694592536176693</cx:pt>
          <cx:pt idx="910">3.1348057882711347</cx:pt>
          <cx:pt idx="911">3.3960396039603959</cx:pt>
          <cx:pt idx="912">3.5283701447067783</cx:pt>
          <cx:pt idx="913">3.3177837014470679</cx:pt>
          <cx:pt idx="914">3.0464584920030466</cx:pt>
          <cx:pt idx="915">2.833206397562833</cx:pt>
          <cx:pt idx="916">3.789032749428789</cx:pt>
          <cx:pt idx="917">3.5034272658035035</cx:pt>
          <cx:pt idx="918">3.0811119573495813</cx:pt>
          <cx:pt idx="919">3.9019421172886521</cx:pt>
          <cx:pt idx="920">4.1698400609291699</cx:pt>
          <cx:pt idx="921">3.7048743335872047</cx:pt>
          <cx:pt idx="922">3.3255902513328257</cx:pt>
          <cx:pt idx="923">3.7661843107387662</cx:pt>
          <cx:pt idx="924">3.2140137090632139</cx:pt>
          <cx:pt idx="925">3.8480578827113479</cx:pt>
          <cx:pt idx="926">3.8202589489718202</cx:pt>
          <cx:pt idx="927">3.4226961157654228</cx:pt>
          <cx:pt idx="928">3.3846153846153846</cx:pt>
          <cx:pt idx="929">3.107006854531607</cx:pt>
          <cx:pt idx="930">3.3457730388423457</cx:pt>
          <cx:pt idx="931">3.3206397562833208</cx:pt>
          <cx:pt idx="932">3.5249428789032748</cx:pt>
          <cx:pt idx="933">3.3644325971058646</cx:pt>
          <cx:pt idx="934">4.0864432597105864</cx:pt>
          <cx:pt idx="935">3.7945544554455446</cx:pt>
          <cx:pt idx="936">3.955826351865956</cx:pt>
          <cx:pt idx="937">3.3648134044173648</cx:pt>
          <cx:pt idx="938">3.7442878903274943</cx:pt>
          <cx:pt idx="939">3.0456968773800459</cx:pt>
          <cx:pt idx="940">3.2627570449352628</cx:pt>
          <cx:pt idx="941">3.0184691546077684</cx:pt>
          <cx:pt idx="942">3.6610814927646609</cx:pt>
          <cx:pt idx="943">3.5814927646610815</cx:pt>
          <cx:pt idx="944">3.7105864432597104</cx:pt>
          <cx:pt idx="945">3.0691165270373193</cx:pt>
          <cx:pt idx="946">3.3787128712871288</cx:pt>
          <cx:pt idx="947">2.7418126428027416</cx:pt>
          <cx:pt idx="948">3.3076923076923075</cx:pt>
          <cx:pt idx="949">3.328255902513328</cx:pt>
          <cx:pt idx="950">3.5755902513328257</cx:pt>
          <cx:pt idx="951">3.1930693069306932</cx:pt>
          <cx:pt idx="952">3.5173267326732671</cx:pt>
          <cx:pt idx="953">3.1073876618431076</cx:pt>
          <cx:pt idx="954">3.2581873571972584</cx:pt>
          <cx:pt idx="955">3.2696115765422697</cx:pt>
          <cx:pt idx="956">3.0691165270373193</cx:pt>
          <cx:pt idx="957">3.5258948971820261</cx:pt>
          <cx:pt idx="958">3.4472581873571975</cx:pt>
          <cx:pt idx="959">3.2749428789032748</cx:pt>
          <cx:pt idx="960">3.6260472201066261</cx:pt>
          <cx:pt idx="961">4.0262757044935267</cx:pt>
          <cx:pt idx="962">3.5283701447067783</cx:pt>
          <cx:pt idx="963">3.8933739527798932</cx:pt>
          <cx:pt idx="964">3.7185833968012187</cx:pt>
          <cx:pt idx="965">3.3107387661843108</cx:pt>
          <cx:pt idx="966">3.8301599390708301</cx:pt>
          <cx:pt idx="967">3.4851485148514851</cx:pt>
          <cx:pt idx="968">3.8076923076923075</cx:pt>
          <cx:pt idx="969">3.8065498857578066</cx:pt>
          <cx:pt idx="970">3.3008377760853009</cx:pt>
          <cx:pt idx="971">3.5643564356435644</cx:pt>
          <cx:pt idx="972">3.0830159939070829</cx:pt>
          <cx:pt idx="973">3.1881188118811883</cx:pt>
          <cx:pt idx="974">3.4386900228484385</cx:pt>
          <cx:pt idx="975">3.2633282559025134</cx:pt>
          <cx:pt idx="976">3.9339299314546841</cx:pt>
          <cx:pt idx="977">2.913175932977913</cx:pt>
          <cx:pt idx="978">3.7048743335872047</cx:pt>
          <cx:pt idx="979">3.6559405940594059</cx:pt>
          <cx:pt idx="980">3.6024371667936026</cx:pt>
          <cx:pt idx="981">3.0445544554455446</cx:pt>
          <cx:pt idx="982">3.1397562833206396</cx:pt>
          <cx:pt idx="983">3.8779512566641281</cx:pt>
          <cx:pt idx="984">3.3773800456968774</cx:pt>
          <cx:pt idx="985">3.3958492003046459</cx:pt>
          <cx:pt idx="986">3.1707920792079207</cx:pt>
          <cx:pt idx="987">3.2505712109672507</cx:pt>
          <cx:pt idx="988">3.2368621477532367</cx:pt>
          <cx:pt idx="989">3.328255902513328</cx:pt>
          <cx:pt idx="990">3.5626428027418124</cx:pt>
          <cx:pt idx="991">3.1858339680121857</cx:pt>
          <cx:pt idx="992">3.6300456968773802</cx:pt>
          <cx:pt idx="993">3.3094059405940595</cx:pt>
          <cx:pt idx="994">3.2920792079207919</cx:pt>
          <cx:pt idx="995">3.5643564356435644</cx:pt>
          <cx:pt idx="996">3.6039603960396041</cx:pt>
          <cx:pt idx="997">3.7528560548362528</cx:pt>
          <cx:pt idx="998">3.3295887281035794</cx:pt>
          <cx:pt idx="999">2.7570449352627571</cx:pt>
          <cx:pt idx="1000">3.5533130236100532</cx:pt>
          <cx:pt idx="1001">3.5437928408225439</cx:pt>
          <cx:pt idx="1002">3.0769230769230771</cx:pt>
          <cx:pt idx="1003">3.4908606245239908</cx:pt>
          <cx:pt idx="1004">3.4364051789794363</cx:pt>
          <cx:pt idx="1005">2.9455445544554455</cx:pt>
          <cx:pt idx="1006">3.4739146991622238</cx:pt>
          <cx:pt idx="1007">3.2206778370144709</cx:pt>
          <cx:pt idx="1008">3.311119573495811</cx:pt>
          <cx:pt idx="1009">2.9040365575019038</cx:pt>
          <cx:pt idx="1010">3.1694592536176693</cx:pt>
          <cx:pt idx="1011">3.6568926123381571</cx:pt>
          <cx:pt idx="1012">3.8461538461538463</cx:pt>
          <cx:pt idx="1013">3.7878903274942881</cx:pt>
          <cx:pt idx="1014">2.9908606245239908</cx:pt>
          <cx:pt idx="1015">2.9108910891089108</cx:pt>
          <cx:pt idx="1016">3.0495049504950495</cx:pt>
          <cx:pt idx="1017">4.0677837014470679</cx:pt>
          <cx:pt idx="1018">3.1226199543031226</cx:pt>
          <cx:pt idx="1019">3.5974866717440976</cx:pt>
          <cx:pt idx="1020">3.5519801980198018</cx:pt>
          <cx:pt idx="1021">3.3415841584158414</cx:pt>
          <cx:pt idx="1022">2.9394516374714397</cx:pt>
          <cx:pt idx="1023">3.6654607768469156</cx:pt>
          <cx:pt idx="1024">3.6843107387661842</cx:pt>
          <cx:pt idx="1025">3.6740289413556741</cx:pt>
          <cx:pt idx="1026">3.6199543031226198</cx:pt>
          <cx:pt idx="1027">3.4061309977151559</cx:pt>
          <cx:pt idx="1028">3.5795887281035794</cx:pt>
          <cx:pt idx="1029">3.3825209444021325</cx:pt>
          <cx:pt idx="1030">3.5173267326732671</cx:pt>
          <cx:pt idx="1031">3.5205635948210205</cx:pt>
          <cx:pt idx="1032">3.346915460776847</cx:pt>
          <cx:pt idx="1033">3.3267326732673266</cx:pt>
          <cx:pt idx="1034">3.9893373952779894</cx:pt>
          <cx:pt idx="1035">3.3731911652703732</cx:pt>
          <cx:pt idx="1036">3.5974866717440976</cx:pt>
          <cx:pt idx="1037">2.8941355674028943</cx:pt>
          <cx:pt idx="1038">3.5946306169078448</cx:pt>
          <cx:pt idx="1039">3.5826351865955828</cx:pt>
          <cx:pt idx="1040">3.2585681645087585</cx:pt>
          <cx:pt idx="1041">2.8920411271896422</cx:pt>
          <cx:pt idx="1042">3.4906702208682407</cx:pt>
          <cx:pt idx="1043">3.7128712871287131</cx:pt>
          <cx:pt idx="1044">3.7406702208682407</cx:pt>
          <cx:pt idx="1045">3.789032749428789</cx:pt>
          <cx:pt idx="1046">2.8223533891850723</cx:pt>
          <cx:pt idx="1047">3.7111576542269611</cx:pt>
          <cx:pt idx="1048">3.5946306169078448</cx:pt>
          <cx:pt idx="1049">3.6500380807311501</cx:pt>
          <cx:pt idx="1050">3.9070830159939072</cx:pt>
          <cx:pt idx="1051">4.0078065498857578</cx:pt>
          <cx:pt idx="1052">3.3463442498095963</cx:pt>
          <cx:pt idx="1053">3.7123000761614624</cx:pt>
          <cx:pt idx="1054">3.5091393754760092</cx:pt>
          <cx:pt idx="1055">3.1519421172886521</cx:pt>
          <cx:pt idx="1056">3.3724295506473725</cx:pt>
          <cx:pt idx="1057">3.3267326732673266</cx:pt>
          <cx:pt idx="1058">3.6212871287128712</cx:pt>
          <cx:pt idx="1059">3.7362909367859864</cx:pt>
          <cx:pt idx="1060">3.1165270373191167</cx:pt>
          <cx:pt idx="1061">2.9748667174409751</cx:pt>
          <cx:pt idx="1062">3.328255902513328</cx:pt>
          <cx:pt idx="1063">3.2585681645087585</cx:pt>
          <cx:pt idx="1064">3.375856816450876</cx:pt>
          <cx:pt idx="1065">3.222772277227723</cx:pt>
          <cx:pt idx="1066">3.3587204874333589</cx:pt>
          <cx:pt idx="1067">3.4529702970297032</cx:pt>
          <cx:pt idx="1068">3.0426504188880426</cx:pt>
          <cx:pt idx="1069">3.8956587966488958</cx:pt>
          <cx:pt idx="1070">4.2692307692307692</cx:pt>
          <cx:pt idx="1071">4.3771896420411274</cx:pt>
          <cx:pt idx="1072">4.3103579588728103</cx:pt>
          <cx:pt idx="1073">4.5506473724295509</cx:pt>
          <cx:pt idx="1074">4.2357197258187353</cx:pt>
          <cx:pt idx="1075">4.5125666412795127</cx:pt>
          <cx:pt idx="1076">4.4744859101294745</cx:pt>
          <cx:pt idx="1077">4.3231150038080735</cx:pt>
          <cx:pt idx="1078">4.4423076923076925</cx:pt>
          <cx:pt idx="1079">4.435643564356436</cx:pt>
          <cx:pt idx="1080">4.2789413556740286</cx:pt>
          <cx:pt idx="1081">4.5833968012185835</cx:pt>
          <cx:pt idx="1082">4.3269230769230766</cx:pt>
          <cx:pt idx="1083">4.3929931454683926</cx:pt>
          <cx:pt idx="1084">4.3290175171363288</cx:pt>
          <cx:pt idx="1085">4.5742574257425739</cx:pt>
          <cx:pt idx="1086">4.4280274181264279</cx:pt>
          <cx:pt idx="1087">4.365384615384615</cx:pt>
          <cx:pt idx="1088">4.3050266565118047</cx:pt>
          <cx:pt idx="1089">4.2977913175932976</cx:pt>
          <cx:pt idx="1090">4.3103579588728103</cx:pt>
          <cx:pt idx="1091">4.4108910891089108</cx:pt>
          <cx:pt idx="1092">4.2600913937547604</cx:pt>
          <cx:pt idx="1093">4.3602437166793599</cx:pt>
          <cx:pt idx="1094">4.4230769230769234</cx:pt>
          <cx:pt idx="1095">4.2357197258187353</cx:pt>
          <cx:pt idx="1096">4.6930693069306928</cx:pt>
          <cx:pt idx="1097">4.4596344249809601</cx:pt>
          <cx:pt idx="1098">4.5544554455445541</cx:pt>
          <cx:pt idx="1099">4.4752475247524757</cx:pt>
          <cx:pt idx="1100">4.6416603198781416</cx:pt>
          <cx:pt idx="1101">4.3461538461538458</cx:pt>
          <cx:pt idx="1102">4.0213252094440213</cx:pt>
          <cx:pt idx="1103">4.5782559025133285</cx:pt>
          <cx:pt idx="1104">4.7781797410510283</cx:pt>
          <cx:pt idx="1105">4.1241431835491245</cx:pt>
          <cx:pt idx="1106">4.5384615384615383</cx:pt>
          <cx:pt idx="1107">4.4674409748667179</cx:pt>
          <cx:pt idx="1108">4.5057121096725057</cx:pt>
          <cx:pt idx="1109">4.6138613861386135</cx:pt>
          <cx:pt idx="1110">4.3137852246763142</cx:pt>
          <cx:pt idx="1111">4.6534653465346532</cx:pt>
          <cx:pt idx="1112">4.7981721249047986</cx:pt>
          <cx:pt idx="1113">4.3402513328255905</cx:pt>
          <cx:pt idx="1114">2.8531987814166033</cx:pt>
          <cx:pt idx="1115">3.0102817974105105</cx:pt>
          <cx:pt idx="1116">3.3244478293983244</cx:pt>
          <cx:pt idx="1117">3.2559025133282558</cx:pt>
          <cx:pt idx="1118">3.6199543031226198</cx:pt>
          <cx:pt idx="1119">3.153084539223153</cx:pt>
          <cx:pt idx="1120">2.8103579588728103</cx:pt>
          <cx:pt idx="1121">3.1349961919268852</cx:pt>
          <cx:pt idx="1122">3.1987814166031989</cx:pt>
          <cx:pt idx="1123">2.8994668697638994</cx:pt>
          <cx:pt idx="1124">3.0845392231530844</cx:pt>
          <cx:pt idx="1125">2.7915079969535417</cx:pt>
          <cx:pt idx="1126">3.3290175171363292</cx:pt>
          <cx:pt idx="1127">3.2170601675552168</cx:pt>
          <cx:pt idx="1128">3.3457730388423457</cx:pt>
          <cx:pt idx="1129">3.5060929169840063</cx:pt>
          <cx:pt idx="1130">3.3552932216298554</cx:pt>
          <cx:pt idx="1131">3.2050647372429553</cx:pt>
          <cx:pt idx="1132">3.8425361766945927</cx:pt>
          <cx:pt idx="1133">3.7307692307692308</cx:pt>
          <cx:pt idx="1134">3.5639756283320638</cx:pt>
          <cx:pt idx="1135">3.2319116527037317</cx:pt>
          <cx:pt idx="1136">3.129093678598629</cx:pt>
          <cx:pt idx="1137">3.1275704493526275</cx:pt>
          <cx:pt idx="1138">3.5091393754760092</cx:pt>
          <cx:pt idx="1139">3.4952399086062451</cx:pt>
          <cx:pt idx="1140">3.6945925361766947</cx:pt>
          <cx:pt idx="1141">3.6123381568926125</cx:pt>
          <cx:pt idx="1142">3.5346534653465347</cx:pt>
          <cx:pt idx="1143">3.8187357197258187</cx:pt>
          <cx:pt idx="1144">3.5384615384615383</cx:pt>
          <cx:pt idx="1145">3.0342726580350341</cx:pt>
          <cx:pt idx="1146">3.2366717440974866</cx:pt>
          <cx:pt idx="1147">3.731150038080731</cx:pt>
          <cx:pt idx="1148">2.7722772277227721</cx:pt>
          <cx:pt idx="1149">3.8046458492003046</cx:pt>
          <cx:pt idx="1150">4.0746382330540749</cx:pt>
          <cx:pt idx="1151">3.2054455445544554</cx:pt>
          <cx:pt idx="1152">3.7281035795887281</cx:pt>
          <cx:pt idx="1153">3.0184691546077684</cx:pt>
          <cx:pt idx="1154">3.1766945925361765</cx:pt>
          <cx:pt idx="1155">3.8453922315308455</cx:pt>
          <cx:pt idx="1156">2.9428789032749427</cx:pt>
          <cx:pt idx="1157">3.2475247524752477</cx:pt>
          <cx:pt idx="1158">3.6527037319116529</cx:pt>
          <cx:pt idx="1159">2.9093678598629094</cx:pt>
          <cx:pt idx="1160">3.0159939070830162</cx:pt>
          <cx:pt idx="1161">3.4872429550647372</cx:pt>
          <cx:pt idx="1162">2.8920411271896422</cx:pt>
          <cx:pt idx="1163">3.2206778370144709</cx:pt>
          <cx:pt idx="1164">3.3044554455445545</cx:pt>
          <cx:pt idx="1165">3.4843869002284844</cx:pt>
          <cx:pt idx="1166">3.6757425742574257</cx:pt>
          <cx:pt idx="1167">3.3644325971058646</cx:pt>
          <cx:pt idx="1168">2.9855293221629857</cx:pt>
          <cx:pt idx="1169">2.8604341203351105</cx:pt>
          <cx:pt idx="1170">3.6732673267326734</cx:pt>
          <cx:pt idx="1171">3.5639756283320638</cx:pt>
          <cx:pt idx="1172">3.2027798933739526</cx:pt>
          <cx:pt idx="1173">3.6557501904036558</cx:pt>
          <cx:pt idx="1174">2.7875095201827875</cx:pt>
          <cx:pt idx="1175">3.2901751713632903</cx:pt>
          <cx:pt idx="1176">3.6923076923076925</cx:pt>
          <cx:pt idx="1177">3.7132520944402132</cx:pt>
          <cx:pt idx="1178">3.7319116527037317</cx:pt>
          <cx:pt idx="1179">2.9293602437166792</cx:pt>
          <cx:pt idx="1180">3.9196496572734199</cx:pt>
          <cx:pt idx="1181">3.2758948971820261</cx:pt>
          <cx:pt idx="1182">2.8941355674028943</cx:pt>
          <cx:pt idx="1183">3.2387661843107387</cx:pt>
          <cx:pt idx="1184">3.7888423457730389</cx:pt>
          <cx:pt idx="1185">2.9093678598629094</cx:pt>
          <cx:pt idx="1186">3.9794364051789795</cx:pt>
          <cx:pt idx="1187">4.071591774562072</cx:pt>
          <cx:pt idx="1188">3.6009139375476007</cx:pt>
          <cx:pt idx="1189">2.9108910891089108</cx:pt>
          <cx:pt idx="1190">2.8223533891850723</cx:pt>
          <cx:pt idx="1191">3.5769230769230771</cx:pt>
          <cx:pt idx="1192">3.511805026656512</cx:pt>
          <cx:pt idx="1193">3.7945544554455446</cx:pt>
          <cx:pt idx="1194">2.9352627570449354</cx:pt>
          <cx:pt idx="1195">3.2050647372429553</cx:pt>
          <cx:pt idx="1196">3.1924980959634426</cx:pt>
          <cx:pt idx="1197">3.0388423457730389</cx:pt>
          <cx:pt idx="1198">3.5693069306930694</cx:pt>
          <cx:pt idx="1199">3.4386900228484385</cx:pt>
          <cx:pt idx="1200">3.7599009900990099</cx:pt>
          <cx:pt idx="1201">3.0184691546077684</cx:pt>
          <cx:pt idx="1202">3.1111957349581112</cx:pt>
          <cx:pt idx="1203">3.2932216298552932</cx:pt>
          <cx:pt idx="1204">3.7442878903274943</cx:pt>
          <cx:pt idx="1205">2.8920411271896422</cx:pt>
          <cx:pt idx="1206">3.2368621477532367</cx:pt>
          <cx:pt idx="1207">3.2913175932977912</cx:pt>
          <cx:pt idx="1208">3.5041888804265042</cx:pt>
          <cx:pt idx="1209">3.1707920792079207</cx:pt>
          <cx:pt idx="1210">3.2581873571972584</cx:pt>
          <cx:pt idx="1211">2.9474485910129475</cx:pt>
          <cx:pt idx="1212">3.4516374714394518</cx:pt>
          <cx:pt idx="1213">3.0913937547600914</cx:pt>
          <cx:pt idx="1214">3.5693069306930694</cx:pt>
          <cx:pt idx="1215">2.9352627570449354</cx:pt>
          <cx:pt idx="1216">3.2027798933739526</cx:pt>
          <cx:pt idx="1217">3.6747905559786749</cx:pt>
          <cx:pt idx="1218">3.8415841584158414</cx:pt>
          <cx:pt idx="1219">3.1607006854531607</cx:pt>
          <cx:pt idx="1220">3.8012185833968011</cx:pt>
          <cx:pt idx="1221">3.5814927646610815</cx:pt>
          <cx:pt idx="1222">4.1092916984006091</cx:pt>
          <cx:pt idx="1223">4.1051028179741049</cx:pt>
          <cx:pt idx="1224">3.6329017517136331</cx:pt>
          <cx:pt idx="1225">3.8118811881188117</cx:pt>
          <cx:pt idx="1226">3.7362909367859864</cx:pt>
          <cx:pt idx="1227">3.0769230769230771</cx:pt>
          <cx:pt idx="1228">3.1883092155369384</cx:pt>
          <cx:pt idx="1229">2.8446306169078448</cx:pt>
          <cx:pt idx="1230">3.1188118811881189</cx:pt>
          <cx:pt idx="1231">3.0536938309215538</cx:pt>
          <cx:pt idx="1232">3.5277989337395277</cx:pt>
          <cx:pt idx="1233">3.418126428027418</cx:pt>
          <cx:pt idx="1234">3.1073876618431076</cx:pt>
          <cx:pt idx="1235">3.4133663366336635</cx:pt>
          <cx:pt idx="1236">3.1188118811881189</cx:pt>
          <cx:pt idx="1237">3.9070830159939072</cx:pt>
          <cx:pt idx="1238">3.362147753236862</cx:pt>
          <cx:pt idx="1239">3.3461538461538463</cx:pt>
          <cx:pt idx="1240">4.1698400609291699</cx:pt>
          <cx:pt idx="1241">2.7418126428027416</cx:pt>
          <cx:pt idx="1242">2.9474485910129475</cx:pt>
          <cx:pt idx="1243">3.3501523229246</cx:pt>
          <cx:pt idx="1244">3.2581873571972584</cx:pt>
          <cx:pt idx="1245">3.6862147753236862</cx:pt>
          <cx:pt idx="1246">3.9339299314546841</cx:pt>
          <cx:pt idx="1247">3.4451637471439454</cx:pt>
          <cx:pt idx="1248">3.3825209444021325</cx:pt>
          <cx:pt idx="1249">3.7878903274942881</cx:pt>
          <cx:pt idx="1250">3.8811881188118811</cx:pt>
          <cx:pt idx="1251">3.3661462300076161</cx:pt>
          <cx:pt idx="1252">3.1073876618431076</cx:pt>
          <cx:pt idx="1253">2.8941355674028943</cx:pt>
          <cx:pt idx="1254">3.5034272658035035</cx:pt>
          <cx:pt idx="1255">4.0304645849200309</cx:pt>
          <cx:pt idx="1256">3.3158796648895659</cx:pt>
          <cx:pt idx="1257">3.2050647372429553</cx:pt>
          <cx:pt idx="1258">3.6191926884996191</cx:pt>
          <cx:pt idx="1259">3.8480578827113479</cx:pt>
          <cx:pt idx="1260">3.2395277989337394</cx:pt>
          <cx:pt idx="1261">3.5814927646610815</cx:pt>
          <cx:pt idx="1262">4.4782939832444786</cx:pt>
          <cx:pt idx="1263">4.3341584158415838</cx:pt>
          <cx:pt idx="1264">4.365384615384615</cx:pt>
          <cx:pt idx="1265">4.5125666412795127</cx:pt>
          <cx:pt idx="1266">4.4596344249809601</cx:pt>
          <cx:pt idx="1267">4.4297410510281798</cx:pt>
          <cx:pt idx="1268">4.1492764661081489</cx:pt>
          <cx:pt idx="1269">4.3983244478293981</cx:pt>
          <cx:pt idx="1270">4.1422315308453923</cx:pt>
          <cx:pt idx="1271">4.5498857578065497</cx:pt>
          <cx:pt idx="1272">4.1740289413556741</cx:pt>
          <cx:pt idx="1273">4.4126047220106628</cx:pt>
          <cx:pt idx="1274">4.7128712871287126</cx:pt>
          <cx:pt idx="1275">4.3103579588728103</cx:pt>
          <cx:pt idx="1276">4.2223914699162224</cx:pt>
          <cx:pt idx="1277">4.4108910891089108</cx:pt>
          <cx:pt idx="1278">4.4554455445544559</cx:pt>
          <cx:pt idx="1279">4.5639756283320638</cx:pt>
          <cx:pt idx="1280">4.5445544554455441</cx:pt>
          <cx:pt idx="1281">4.1051028179741049</cx:pt>
          <cx:pt idx="1282">4.0517897943640522</cx:pt>
          <cx:pt idx="1283">4.5576923076923075</cx:pt>
          <cx:pt idx="1284">4.1888804265041886</cx:pt>
          <cx:pt idx="1285">4.6138613861386135</cx:pt>
          <cx:pt idx="1286">4.0213252094440213</cx:pt>
          <cx:pt idx="1287">4.6782178217821784</cx:pt>
          <cx:pt idx="1288">4.7182025894897182</cx:pt>
          <cx:pt idx="1289">4.2869383092155369</cx:pt>
          <cx:pt idx="1290">4.4744859101294745</cx:pt>
          <cx:pt idx="1291">4.3602437166793599</cx:pt>
          <cx:pt idx="1292">4.3983244478293981</cx:pt>
          <cx:pt idx="1293">4.5382711348057887</cx:pt>
          <cx:pt idx="1294">4.7581873571972579</cx:pt>
          <cx:pt idx="1295">4.4297410510281798</cx:pt>
          <cx:pt idx="1296">4.5544554455445541</cx:pt>
          <cx:pt idx="1297">4.1603198781416602</cx:pt>
          <cx:pt idx="1298">4.5891089108910892</cx:pt>
          <cx:pt idx="1299">4.6336633663366333</cx:pt>
          <cx:pt idx="1300">4.2079207920792081</cx:pt>
          <cx:pt idx="1301">4.5316070068545313</cx:pt>
          <cx:pt idx="1302">4.7524752475247523</cx:pt>
          <cx:pt idx="1303">4.3543412033511046</cx:pt>
          <cx:pt idx="1304">4.5891089108910892</cx:pt>
          <cx:pt idx="1305">4.3115003808073116</cx:pt>
          <cx:pt idx="1306">4.0030464584920029</cx:pt>
          <cx:pt idx="1307">3.4912414318354914</cx:pt>
          <cx:pt idx="1308">3.2850342726580348</cx:pt>
          <cx:pt idx="1309">3.3412033511043413</cx:pt>
          <cx:pt idx="1310">4.1092916984006091</cx:pt>
          <cx:pt idx="1311">3.3450114242193449</cx:pt>
          <cx:pt idx="1312">3.2932216298552932</cx:pt>
          <cx:pt idx="1313">3.4386900228484385</cx:pt>
          <cx:pt idx="1314">3.4293602437166792</cx:pt>
          <cx:pt idx="1315">3.0426504188880426</cx:pt>
          <cx:pt idx="1316">3.8651942117288653</cx:pt>
          <cx:pt idx="1317">3.1873571972581876</cx:pt>
          <cx:pt idx="1318">3.4455445544554455</cx:pt>
          <cx:pt idx="1319">3.5129474485910128</cx:pt>
          <cx:pt idx="1320">3.993145468392993</cx:pt>
          <cx:pt idx="1321">3.3846153846153846</cx:pt>
          <cx:pt idx="1322">3.8528179741051027</cx:pt>
          <cx:pt idx="1323">3.6374714394516374</cx:pt>
          <cx:pt idx="1324">3.7945544554455446</cx:pt>
          <cx:pt idx="1325">3.6785986290936785</cx:pt>
          <cx:pt idx="1326">3.1765041888804264</cx:pt>
          <cx:pt idx="1327">3.5281797410510283</cx:pt>
          <cx:pt idx="1328">3.2798933739527798</cx:pt>
          <cx:pt idx="1329">3.5910129474485912</cx:pt>
          <cx:pt idx="1330">3.7319116527037317</cx:pt>
          <cx:pt idx="1331">3.0921553693830921</cx:pt>
          <cx:pt idx="1332">3.129093678598629</cx:pt>
          <cx:pt idx="1333">3.5060929169840063</cx:pt>
          <cx:pt idx="1334">3.6012947448591013</cx:pt>
          <cx:pt idx="1335">3.9032749428789031</cx:pt>
          <cx:pt idx="1336">3.2081111957349582</cx:pt>
          <cx:pt idx="1337">3.273990860624524</cx:pt>
          <cx:pt idx="1338">3.4520182787509519</cx:pt>
          <cx:pt idx="1339">3.1607006854531607</cx:pt>
          <cx:pt idx="1340">2.9965727341964965</cx:pt>
          <cx:pt idx="1341">4.0904417364813401</cx:pt>
          <cx:pt idx="1342">3.0620715917745622</cx:pt>
          <cx:pt idx="1343">3.6694592536176693</cx:pt>
          <cx:pt idx="1344">3.6831683168316833</cx:pt>
          <cx:pt idx="1345">3.8625285605483626</cx:pt>
          <cx:pt idx="1346">2.9977151561309978</cx:pt>
          <cx:pt idx="1347">3.3290175171363292</cx:pt>
          <cx:pt idx="1348">2.7418126428027416</cx:pt>
          <cx:pt idx="1349">3.5986290936785985</cx:pt>
          <cx:pt idx="1350">3.6900228484386899</cx:pt>
          <cx:pt idx="1351">3.3073115003808073</cx:pt>
          <cx:pt idx="1352">3.2338156892612338</cx:pt>
          <cx:pt idx="1353">4.0118050266565115</cx:pt>
          <cx:pt idx="1354">3.9984767707539985</cx:pt>
          <cx:pt idx="1355">3.6191926884996191</cx:pt>
          <cx:pt idx="1356">3.8811881188118811</cx:pt>
          <cx:pt idx="1357">3.0502665651180503</cx:pt>
          <cx:pt idx="1358">3.511995430312262</cx:pt>
          <cx:pt idx="1359">3.1883092155369384</cx:pt>
          <cx:pt idx="1360">3.4546839299314547</cx:pt>
          <cx:pt idx="1361">3.1707920792079207</cx:pt>
          <cx:pt idx="1362">3.1332825590251332</cx:pt>
          <cx:pt idx="1363">3.5946306169078448</cx:pt>
          <cx:pt idx="1364">3.1987814166031989</cx:pt>
          <cx:pt idx="1365">3.0811119573495813</cx:pt>
          <cx:pt idx="1366">3.4910510281797409</cx:pt>
          <cx:pt idx="1367">3.3661462300076161</cx:pt>
          <cx:pt idx="1368">2.9965727341964965</cx:pt>
          <cx:pt idx="1369">3.3099771515613101</cx:pt>
          <cx:pt idx="1370">2.914889565879665</cx:pt>
          <cx:pt idx="1371">3.3244478293983244</cx:pt>
          <cx:pt idx="1372">2.833206397562833</cx:pt>
          <cx:pt idx="1373">3.4158415841584158</cx:pt>
          <cx:pt idx="1374">3.5533130236100532</cx:pt>
          <cx:pt idx="1375">3.1397562833206396</cx:pt>
          <cx:pt idx="1376">3.3339680121858342</cx:pt>
          <cx:pt idx="1377">3.136138613861386</cx:pt>
          <cx:pt idx="1378">3.6009139375476007</cx:pt>
          <cx:pt idx="1379">3.1308073115003809</cx:pt>
          <cx:pt idx="1380">3.4230769230769229</cx:pt>
          <cx:pt idx="1381">4.071591774562072</cx:pt>
          <cx:pt idx="1382">3.9017517136329016</cx:pt>
          <cx:pt idx="1383">4.0365575019040367</cx:pt>
          <cx:pt idx="1384">3.0948210205635949</cx:pt>
          <cx:pt idx="1385">3.0159939070830162</cx:pt>
          <cx:pt idx="1386">3.7894135567402896</cx:pt>
          <cx:pt idx="1387">3.5095201827875093</cx:pt>
          <cx:pt idx="1388">3.5986290936785985</cx:pt>
          <cx:pt idx="1389">3.4958111195734958</cx:pt>
          <cx:pt idx="1390">3.1028179741051027</cx:pt>
          <cx:pt idx="1391">3.5616907844630616</cx:pt>
          <cx:pt idx="1392">2.8762376237623761</cx:pt>
          <cx:pt idx="1393">3.0588347296268088</cx:pt>
          <cx:pt idx="1394">3.5173267326732671</cx:pt>
          <cx:pt idx="1395">3.1766945925361765</cx:pt>
          <cx:pt idx="1396">3.3775704493526275</cx:pt>
          <cx:pt idx="1397">3.9584920030464583</cx:pt>
          <cx:pt idx="1398">3.5946306169078448</cx:pt>
          <cx:pt idx="1399">2.8027418126428025</cx:pt>
          <cx:pt idx="1400">3.1180502665651182</cx:pt>
          <cx:pt idx="1401">3.8425361766945927</cx:pt>
          <cx:pt idx="1402">3.6014851485148514</cx:pt>
          <cx:pt idx="1403">2.9552551408987053</cx:pt>
          <cx:pt idx="1404">3.9396420411271897</cx:pt>
          <cx:pt idx="1405">4.1698400609291699</cx:pt>
          <cx:pt idx="1406">3.3177837014470679</cx:pt>
          <cx:pt idx="1407">3.0148514851485149</cx:pt>
          <cx:pt idx="1408">2.8941355674028943</cx:pt>
          <cx:pt idx="1409">3.1702208682406701</cx:pt>
          <cx:pt idx="1410">3.5173267326732671</cx:pt>
          <cx:pt idx="1411">2.977913175932978</cx:pt>
          <cx:pt idx="1412">3.153084539223153</cx:pt>
          <cx:pt idx="1413">3.4893373952779894</cx:pt>
          <cx:pt idx="1414">3.5795887281035794</cx:pt>
          <cx:pt idx="1415">3.1142421934501141</cx:pt>
          <cx:pt idx="1416">3.4455445544554455</cx:pt>
          <cx:pt idx="1417">2.857197258187357</cx:pt>
          <cx:pt idx="1418">3.2094440213252096</cx:pt>
          <cx:pt idx="1419">3.8785224676313783</cx:pt>
          <cx:pt idx="1420">3.2787509520182789</cx:pt>
          <cx:pt idx="1421">3.3158796648895659</cx:pt>
          <cx:pt idx="1422">3.375856816450876</cx:pt>
          <cx:pt idx="1423">3.146230007616146</cx:pt>
          <cx:pt idx="1424">3.3825209444021325</cx:pt>
          <cx:pt idx="1425">3.4722010662604723</cx:pt>
          <cx:pt idx="1426">3.511805026656512</cx:pt>
          <cx:pt idx="1427">3.7661843107387662</cx:pt>
          <cx:pt idx="1428">3.6191926884996191</cx:pt>
          <cx:pt idx="1429">3.2444782939832444</cx:pt>
          <cx:pt idx="1430">3.5276085300837776</cx:pt>
          <cx:pt idx="1431">3.6654607768469156</cx:pt>
          <cx:pt idx="1432">3.0382711348057883</cx:pt>
          <cx:pt idx="1433">3.153084539223153</cx:pt>
          <cx:pt idx="1434">3.1688880426504187</cx:pt>
          <cx:pt idx="1435">3.4569687738004569</cx:pt>
          <cx:pt idx="1436">3.4906702208682407</cx:pt>
          <cx:pt idx="1437">3.6374714394516374</cx:pt>
          <cx:pt idx="1438">3.2920792079207919</cx:pt>
          <cx:pt idx="1439">3.0645468392993145</cx:pt>
          <cx:pt idx="1440">3.362147753236862</cx:pt>
          <cx:pt idx="1441">3.2081111957349582</cx:pt>
          <cx:pt idx="1442">3.2292460015232294</cx:pt>
          <cx:pt idx="1443">3.7105864432597104</cx:pt>
          <cx:pt idx="1444">2.971058644325971</cx:pt>
          <cx:pt idx="1445">3.6603198781416602</cx:pt>
          <cx:pt idx="1446">3.6732673267326734</cx:pt>
          <cx:pt idx="1447">3.955826351865956</cx:pt>
          <cx:pt idx="1448">3.9961919268849964</cx:pt>
          <cx:pt idx="1449">3.4859101294744859</cx:pt>
          <cx:pt idx="1450">3.5814927646610815</cx:pt>
          <cx:pt idx="1451">2.9352627570449354</cx:pt>
          <cx:pt idx="1452">3.2081111957349582</cx:pt>
          <cx:pt idx="1453">2.8377760853008378</cx:pt>
          <cx:pt idx="1454">4.0150418888042649</cx:pt>
          <cx:pt idx="1455">3.3429169840060928</cx:pt>
          <cx:pt idx="1456">3.4059405940594059</cx:pt>
          <cx:pt idx="1457">2.9977151561309978</cx:pt>
          <cx:pt idx="1458">3.2536176694592536</cx:pt>
          <cx:pt idx="1459">4.0904417364813401</cx:pt>
          <cx:pt idx="1460">3.1188118811881189</cx:pt>
          <cx:pt idx="1461">3.5346534653465347</cx:pt>
          <cx:pt idx="1462">3.0129474485910128</cx:pt>
          <cx:pt idx="1463">2.9196496572734199</cx:pt>
          <cx:pt idx="1464">3.4472581873571975</cx:pt>
          <cx:pt idx="1465">2.8762376237623761</cx:pt>
          <cx:pt idx="1466">3.3798552932216297</cx:pt>
          <cx:pt idx="1467">3.0388423457730389</cx:pt>
          <cx:pt idx="1468">3.2947448591012947</cx:pt>
          <cx:pt idx="1469">3.6732673267326734</cx:pt>
          <cx:pt idx="1470">3.222772277227723</cx:pt>
          <cx:pt idx="1471">3.7014470677837013</cx:pt>
          <cx:pt idx="1472">3.1924980959634426</cx:pt>
          <cx:pt idx="1473">3.3076923076923075</cx:pt>
          <cx:pt idx="1474">2.7760853008377762</cx:pt>
          <cx:pt idx="1475">3.7322924600152323</cx:pt>
          <cx:pt idx="1476">3.5095201827875093</cx:pt>
          <cx:pt idx="1477">3.4722010662604723</cx:pt>
          <cx:pt idx="1478">4.0864432597105864</cx:pt>
          <cx:pt idx="1479">3.0382711348057883</cx:pt>
          <cx:pt idx="1480">3.5437928408225439</cx:pt>
          <cx:pt idx="1481">3.0382711348057883</cx:pt>
          <cx:pt idx="1482">3.9070830159939072</cx:pt>
          <cx:pt idx="1483">3.3511043412033512</cx:pt>
          <cx:pt idx="1484">3.4455445544554455</cx:pt>
          <cx:pt idx="1485">3.284082254379284</cx:pt>
          <cx:pt idx="1486">3.1235719725818734</cx:pt>
          <cx:pt idx="1487">3.3107387661843108</cx:pt>
          <cx:pt idx="1488">3.4786747905559787</cx:pt>
          <cx:pt idx="1489">3.3383472962680885</cx:pt>
          <cx:pt idx="1490">2.9702970297029703</cx:pt>
          <cx:pt idx="1491">3.3008377760853009</cx:pt>
          <cx:pt idx="1492">3.2943640517897945</cx:pt>
          <cx:pt idx="1493">3.8933739527798932</cx:pt>
          <cx:pt idx="1494">3.7699923838537699</cx:pt>
          <cx:pt idx="1495">3.1308073115003809</cx:pt>
          <cx:pt idx="1496">3.3427265803503428</cx:pt>
          <cx:pt idx="1497">3.2081111957349582</cx:pt>
          <cx:pt idx="1498">3.2319116527037317</cx:pt>
          <cx:pt idx="1499">3.3958492003046459</cx:pt>
          <cx:pt idx="1500">3.4866717440974866</cx:pt>
          <cx:pt idx="1501">2.8762376237623761</cx:pt>
          <cx:pt idx="1502">3.8453922315308455</cx:pt>
          <cx:pt idx="1503">3.5276085300837776</cx:pt>
          <cx:pt idx="1504">3.0536938309215538</cx:pt>
          <cx:pt idx="1505">3.7837014470677839</cx:pt>
          <cx:pt idx="1506">3.3775704493526275</cx:pt>
          <cx:pt idx="1507">3.4908606245239908</cx:pt>
          <cx:pt idx="1508">3.6759329779131757</cx:pt>
          <cx:pt idx="1509">3.0102817974105105</cx:pt>
          <cx:pt idx="1510">3.3099771515613101</cx:pt>
          <cx:pt idx="1511">3.3290175171363292</cx:pt>
          <cx:pt idx="1512">3.4230769230769229</cx:pt>
          <cx:pt idx="1513">3.1439451637471438</cx:pt>
          <cx:pt idx="1514">3.7288651942117288</cx:pt>
          <cx:pt idx="1515">4.1127189642041131</cx:pt>
          <cx:pt idx="1516">3.6157654226961156</cx:pt>
          <cx:pt idx="1517">3.2233434881949732</cx:pt>
          <cx:pt idx="1518">2.9801980198019802</cx:pt>
          <cx:pt idx="1519">3.2094440213252096</cx:pt>
          <cx:pt idx="1520">3.4013709063214015</cx:pt>
          <cx:pt idx="1521">3.1881188118811883</cx:pt>
          <cx:pt idx="1522">3.2404798172124907</cx:pt>
          <cx:pt idx="1523">3.9708682406702209</cx:pt>
          <cx:pt idx="1524">3.3792840822543795</cx:pt>
          <cx:pt idx="1525">3.3511043412033512</cx:pt>
          <cx:pt idx="1526">3.4516374714394518</cx:pt>
          <cx:pt idx="1527">3.511805026656512</cx:pt>
          <cx:pt idx="1528">3.0500761614623002</cx:pt>
          <cx:pt idx="1529">3.4520182787509519</cx:pt>
          <cx:pt idx="1530">3.3998476770754</cx:pt>
          <cx:pt idx="1531">3.1694592536176693</cx:pt>
          <cx:pt idx="1532">3.416793602437167</cx:pt>
          <cx:pt idx="1533">3.6753617669459255</cx:pt>
          <cx:pt idx="1534">3.0479817212490481</cx:pt>
          <cx:pt idx="1535">2.9664889565879666</cx:pt>
          <cx:pt idx="1536">3.3983244478293981</cx:pt>
          <cx:pt idx="1537">3.5034272658035035</cx:pt>
          <cx:pt idx="1538">3.5437928408225439</cx:pt>
          <cx:pt idx="1539">3.4912414318354914</cx:pt>
          <cx:pt idx="1540">3.1016755521706019</cx:pt>
          <cx:pt idx="1541">3.5693069306930694</cx:pt>
          <cx:pt idx="1542">3.2233434881949732</cx:pt>
          <cx:pt idx="1543">4.1469916222391472</cx:pt>
          <cx:pt idx="1544">3.5415079969535417</cx:pt>
          <cx:pt idx="1545">3.6610814927646609</cx:pt>
          <cx:pt idx="1546">3.5384615384615383</cx:pt>
          <cx:pt idx="1547">3.1188118811881189</cx:pt>
          <cx:pt idx="1548">3.8046458492003046</cx:pt>
          <cx:pt idx="1549">3.2943640517897945</cx:pt>
          <cx:pt idx="1550">2.9611576542269611</cx:pt>
          <cx:pt idx="1551">3.5079969535415079</cx:pt>
          <cx:pt idx="1552">3.4569687738004569</cx:pt>
          <cx:pt idx="1553">3.2044935262757046</cx:pt>
          <cx:pt idx="1554">3.671934501142422</cx:pt>
          <cx:pt idx="1555">3.7486671744097486</cx:pt>
          <cx:pt idx="1556">3.6367098248286367</cx:pt>
          <cx:pt idx="1557">3.6654607768469156</cx:pt>
          <cx:pt idx="1558">3.3798552932216297</cx:pt>
          <cx:pt idx="1559">3.7081111957349582</cx:pt>
          <cx:pt idx="1560">3.3998476770754</cx:pt>
          <cx:pt idx="1561">2.8789032749428789</cx:pt>
          <cx:pt idx="1562">3.4495430312261997</cx:pt>
          <cx:pt idx="1563">3.6176694592536176</cx:pt>
          <cx:pt idx="1564">3.722772277227723</cx:pt>
          <cx:pt idx="1565">3.0129474485910128</cx:pt>
          <cx:pt idx="1566">3.1073876618431076</cx:pt>
          <cx:pt idx="1567">3.4133663366336635</cx:pt>
          <cx:pt idx="1568">3.2079207920792081</cx:pt>
          <cx:pt idx="1569">3.6085300837776084</cx:pt>
          <cx:pt idx="1570">3.6905940594059405</cx:pt>
          <cx:pt idx="1571">3.6024371667936026</cx:pt>
          <cx:pt idx="1572">3.4348819497334349</cx:pt>
          <cx:pt idx="1573">3.4621096725057119</cx:pt>
          <cx:pt idx="1574">3.8271134805788272</cx:pt>
          <cx:pt idx="1575">3.6024371667936026</cx:pt>
          <cx:pt idx="1576">3.2387661843107387</cx:pt>
          <cx:pt idx="1577">3.6374714394516374</cx:pt>
          <cx:pt idx="1578">3.4912414318354914</cx:pt>
          <cx:pt idx="1579">3.414889565879665</cx:pt>
          <cx:pt idx="1580">4.0150418888042649</cx:pt>
          <cx:pt idx="1581">3.4516374714394518</cx:pt>
          <cx:pt idx="1582">3.1165270373191167</cx:pt>
          <cx:pt idx="1583">3.4516374714394518</cx:pt>
          <cx:pt idx="1584">3.7048743335872047</cx:pt>
          <cx:pt idx="1585">3.7492383853769993</cx:pt>
          <cx:pt idx="1586">3.0912033511043413</cx:pt>
          <cx:pt idx="1587">3.4013709063214015</cx:pt>
          <cx:pt idx="1588">3.3467250571210969</cx:pt>
          <cx:pt idx="1589">3.8889946686976389</cx:pt>
          <cx:pt idx="1590">3.9584920030464583</cx:pt>
          <cx:pt idx="1591">3.4516374714394518</cx:pt>
          <cx:pt idx="1592">3.3008377760853009</cx:pt>
          <cx:pt idx="1593">3.3663366336633662</cx:pt>
          <cx:pt idx="1594">3.414889565879665</cx:pt>
          <cx:pt idx="1595">3.1881188118811883</cx:pt>
          <cx:pt idx="1596">3.4101294744859101</cx:pt>
          <cx:pt idx="1597">3.5995811119573498</cx:pt>
          <cx:pt idx="1598">3.6671744097486672</cx:pt>
          <cx:pt idx="1599">3.824828636709825</cx:pt>
          <cx:pt idx="1600">4.0150418888042649</cx:pt>
          <cx:pt idx="1601">3.7661843107387662</cx:pt>
          <cx:pt idx="1602">3.4786747905559787</cx:pt>
          <cx:pt idx="1603">3.0495049504950495</cx:pt>
          <cx:pt idx="1604">3.5925361766945927</cx:pt>
          <cx:pt idx="1605">3.2574257425742572</cx:pt>
          <cx:pt idx="1606">3.5856816450875857</cx:pt>
          <cx:pt idx="1607">3.2301980198019802</cx:pt>
          <cx:pt idx="1608">3.1349961919268852</cx:pt>
          <cx:pt idx="1609">3.6380426504188881</cx:pt>
          <cx:pt idx="1610">4.071591774562072</cx:pt>
          <cx:pt idx="1611">3.6039603960396041</cx:pt>
          <cx:pt idx="1612">4.0213252094440213</cx:pt>
          <cx:pt idx="1613">3.4529702970297032</cx:pt>
          <cx:pt idx="1614">3.9708682406702209</cx:pt>
          <cx:pt idx="1615">3.6123381568926125</cx:pt>
          <cx:pt idx="1616">3.4175552170601677</cx:pt>
          <cx:pt idx="1617">3.166793602437167</cx:pt>
          <cx:pt idx="1618">3.4543031226199541</cx:pt>
          <cx:pt idx="1619">3.3267326732673266</cx:pt>
          <cx:pt idx="1620">3.4516374714394518</cx:pt>
          <cx:pt idx="1621">3.4912414318354914</cx:pt>
          <cx:pt idx="1622">4.0936785986290936</cx:pt>
          <cx:pt idx="1623">3.5249428789032748</cx:pt>
          <cx:pt idx="1624">3.0445544554455446</cx:pt>
          <cx:pt idx="1625">3.8122619954303123</cx:pt>
          <cx:pt idx="1626">3.4952399086062451</cx:pt>
          <cx:pt idx="1627">3.5415079969535417</cx:pt>
          <cx:pt idx="1628">3.0662604722010665</cx:pt>
          <cx:pt idx="1629">3.5866336633663365</cx:pt>
          <cx:pt idx="1630">3.5129474485910128</cx:pt>
          <cx:pt idx="1631">3.8076923076923075</cx:pt>
          <cx:pt idx="1632">3.0456968773800459</cx:pt>
          <cx:pt idx="1633">3.1706016755521707</cx:pt>
          <cx:pt idx="1634">3.7699923838537699</cx:pt>
          <cx:pt idx="1635">3.3644325971058646</cx:pt>
          <cx:pt idx="1636">3.1805026656511806</cx:pt>
          <cx:pt idx="1637">3.2932216298552932</cx:pt>
          <cx:pt idx="1638">3.6610814927646609</cx:pt>
          <cx:pt idx="1639">3.5300837776085299</cx:pt>
          <cx:pt idx="1640">2.8531987814166033</cx:pt>
          <cx:pt idx="1641">3.8842345773038844</cx:pt>
          <cx:pt idx="1642">3.700875856816451</cx:pt>
          <cx:pt idx="1643">2.8415841584158414</cx:pt>
          <cx:pt idx="1644">3.700875856816451</cx:pt>
          <cx:pt idx="1645">2.8604341203351105</cx:pt>
          <cx:pt idx="1646">3.2206778370144709</cx:pt>
          <cx:pt idx="1647">3.2216298552932217</cx:pt>
          <cx:pt idx="1648">3.1765041888804264</cx:pt>
          <cx:pt idx="1649">3.006854531607007</cx:pt>
          <cx:pt idx="1650">3.1226199543031226</cx:pt>
          <cx:pt idx="1651">3.7509520182787508</cx:pt>
          <cx:pt idx="1652">3.5860624523990863</cx:pt>
          <cx:pt idx="1653">3.3412033511043413</cx:pt>
          <cx:pt idx="1654">3.2421934501142422</cx:pt>
          <cx:pt idx="1655">3.392993145468393</cx:pt>
          <cx:pt idx="1656">3.2747524752475248</cx:pt>
          <cx:pt idx="1657">3.153084539223153</cx:pt>
          <cx:pt idx="1658">3.0479817212490481</cx:pt>
          <cx:pt idx="1659">3.7307692307692308</cx:pt>
          <cx:pt idx="1660">3.5826351865955828</cx:pt>
          <cx:pt idx="1661">3.8779512566641281</cx:pt>
          <cx:pt idx="1662">3.4175552170601677</cx:pt>
          <cx:pt idx="1663">3.1881188118811883</cx:pt>
          <cx:pt idx="1664">3.5034272658035035</cx:pt>
          <cx:pt idx="1665">3.7528560548362528</cx:pt>
          <cx:pt idx="1666">3.7492383853769993</cx:pt>
          <cx:pt idx="1667">3.7111576542269611</cx:pt>
          <cx:pt idx="1668">3.472962680883473</cx:pt>
          <cx:pt idx="1669">3.7014470677837013</cx:pt>
          <cx:pt idx="1670">3.3648134044173648</cx:pt>
          <cx:pt idx="1671">3.472962680883473</cx:pt>
          <cx:pt idx="1672">3.0159939070830162</cx:pt>
          <cx:pt idx="1673">3.1858339680121857</cx:pt>
          <cx:pt idx="1674">3.460967250571211</cx:pt>
          <cx:pt idx="1675">3.8779512566641281</cx:pt>
          <cx:pt idx="1676">3.3101675552170602</cx:pt>
          <cx:pt idx="1677">3.5925361766945927</cx:pt>
          <cx:pt idx="1678">3.7319116527037317</cx:pt>
          <cx:pt idx="1679">3.7319116527037317</cx:pt>
          <cx:pt idx="1680">3.4306930693069306</cx:pt>
          <cx:pt idx="1681">3.5437928408225439</cx:pt>
          <cx:pt idx="1682">3.7111576542269611</cx:pt>
          <cx:pt idx="1683">3.1607006854531607</cx:pt>
          <cx:pt idx="1684">3.9613480578827112</cx:pt>
          <cx:pt idx="1685">3.0645468392993145</cx:pt>
          <cx:pt idx="1686">3.3107387661843108</cx:pt>
          <cx:pt idx="1687">3.0948210205635949</cx:pt>
          <cx:pt idx="1688">3.6386138613861387</cx:pt>
          <cx:pt idx="1689">3.5415079969535417</cx:pt>
          <cx:pt idx="1690">2.8762376237623761</cx:pt>
          <cx:pt idx="1691">3.6191926884996191</cx:pt>
          <cx:pt idx="1692">3.1519421172886521</cx:pt>
          <cx:pt idx="1693">3.6759329779131757</cx:pt>
          <cx:pt idx="1694">3.777227722772277</cx:pt>
          <cx:pt idx="1695">3.107006854531607</cx:pt>
          <cx:pt idx="1696">3.6176694592536176</cx:pt>
          <cx:pt idx="1697">3.8118811881188117</cx:pt>
          <cx:pt idx="1698">3.2395277989337394</cx:pt>
          <cx:pt idx="1699">3.4683929931454682</cx:pt>
          <cx:pt idx="1700">3.4843869002284844</cx:pt>
          <cx:pt idx="1701">3.7837014470677839</cx:pt>
          <cx:pt idx="1702">3.5453160700685453</cx:pt>
          <cx:pt idx="1703">3.0382711348057883</cx:pt>
          <cx:pt idx="1704">3.0159939070830162</cx:pt>
          <cx:pt idx="1705">3.3343488194973343</cx:pt>
          <cx:pt idx="1706">3.3747143945163747</cx:pt>
          <cx:pt idx="1707">3.1559405940594059</cx:pt>
          <cx:pt idx="1708">3.0708301599390708</cx:pt>
          <cx:pt idx="1709">3.5634044173648136</cx:pt>
          <cx:pt idx="1710">3.2581873571972584</cx:pt>
          <cx:pt idx="1711">3.6500380807311501</cx:pt>
          <cx:pt idx="1712">3.1616527037319115</cx:pt>
          <cx:pt idx="1713">3.4883853769992386</cx:pt>
          <cx:pt idx="1714">3.4683929931454682</cx:pt>
          <cx:pt idx="1715">3.6772658035034271</cx:pt>
          <cx:pt idx="1716">3.4908606245239908</cx:pt>
          <cx:pt idx="1717">3.1923076923076925</cx:pt>
          <cx:pt idx="1718">3.1881188118811883</cx:pt>
          <cx:pt idx="1719">2.9617288651942117</cx:pt>
          <cx:pt idx="1720">3.9708682406702209</cx:pt>
          <cx:pt idx="1721">3.2597105864432598</cx:pt>
          <cx:pt idx="1722">3.6945925361766947</cx:pt>
          <cx:pt idx="1723">4.0632140137090635</cx:pt>
          <cx:pt idx="1724">3.1519421172886521</cx:pt>
          <cx:pt idx="1725">3.0464584920030466</cx:pt>
          <cx:pt idx="1726">3.700875856816451</cx:pt>
          <cx:pt idx="1727">2.913175932977913</cx:pt>
          <cx:pt idx="1728">3.6694592536176693</cx:pt>
          <cx:pt idx="1729">4.5782559025133285</cx:pt>
          <cx:pt idx="1730">4.5057121096725057</cx:pt>
          <cx:pt idx="1731">4.3929931454683926</cx:pt>
          <cx:pt idx="1732">4.2326732673267324</cx:pt>
          <cx:pt idx="1733">4.3762376237623766</cx:pt>
          <cx:pt idx="1734">4.3663366336633667</cx:pt>
          <cx:pt idx="1735">4.5961538461538458</cx:pt>
          <cx:pt idx="1736">4.4782939832444786</cx:pt>
          <cx:pt idx="1737">4.3771896420411274</cx:pt>
          <cx:pt idx="1738">4.1797410510281798</cx:pt>
          <cx:pt idx="1739">4.2145849200304646</cx:pt>
          <cx:pt idx="1740">4.1964965727341967</cx:pt>
          <cx:pt idx="1741">4.5057121096725057</cx:pt>
          <cx:pt idx="1742">4.3733815689261233</cx:pt>
          <cx:pt idx="1743">4.4935262757044931</cx:pt>
          <cx:pt idx="1744">4.0396039603960396</cx:pt>
          <cx:pt idx="1745">4.3771896420411274</cx:pt>
          <cx:pt idx="1746">4.1060548362528557</cx:pt>
          <cx:pt idx="1747">4.0761614623000764</cx:pt>
          <cx:pt idx="1748">4.6871667936024375</cx:pt>
          <cx:pt idx="1749">4.658225437928408</cx:pt>
          <cx:pt idx="1750">4.498286367098248</cx:pt>
          <cx:pt idx="1751">4.2269611576542268</cx:pt>
          <cx:pt idx="1752">4.6416603198781416</cx:pt>
          <cx:pt idx="1753">4.4322162985529321</cx:pt>
          <cx:pt idx="1754">4.1186214775323684</cx:pt>
          <cx:pt idx="1755">4.3960396039603964</cx:pt>
          <cx:pt idx="1756">4.2406702208682407</cx:pt>
          <cx:pt idx="1757">4.3983244478293981</cx:pt>
          <cx:pt idx="1758">4.5382711348057887</cx:pt>
          <cx:pt idx="1759">4.35034272658035</cx:pt>
          <cx:pt idx="1760">4.0156130997715156</cx:pt>
          <cx:pt idx="1761">4.3792840822543795</cx:pt>
          <cx:pt idx="1762">4.3320639756283317</cx:pt>
          <cx:pt idx="1763">4.2479055597867479</cx:pt>
          <cx:pt idx="1764">4.4615384615384617</cx:pt>
          <cx:pt idx="1765">4.4752475247524757</cx:pt>
          <cx:pt idx="1766">4.498286367098248</cx:pt>
          <cx:pt idx="1767">4.5382711348057887</cx:pt>
          <cx:pt idx="1768">4.1001523229246004</cx:pt>
          <cx:pt idx="1769">4.3412033511043413</cx:pt>
          <cx:pt idx="1770">4.2789413556740286</cx:pt>
          <cx:pt idx="1771">4.3412033511043413</cx:pt>
          <cx:pt idx="1772">4.6382330540746386</cx:pt>
          <cx:pt idx="1773">3.2920792079207919</cx:pt>
          <cx:pt idx="1774">2.8531987814166033</cx:pt>
          <cx:pt idx="1775">3.3099771515613101</cx:pt>
          <cx:pt idx="1776">3.0841584158415842</cx:pt>
          <cx:pt idx="1777">3.3587204874333589</cx:pt>
          <cx:pt idx="1778">3.4653465346534653</cx:pt>
          <cx:pt idx="1779">4.0030464584920029</cx:pt>
          <cx:pt idx="1780">3.4543031226199541</cx:pt>
          <cx:pt idx="1781">3.5974866717440976</cx:pt>
          <cx:pt idx="1782">3.1132901751713633</cx:pt>
          <cx:pt idx="1783">3.3101675552170602</cx:pt>
          <cx:pt idx="1784">3.1766945925361765</cx:pt>
          <cx:pt idx="1785">3.5060929169840063</cx:pt>
          <cx:pt idx="1786">3.1011043412033512</cx:pt>
          <cx:pt idx="1787">3.6433739527798932</cx:pt>
          <cx:pt idx="1788">3.2747524752475248</cx:pt>
          <cx:pt idx="1789">3.4516374714394518</cx:pt>
          <cx:pt idx="1790">3.6085300837776084</cx:pt>
          <cx:pt idx="1791">3.1180502665651182</cx:pt>
          <cx:pt idx="1792">3.4878141660319879</cx:pt>
          <cx:pt idx="1793">3.3345392231530844</cx:pt>
          <cx:pt idx="1794">3.2633282559025134</cx:pt>
          <cx:pt idx="1795">4.1127189642041131</cx:pt>
          <cx:pt idx="1796">3.2692307692307692</cx:pt>
          <cx:pt idx="1797">3.8347296268088349</cx:pt>
          <cx:pt idx="1798">3.3101675552170602</cx:pt>
          <cx:pt idx="1799">3.3015993907083017</cx:pt>
          <cx:pt idx="1800">3.2366717440974866</cx:pt>
          <cx:pt idx="1801">3.1707920792079207</cx:pt>
          <cx:pt idx="1802">2.9196496572734199</cx:pt>
          <cx:pt idx="1803">3.4908606245239908</cx:pt>
          <cx:pt idx="1804">3.6123381568926125</cx:pt>
          <cx:pt idx="1805">3.1028179741051027</cx:pt>
          <cx:pt idx="1806">3.853769992383854</cx:pt>
          <cx:pt idx="1807">3.3724295506473725</cx:pt>
          <cx:pt idx="1808">4.0365575019040367</cx:pt>
          <cx:pt idx="1809">3.392993145468393</cx:pt>
          <cx:pt idx="1810">3.4455445544554455</cx:pt>
          <cx:pt idx="1811">3.3998476770754</cx:pt>
          <cx:pt idx="1812">3.2631378522467633</cx:pt>
          <cx:pt idx="1813">3.7539984767707542</cx:pt>
          <cx:pt idx="1814">2.8103579588728103</cx:pt>
          <cx:pt idx="1815">3.5472201066260474</cx:pt>
          <cx:pt idx="1816">4.0632140137090635</cx:pt>
          <cx:pt idx="1817">3.6759329779131757</cx:pt>
          <cx:pt idx="1818">3.4333587204874334</cx:pt>
          <cx:pt idx="1819">4.0555978674790554</cx:pt>
          <cx:pt idx="1820">2.7760853008377762</cx:pt>
          <cx:pt idx="1821">3.0129474485910128</cx:pt>
          <cx:pt idx="1822">3.8998476770754</cx:pt>
          <cx:pt idx="1823">3.0601675552170602</cx:pt>
          <cx:pt idx="1824">3.2692307692307692</cx:pt>
          <cx:pt idx="1825">3.2932216298552932</cx:pt>
          <cx:pt idx="1826">4.0447448591012947</cx:pt>
          <cx:pt idx="1827">3.418126428027418</cx:pt>
          <cx:pt idx="1828">3.5186595582635185</cx:pt>
          <cx:pt idx="1829">3.5060929169840063</cx:pt>
          <cx:pt idx="1830">3.2555217060167556</cx:pt>
          <cx:pt idx="1831">3.2555217060167556</cx:pt>
          <cx:pt idx="1832">3.0388423457730389</cx:pt>
          <cx:pt idx="1833">3.3101675552170602</cx:pt>
          <cx:pt idx="1834">3.1348057882711347</cx:pt>
          <cx:pt idx="1835">3.2964584920030466</cx:pt>
          <cx:pt idx="1836">3.523800456968774</cx:pt>
          <cx:pt idx="1837">3.2505712109672507</cx:pt>
          <cx:pt idx="1838">3.5224676313785226</cx:pt>
          <cx:pt idx="1839">3.5437928408225439</cx:pt>
          <cx:pt idx="1840">3.3773800456968774</cx:pt>
          <cx:pt idx="1841">3.1873571972581876</cx:pt>
          <cx:pt idx="1842">3.0382711348057883</cx:pt>
          <cx:pt idx="1843">3.4472581873571975</cx:pt>
          <cx:pt idx="1844">3.9482102056359483</cx:pt>
          <cx:pt idx="1845">3.824828636709825</cx:pt>
          <cx:pt idx="1846">3.7505712109672507</cx:pt>
          <cx:pt idx="1847">3.2387661843107387</cx:pt>
          <cx:pt idx="1848">3.153084539223153</cx:pt>
          <cx:pt idx="1849">3.7442878903274943</cx:pt>
          <cx:pt idx="1850">2.8377760853008378</cx:pt>
          <cx:pt idx="1851">3.9185072353389185</cx:pt>
          <cx:pt idx="1852">3.7281035795887281</cx:pt>
          <cx:pt idx="1853">3.2747524752475248</cx:pt>
          <cx:pt idx="1854">3.3724295506473725</cx:pt>
          <cx:pt idx="1855">3.1519421172886521</cx:pt>
          <cx:pt idx="1856">3.153084539223153</cx:pt>
          <cx:pt idx="1857">3.3240670220868243</cx:pt>
          <cx:pt idx="1858">3.136138613861386</cx:pt>
          <cx:pt idx="1859">3.2757044935262756</cx:pt>
          <cx:pt idx="1860">3.5186595582635185</cx:pt>
          <cx:pt idx="1861">3.6176694592536176</cx:pt>
          <cx:pt idx="1862">3.328255902513328</cx:pt>
          <cx:pt idx="1863">3.0997715156130998</cx:pt>
          <cx:pt idx="1864">3.2758948971820261</cx:pt>
          <cx:pt idx="1865">3.700875856816451</cx:pt>
          <cx:pt idx="1866">3.1473724295506473</cx:pt>
          <cx:pt idx="1867">3.4455445544554455</cx:pt>
          <cx:pt idx="1868">3.4386900228484385</cx:pt>
          <cx:pt idx="1869">3.3661462300076161</cx:pt>
          <cx:pt idx="1870">2.9040365575019038</cx:pt>
          <cx:pt idx="1871">3.3339680121858342</cx:pt>
          <cx:pt idx="1872">3.700875856816451</cx:pt>
          <cx:pt idx="1873">3.5415079969535417</cx:pt>
          <cx:pt idx="1874">3.9207920792079207</cx:pt>
          <cx:pt idx="1875">3.0502665651180503</cx:pt>
          <cx:pt idx="1876">3.3987052551408987</cx:pt>
          <cx:pt idx="1877">3.9116527037319115</cx:pt>
          <cx:pt idx="1878">3.5079969535415079</cx:pt>
          <cx:pt idx="1879">3.9017517136329016</cx:pt>
          <cx:pt idx="1880">3.9847677075399845</cx:pt>
          <cx:pt idx="1881">4.0864432597105864</cx:pt>
          <cx:pt idx="1882">3.8830921553693831</cx:pt>
          <cx:pt idx="1883">2.9398324447829398</cx:pt>
          <cx:pt idx="1884">3.7185833968012187</cx:pt>
          <cx:pt idx="1885">3.5416984006092918</cx:pt>
          <cx:pt idx="1886">3.0784463061690786</cx:pt>
          <cx:pt idx="1887">4.071591774562072</cx:pt>
          <cx:pt idx="1888">2.8531987814166033</cx:pt>
          <cx:pt idx="1889">3.3467250571210969</cx:pt>
          <cx:pt idx="1890">3.7509520182787508</cx:pt>
          <cx:pt idx="1891">2.7418126428027416</cx:pt>
          <cx:pt idx="1892">3.1507996953541508</cx:pt>
          <cx:pt idx="1893">3.4683929931454682</cx:pt>
          <cx:pt idx="1894">2.9982863670982485</cx:pt>
          <cx:pt idx="1895">3.2319116527037317</cx:pt>
          <cx:pt idx="1896">3.937166793602437</cx:pt>
          <cx:pt idx="1897">3.2338156892612338</cx:pt>
          <cx:pt idx="1898">3.6568926123381571</cx:pt>
          <cx:pt idx="1899">3.9523990860624525</cx:pt>
          <cx:pt idx="1900">3.5689261233815688</cx:pt>
          <cx:pt idx="1901">3.823115003808073</cx:pt>
          <cx:pt idx="1902">2.8728103579588726</cx:pt>
          <cx:pt idx="1903">2.9550647372429553</cx:pt>
          <cx:pt idx="1904">3.5060929169840063</cx:pt>
          <cx:pt idx="1905">3.0548362528560546</cx:pt>
          <cx:pt idx="1906">3.6557501904036558</cx:pt>
          <cx:pt idx="1907">3.3960396039603959</cx:pt>
          <cx:pt idx="1908">3.6557501904036558</cx:pt>
          <cx:pt idx="1909">3.7837014470677839</cx:pt>
          <cx:pt idx="1910">3.4653465346534653</cx:pt>
          <cx:pt idx="1911">3.9396420411271897</cx:pt>
          <cx:pt idx="1912">3.5354150799695354</cx:pt>
          <cx:pt idx="1913">4.1127189642041131</cx:pt>
          <cx:pt idx="1914">3.0148514851485149</cx:pt>
          <cx:pt idx="1915">4.0262757044935267</cx:pt>
          <cx:pt idx="1916">3.8642421934501141</cx:pt>
          <cx:pt idx="1917">4.4554455445544559</cx:pt>
          <cx:pt idx="1918">4.1060548362528557</cx:pt>
          <cx:pt idx="1919">4.4518278750952014</cx:pt>
          <cx:pt idx="1920">4.5833968012185835</cx:pt>
          <cx:pt idx="1921">4.2079207920792081</cx:pt>
          <cx:pt idx="1922">4.5696877380045695</cx:pt>
          <cx:pt idx="1923">4.1924980959634421</cx:pt>
          <cx:pt idx="1924">4.4280274181264279</cx:pt>
          <cx:pt idx="1925">4.210967250571211</cx:pt>
          <cx:pt idx="1926">4.3792840822543795</cx:pt>
          <cx:pt idx="1927">4.2406702208682407</cx:pt>
          <cx:pt idx="1928">4.6336633663366333</cx:pt>
          <cx:pt idx="1929">4.35034272658035</cx:pt>
          <cx:pt idx="1930">4.4108910891089108</cx:pt>
          <cx:pt idx="1931">4.6138613861386135</cx:pt>
          <cx:pt idx="1932">4.3137852246763142</cx:pt>
          <cx:pt idx="1933">4.7381949733434885</cx:pt>
          <cx:pt idx="1934">4.3869002284843868</cx:pt>
          <cx:pt idx="1935">4.4038461538461542</cx:pt>
          <cx:pt idx="1936">4.204112718964204</cx:pt>
          <cx:pt idx="1937">4.3983244478293981</cx:pt>
          <cx:pt idx="1938">4.4950495049504955</cx:pt>
          <cx:pt idx="1939">4.353769992383854</cx:pt>
          <cx:pt idx="1940">4.3217821782178216</cx:pt>
          <cx:pt idx="1941">4.2663747143945168</cx:pt>
          <cx:pt idx="1942">4.057882711348058</cx:pt>
          <cx:pt idx="1943">4.5</cx:pt>
          <cx:pt idx="1944">4.6930693069306928</cx:pt>
          <cx:pt idx="1945">4.4325971058644322</cx:pt>
          <cx:pt idx="1946">4.4108910891089108</cx:pt>
          <cx:pt idx="1947">4.1610814927646613</cx:pt>
          <cx:pt idx="1948">4.7781797410510283</cx:pt>
          <cx:pt idx="1949">4.6871667936024375</cx:pt>
          <cx:pt idx="1950">4.5057121096725057</cx:pt>
          <cx:pt idx="1951">4.06987814166032</cx:pt>
          <cx:pt idx="1952">4.1858339680121857</cx:pt>
          <cx:pt idx="1953">4.2223914699162224</cx:pt>
          <cx:pt idx="1954">4.5316070068545313</cx:pt>
          <cx:pt idx="1955">4.615384615384615</cx:pt>
          <cx:pt idx="1956">4.4615384615384617</cx:pt>
          <cx:pt idx="1957">4.5346534653465342</cx:pt>
          <cx:pt idx="1958">4.1797410510281798</cx:pt>
          <cx:pt idx="1959">4.4935262757044931</cx:pt>
          <cx:pt idx="1960">4.3050266565118047</cx:pt>
          <cx:pt idx="1961">4.0632140137090635</cx:pt>
          <cx:pt idx="1962">3.4364051789794363</cx:pt>
          <cx:pt idx="1963">3.6862147753236862</cx:pt>
          <cx:pt idx="1964">3.222772277227723</cx:pt>
          <cx:pt idx="1965">3.2044935262757046</cx:pt>
          <cx:pt idx="1966">3.8969916222391472</cx:pt>
          <cx:pt idx="1967">3.346915460776847</cx:pt>
          <cx:pt idx="1968">3.1439451637471438</cx:pt>
          <cx:pt idx="1969">3.3457730388423457</cx:pt>
          <cx:pt idx="1970">3.7128712871287131</cx:pt>
          <cx:pt idx="1971">3.0811119573495813</cx:pt>
          <cx:pt idx="1972">3.1765041888804264</cx:pt>
          <cx:pt idx="1973">3.5814927646610815</cx:pt>
          <cx:pt idx="1974">3.1132901751713633</cx:pt>
          <cx:pt idx="1975">3.6572734196496572</cx:pt>
          <cx:pt idx="1976">3.7442878903274943</cx:pt>
          <cx:pt idx="1977">3.0102817974105105</cx:pt>
          <cx:pt idx="1978">3.0750190403655751</cx:pt>
          <cx:pt idx="1979">3.1683168316831685</cx:pt>
          <cx:pt idx="1980">3.3404417364813406</cx:pt>
          <cx:pt idx="1981">3.3792840822543795</cx:pt>
          <cx:pt idx="1982">3.7599009900990099</cx:pt>
          <cx:pt idx="1983">3.4495430312261997</cx:pt>
          <cx:pt idx="1984">3.3467250571210969</cx:pt>
          <cx:pt idx="1985">3.8779512566641281</cx:pt>
          <cx:pt idx="1986">3.2574257425742572</cx:pt>
          <cx:pt idx="1987">3.2536176694592536</cx:pt>
          <cx:pt idx="1988">3.0026656511805028</cx:pt>
          <cx:pt idx="1989">3.2936024371667938</cx:pt>
          <cx:pt idx="1990">2.7760853008377762</cx:pt>
          <cx:pt idx="1991">2.9398324447829398</cx:pt>
          <cx:pt idx="1992">3.3412033511043413</cx:pt>
          <cx:pt idx="1993">2.9588728103579589</cx:pt>
          <cx:pt idx="1994">4.1469916222391472</cx:pt>
          <cx:pt idx="1995">3.7014470677837013</cx:pt>
          <cx:pt idx="1996">3.5643564356435644</cx:pt>
          <cx:pt idx="1997">3.5041888804265042</cx:pt>
          <cx:pt idx="1998">3.4883853769992386</cx:pt>
          <cx:pt idx="1999">3.2854150799695354</cx:pt>
          <cx:pt idx="2000">3.9523990860624525</cx:pt>
          <cx:pt idx="2001">3.1226199543031226</cx:pt>
          <cx:pt idx="2002">3.6024371667936026</cx:pt>
          <cx:pt idx="2003">3.5449352627570447</cx:pt>
          <cx:pt idx="2004">3.4192688499619193</cx:pt>
          <cx:pt idx="2005">3.6900228484386899</cx:pt>
          <cx:pt idx="2006">3.3568164508758569</cx:pt>
          <cx:pt idx="2007">2.8223533891850723</cx:pt>
          <cx:pt idx="2008">2.9246001523229248</cx:pt>
          <cx:pt idx="2009">2.9611576542269611</cx:pt>
          <cx:pt idx="2010">2.9965727341964965</cx:pt>
          <cx:pt idx="2011">3.7442878903274943</cx:pt>
          <cx:pt idx="2012">3.2406702208682407</cx:pt>
          <cx:pt idx="2013">3.4859101294744859</cx:pt>
          <cx:pt idx="2014">3.5615003808073116</cx:pt>
          <cx:pt idx="2015">3.5034272658035035</cx:pt>
          <cx:pt idx="2016">3.5814927646610815</cx:pt>
          <cx:pt idx="2017">3.7539984767707542</cx:pt>
          <cx:pt idx="2018">3.2536176694592536</cx:pt>
          <cx:pt idx="2019">3.2871287128712869</cx:pt>
          <cx:pt idx="2020">3.3846153846153846</cx:pt>
          <cx:pt idx="2021">3.302932216298553</cx:pt>
          <cx:pt idx="2022">3.9603960396039604</cx:pt>
          <cx:pt idx="2023">3.4146991622239149</cx:pt>
          <cx:pt idx="2024">3.166793602437167</cx:pt>
          <cx:pt idx="2025">3.5519801980198018</cx:pt>
          <cx:pt idx="2026">4.1507996953541504</cx:pt>
          <cx:pt idx="2027">3.3568164508758569</cx:pt>
          <cx:pt idx="2028">3.4348819497334349</cx:pt>
          <cx:pt idx="2029">3.1332825590251332</cx:pt>
          <cx:pt idx="2030">3.4400228484386899</cx:pt>
          <cx:pt idx="2031">3.7654226961157655</cx:pt>
          <cx:pt idx="2032">3.9375476009139376</cx:pt>
          <cx:pt idx="2033">3.5384615384615383</cx:pt>
          <cx:pt idx="2034">3.3313023610053314</cx:pt>
          <cx:pt idx="2035">3.6477532368621479</cx:pt>
          <cx:pt idx="2036">3.0845392231530844</cx:pt>
          <cx:pt idx="2037">3.1538461538461537</cx:pt>
          <cx:pt idx="2038">2.9920030464584921</cx:pt>
          <cx:pt idx="2039">2.9868621477532367</cx:pt>
          <cx:pt idx="2040">3.0342726580350341</cx:pt>
          <cx:pt idx="2041">3.153084539223153</cx:pt>
          <cx:pt idx="2042">3.4786747905559787</cx:pt>
          <cx:pt idx="2043">3.0184691546077684</cx:pt>
          <cx:pt idx="2044">3.3339680121858342</cx:pt>
          <cx:pt idx="2045">3.1688880426504187</cx:pt>
          <cx:pt idx="2046">3.9984767707539985</cx:pt>
          <cx:pt idx="2047">3.166793602437167</cx:pt>
          <cx:pt idx="2048">3.392993145468393</cx:pt>
          <cx:pt idx="2049">3.2056359482102055</cx:pt>
          <cx:pt idx="2050">3.1028179741051027</cx:pt>
          <cx:pt idx="2051">3.472962680883473</cx:pt>
          <cx:pt idx="2052">3.3054074638233053</cx:pt>
          <cx:pt idx="2053">3.7599009900990099</cx:pt>
          <cx:pt idx="2054">3.9794364051789795</cx:pt>
          <cx:pt idx="2055">4.0213252094440213</cx:pt>
          <cx:pt idx="2056">2.9817212490479816</cx:pt>
          <cx:pt idx="2057">3.8842345773038844</cx:pt>
          <cx:pt idx="2058">3.028941355674029</cx:pt>
          <cx:pt idx="2059">3.0708301599390708</cx:pt>
          <cx:pt idx="2060">3.527227722772277</cx:pt>
          <cx:pt idx="2061">3.2079207920792081</cx:pt>
          <cx:pt idx="2062">3.3987052551408987</cx:pt>
          <cx:pt idx="2063">3.4192688499619193</cx:pt>
          <cx:pt idx="2064">3.3552932216298554</cx:pt>
          <cx:pt idx="2065">3.5453160700685453</cx:pt>
          <cx:pt idx="2066">3.3244478293983244</cx:pt>
          <cx:pt idx="2067">4.0030464584920029</cx:pt>
          <cx:pt idx="2068">3.4067022086824066</cx:pt>
          <cx:pt idx="2069">3.5460776846915461</cx:pt>
          <cx:pt idx="2070">3.7623762376237622</cx:pt>
          <cx:pt idx="2071">3.3983244478293981</cx:pt>
          <cx:pt idx="2072">3.302932216298553</cx:pt>
          <cx:pt idx="2073">3.0074257425742572</cx:pt>
          <cx:pt idx="2074">3.1559405940594059</cx:pt>
          <cx:pt idx="2075">3.3511043412033512</cx:pt>
          <cx:pt idx="2076">3.0007616146230007</cx:pt>
          <cx:pt idx="2077">3.0500761614623002</cx:pt>
          <cx:pt idx="2078">3.6654607768469156</cx:pt>
          <cx:pt idx="2079">3.6329017517136331</cx:pt>
          <cx:pt idx="2080">2.9394516374714397</cx:pt>
          <cx:pt idx="2081">3.5453160700685453</cx:pt>
          <cx:pt idx="2082">3.1397562833206396</cx:pt>
          <cx:pt idx="2083">2.977913175932978</cx:pt>
          <cx:pt idx="2084">2.817974105102818</cx:pt>
          <cx:pt idx="2085">3.2947448591012947</cx:pt>
          <cx:pt idx="2086">3.1308073115003809</cx:pt>
          <cx:pt idx="2087">2.9108910891089108</cx:pt>
          <cx:pt idx="2088">3.4683929931454682</cx:pt>
          <cx:pt idx="2089">3.8425361766945927</cx:pt>
          <cx:pt idx="2090">3.5415079969535417</cx:pt>
          <cx:pt idx="2091">3.4548743335872047</cx:pt>
          <cx:pt idx="2092">3.0502665651180503</cx:pt>
          <cx:pt idx="2093">3.5277989337395277</cx:pt>
          <cx:pt idx="2094">3.6477532368621479</cx:pt>
          <cx:pt idx="2095">3.3644325971058646</cx:pt>
          <cx:pt idx="2096">3.4289794364051791</cx:pt>
          <cx:pt idx="2097">3.5814927646610815</cx:pt>
          <cx:pt idx="2098">3.4158415841584158</cx:pt>
          <cx:pt idx="2099">3.450875856816451</cx:pt>
          <cx:pt idx="2100">3.3644325971058646</cx:pt>
          <cx:pt idx="2101">3.2574257425742572</cx:pt>
          <cx:pt idx="2102">3.1073876618431076</cx:pt>
          <cx:pt idx="2103">3.6199543031226198</cx:pt>
          <cx:pt idx="2104">3.4036557501904037</cx:pt>
          <cx:pt idx="2105">3.3958492003046459</cx:pt>
          <cx:pt idx="2106">3.4185072353389185</cx:pt>
          <cx:pt idx="2107">3.0327494287890326</cx:pt>
          <cx:pt idx="2108">3.0921553693830921</cx:pt>
          <cx:pt idx="2109">3.511995430312262</cx:pt>
          <cx:pt idx="2110">3.4272658035034271</cx:pt>
          <cx:pt idx="2111">3.5995811119573498</cx:pt>
          <cx:pt idx="2112">3.693830921553694</cx:pt>
          <cx:pt idx="2113">3.5814927646610815</cx:pt>
          <cx:pt idx="2114">3.9893373952779894</cx:pt>
          <cx:pt idx="2115">3.311119573495811</cx:pt>
          <cx:pt idx="2116">3.8933739527798932</cx:pt>
          <cx:pt idx="2117">4.0118050266565115</cx:pt>
          <cx:pt idx="2118">2.9765803503427266</cx:pt>
          <cx:pt idx="2119">3.5437928408225439</cx:pt>
          <cx:pt idx="2120">3.3977532368621479</cx:pt>
          <cx:pt idx="2121">3.5925361766945927</cx:pt>
          <cx:pt idx="2122">3.3960396039603959</cx:pt>
          <cx:pt idx="2123">4.0864432597105864</cx:pt>
          <cx:pt idx="2124">3.2368621477532367</cx:pt>
          <cx:pt idx="2125">3.2581873571972584</cx:pt>
          <cx:pt idx="2126">3.2798933739527798</cx:pt>
          <cx:pt idx="2127">3.0327494287890326</cx:pt>
          <cx:pt idx="2128">3.6191926884996191</cx:pt>
          <cx:pt idx="2129">2.9611576542269611</cx:pt>
          <cx:pt idx="2130">3.0388423457730389</cx:pt>
          <cx:pt idx="2131">3.197067783701447</cx:pt>
          <cx:pt idx="2132">2.7760853008377762</cx:pt>
          <cx:pt idx="2133">3.7699923838537699</cx:pt>
          <cx:pt idx="2134">3.6085300837776084</cx:pt>
          <cx:pt idx="2135">3.8528179741051027</cx:pt>
          <cx:pt idx="2136">3.5689261233815688</cx:pt>
          <cx:pt idx="2137">2.8994668697638994</cx:pt>
          <cx:pt idx="2138">3.2798933739527798</cx:pt>
          <cx:pt idx="2139">3.2943640517897945</cx:pt>
          <cx:pt idx="2140">3.7185833968012187</cx:pt>
          <cx:pt idx="2141">3.555978674790556</cx:pt>
          <cx:pt idx="2142">3.0999619192688499</cx:pt>
          <cx:pt idx="2143">3.2301980198019802</cx:pt>
          <cx:pt idx="2144">3.137852246763138</cx:pt>
          <cx:pt idx="2145">3.7717060167555219</cx:pt>
          <cx:pt idx="2146">3.3568164508758569</cx:pt>
          <cx:pt idx="2147">3.6300456968773802</cx:pt>
          <cx:pt idx="2148">4.0365575019040367</cx:pt>
          <cx:pt idx="2149">3.7319116527037317</cx:pt>
          <cx:pt idx="2150">3.3267326732673266</cx:pt>
          <cx:pt idx="2151">3.4883853769992386</cx:pt>
          <cx:pt idx="2152">3.311119573495811</cx:pt>
          <cx:pt idx="2153">3.8012185833968011</cx:pt>
          <cx:pt idx="2154">3.5281797410510283</cx:pt>
          <cx:pt idx="2155">3.5986290936785985</cx:pt>
          <cx:pt idx="2156">3.2216298552932217</cx:pt>
          <cx:pt idx="2157">3.6176694592536176</cx:pt>
          <cx:pt idx="2158">3.4364051789794363</cx:pt>
          <cx:pt idx="2159">4.0447448591012947</cx:pt>
          <cx:pt idx="2160">3.6905940594059405</cx:pt>
          <cx:pt idx="2161">3.7837014470677839</cx:pt>
          <cx:pt idx="2162">3.3644325971058646</cx:pt>
          <cx:pt idx="2163">3.8012185833968011</cx:pt>
          <cx:pt idx="2164">3.1073876618431076</cx:pt>
          <cx:pt idx="2165">2.9236481340441736</cx:pt>
          <cx:pt idx="2166">3.3267326732673266</cx:pt>
          <cx:pt idx="2167">3.3412033511043413</cx:pt>
          <cx:pt idx="2168">3.6024371667936026</cx:pt>
          <cx:pt idx="2169">3.3587204874333589</cx:pt>
          <cx:pt idx="2170">3.5078065498857578</cx:pt>
          <cx:pt idx="2171">3.4520182787509519</cx:pt>
          <cx:pt idx="2172">3.1873571972581876</cx:pt>
          <cx:pt idx="2173">3.6942117288651941</cx:pt>
          <cx:pt idx="2174">3.3267326732673266</cx:pt>
          <cx:pt idx="2175">3.0456968773800459</cx:pt>
          <cx:pt idx="2176">3.4722010662604723</cx:pt>
          <cx:pt idx="2177">3.6557501904036558</cx:pt>
          <cx:pt idx="2178">4.1507996953541504</cx:pt>
          <cx:pt idx="2179">3.5129474485910128</cx:pt>
          <cx:pt idx="2180">3.0184691546077684</cx:pt>
          <cx:pt idx="2181">3.5626428027418124</cx:pt>
          <cx:pt idx="2182">3.3044554455445545</cx:pt>
          <cx:pt idx="2183">3.2901751713632903</cx:pt>
          <cx:pt idx="2184">4.0447448591012947</cx:pt>
          <cx:pt idx="2185">3.8750952018278753</cx:pt>
          <cx:pt idx="2186">3.511805026656512</cx:pt>
          <cx:pt idx="2187">3.4537319116527039</cx:pt>
          <cx:pt idx="2188">2.9428789032749427</cx:pt>
          <cx:pt idx="2189">2.9920030464584921</cx:pt>
          <cx:pt idx="2190">3.6923076923076925</cx:pt>
          <cx:pt idx="2191">3.6905940594059405</cx:pt>
          <cx:pt idx="2192">3.7677075399847677</cx:pt>
          <cx:pt idx="2193">3.7699923838537699</cx:pt>
          <cx:pt idx="2194">3.1519421172886521</cx:pt>
          <cx:pt idx="2195">3.6671744097486672</cx:pt>
          <cx:pt idx="2196">3.8080731150038081</cx:pt>
          <cx:pt idx="2197">2.971058644325971</cx:pt>
          <cx:pt idx="2198">3.0548362528560546</cx:pt>
          <cx:pt idx="2199">2.9093678598629094</cx:pt>
          <cx:pt idx="2200">3.1770753998476771</cx:pt>
          <cx:pt idx="2201">3.6300456968773802</cx:pt>
          <cx:pt idx="2202">2.9236481340441736</cx:pt>
          <cx:pt idx="2203">3.1349961919268852</cx:pt>
          <cx:pt idx="2204">3.146230007616146</cx:pt>
          <cx:pt idx="2205">3.0912033511043413</cx:pt>
          <cx:pt idx="2206">3.4306930693069306</cx:pt>
          <cx:pt idx="2207">3.9482102056359483</cx:pt>
          <cx:pt idx="2208">3.2467631378522466</cx:pt>
          <cx:pt idx="2209">3.3107387661843108</cx:pt>
          <cx:pt idx="2210">2.857197258187357</cx:pt>
          <cx:pt idx="2211">2.9352627570449354</cx:pt>
          <cx:pt idx="2212">3.472962680883473</cx:pt>
          <cx:pt idx="2213">3.0948210205635949</cx:pt>
          <cx:pt idx="2214">3.993145468392993</cx:pt>
          <cx:pt idx="2215">3.6610814927646609</cx:pt>
          <cx:pt idx="2216">3.693830921553694</cx:pt>
          <cx:pt idx="2217">3.1858339680121857</cx:pt>
          <cx:pt idx="2218">3.5626428027418124</cx:pt>
          <cx:pt idx="2219">3.6610814927646609</cx:pt>
          <cx:pt idx="2220">3.2850342726580348</cx:pt>
          <cx:pt idx="2221">3.527227722772277</cx:pt>
          <cx:pt idx="2222">3.4900990099009901</cx:pt>
          <cx:pt idx="2223">3.5186595582635185</cx:pt>
          <cx:pt idx="2224">3.1188118811881189</cx:pt>
          <cx:pt idx="2225">2.971058644325971</cx:pt>
          <cx:pt idx="2226">3.6384234577303882</cx:pt>
          <cx:pt idx="2227">4.0175171363290172</cx:pt>
          <cx:pt idx="2228">3.3415841584158414</cx:pt>
          <cx:pt idx="2229">2.857197258187357</cx:pt>
          <cx:pt idx="2230">3.5078065498857578</cx:pt>
          <cx:pt idx="2231">3.7322924600152323</cx:pt>
          <cx:pt idx="2232">3.8659558263518661</cx:pt>
          <cx:pt idx="2233">3.2404798172124907</cx:pt>
          <cx:pt idx="2234">3.3267326732673266</cx:pt>
          <cx:pt idx="2235">3.0658796648895659</cx:pt>
          <cx:pt idx="2236">4.0864432597105864</cx:pt>
          <cx:pt idx="2237">3.5026656511805028</cx:pt>
          <cx:pt idx="2238">3.4900990099009901</cx:pt>
          <cx:pt idx="2239">3.1873571972581876</cx:pt>
          <cx:pt idx="2240">3.578065498857578</cx:pt>
          <cx:pt idx="2241">3.6732673267326734</cx:pt>
          <cx:pt idx="2242">3.0133282559025134</cx:pt>
          <cx:pt idx="2243">3.2197258187357196</cx:pt>
          <cx:pt idx="2244">3.2871287128712869</cx:pt>
          <cx:pt idx="2245">3.1835491241431835</cx:pt>
          <cx:pt idx="2246">3.7764661081492763</cx:pt>
          <cx:pt idx="2247">4.071591774562072</cx:pt>
          <cx:pt idx="2248">3.9664889565879666</cx:pt>
          <cx:pt idx="2249">3.9847677075399845</cx:pt>
          <cx:pt idx="2250">3.6123381568926125</cx:pt>
          <cx:pt idx="2251">3.8385376999238385</cx:pt>
          <cx:pt idx="2252">3.4786747905559787</cx:pt>
          <cx:pt idx="2253">4.8118811881188117</cx:pt>
          <cx:pt idx="2254">4.7549504950495045</cx:pt>
          <cx:pt idx="2255">5.139375476009139</cx:pt>
          <cx:pt idx="2256">4.7410510281797409</cx:pt>
          <cx:pt idx="2257">4.8530083777608528</cx:pt>
          <cx:pt idx="2258">4.9244097486671743</cx:pt>
          <cx:pt idx="2259">5.1884996191926884</cx:pt>
          <cx:pt idx="2260">4.7115384615384617</cx:pt>
          <cx:pt idx="2261">4.5228484386900227</cx:pt>
          <cx:pt idx="2262">4.935262757044935</cx:pt>
          <cx:pt idx="2263">4.6283320639756287</cx:pt>
          <cx:pt idx="2264">4.4714394516374716</cx:pt>
          <cx:pt idx="2265">4.8316831683168315</cx:pt>
          <cx:pt idx="2266">4.6073876618431076</cx:pt>
          <cx:pt idx="2267">5.3396801218583398</cx:pt>
          <cx:pt idx="2268">5.032178217821782</cx:pt>
          <cx:pt idx="2269">4.9044173648134048</cx:pt>
          <cx:pt idx="2270">4.5</cx:pt>
          <cx:pt idx="2271">4.775323686214775</cx:pt>
          <cx:pt idx="2272">4.5616907844630621</cx:pt>
          <cx:pt idx="2273">4.2269611576542268</cx:pt>
          <cx:pt idx="2274">4.7263899466869761</cx:pt>
          <cx:pt idx="2275">5.0142802741812647</cx:pt>
          <cx:pt idx="2276">4.4935262757044931</cx:pt>
          <cx:pt idx="2277">5.3613861386138613</cx:pt>
          <cx:pt idx="2278">4.5769230769230766</cx:pt>
          <cx:pt idx="2279">4.5544554455445541</cx:pt>
          <cx:pt idx="2280">4.2920792079207919</cx:pt>
          <cx:pt idx="2281">4.5057121096725057</cx:pt>
          <cx:pt idx="2282">4.1846915460776843</cx:pt>
          <cx:pt idx="2283">4.8149276466108146</cx:pt>
          <cx:pt idx="2284">4.6648895658796645</cx:pt>
          <cx:pt idx="2285">5.0131378522467633</cx:pt>
          <cx:pt idx="2286">5.0729246001523229</cx:pt>
          <cx:pt idx="2287">4.7410510281797409</cx:pt>
          <cx:pt idx="2288">4.8488194973343486</cx:pt>
          <cx:pt idx="2289">4.7524752475247523</cx:pt>
          <cx:pt idx="2290">5.0992003046458496</cx:pt>
          <cx:pt idx="2291">4.8800456968773798</cx:pt>
          <cx:pt idx="2292">5.056169078446306</cx:pt>
          <cx:pt idx="2293">4.9146991622239149</cx:pt>
          <cx:pt idx="2294">5.122619954303123</cx:pt>
          <cx:pt idx="2295">5.1009139375476007</cx:pt>
          <cx:pt idx="2296">6.7364813404417365</cx:pt>
          <cx:pt idx="2297">6.740765422696116</cx:pt>
          <cx:pt idx="2298">7.5552170601675552</cx:pt>
          <cx:pt idx="2299">7.1287128712871279</cx:pt>
          <cx:pt idx="2300">7.1334729626808837</cx:pt>
          <cx:pt idx="2301">7.1132425742574252</cx:pt>
          <cx:pt idx="2302">6.768849961919269</cx:pt>
          <cx:pt idx="2303">7.5164223153084544</cx:pt>
          <cx:pt idx="2304">7.4771515613099773</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3.4893373952779894</cx:pt>
          <cx:pt idx="2322">3.0502665651180503</cx:pt>
          <cx:pt idx="2323">3.8842345773038844</cx:pt>
          <cx:pt idx="2324">3.7878903274942881</cx:pt>
          <cx:pt idx="2325">3.7281035795887281</cx:pt>
          <cx:pt idx="2326">3.1016755521706019</cx:pt>
          <cx:pt idx="2327">3.5276085300837776</cx:pt>
          <cx:pt idx="2328">3.0445544554455446</cx:pt>
          <cx:pt idx="2329">3.2366717440974866</cx:pt>
          <cx:pt idx="2330">3.7111576542269611</cx:pt>
          <cx:pt idx="2331">3.3099771515613101</cx:pt>
          <cx:pt idx="2332">3.7357197258187358</cx:pt>
          <cx:pt idx="2333">3.0769230769230771</cx:pt>
          <cx:pt idx="2334">3.0672124904798173</cx:pt>
          <cx:pt idx="2335">3.6085300837776084</cx:pt>
          <cx:pt idx="2336">4.1317593297791317</cx:pt>
          <cx:pt idx="2337">3.3821401370906323</cx:pt>
          <cx:pt idx="2338">3.6433739527798932</cx:pt>
          <cx:pt idx="2339">3.6094821020563597</cx:pt>
          <cx:pt idx="2340">3.5415079969535417</cx:pt>
          <cx:pt idx="2341">3.6009139375476007</cx:pt>
          <cx:pt idx="2342">3.4272658035034271</cx:pt>
          <cx:pt idx="2343">3.0479817212490481</cx:pt>
          <cx:pt idx="2344">3.4333587204874334</cx:pt>
          <cx:pt idx="2345">3.5830159939070829</cx:pt>
          <cx:pt idx="2346">3.5639756283320638</cx:pt>
          <cx:pt idx="2347">4.1888804265041886</cx:pt>
          <cx:pt idx="2348">3.2319116527037317</cx:pt>
          <cx:pt idx="2349">3.9116527037319115</cx:pt>
          <cx:pt idx="2350">3.2233434881949732</cx:pt>
          <cx:pt idx="2351">3.4546839299314547</cx:pt>
          <cx:pt idx="2352">3.6500380807311501</cx:pt>
          <cx:pt idx="2353">3.4621096725057119</cx:pt>
          <cx:pt idx="2354">3.153084539223153</cx:pt>
          <cx:pt idx="2355">3.5224676313785226</cx:pt>
          <cx:pt idx="2356">3.2932216298552932</cx:pt>
          <cx:pt idx="2357">3.311119573495811</cx:pt>
          <cx:pt idx="2358">3.3587204874333589</cx:pt>
          <cx:pt idx="2359">3.693830921553694</cx:pt>
          <cx:pt idx="2360">3.4714394516374716</cx:pt>
          <cx:pt idx="2361">3.4364051789794363</cx:pt>
          <cx:pt idx="2362">2.9236481340441736</cx:pt>
          <cx:pt idx="2363">3.4124143183549123</cx:pt>
          <cx:pt idx="2364">2.9908606245239908</cx:pt>
          <cx:pt idx="2365">2.9040365575019038</cx:pt>
          <cx:pt idx="2366">2.9398324447829398</cx:pt>
          <cx:pt idx="2367">2.8531987814166033</cx:pt>
          <cx:pt idx="2368">3.3819497334348818</cx:pt>
          <cx:pt idx="2369">3.7014470677837013</cx:pt>
          <cx:pt idx="2370">2.9428789032749427</cx:pt>
          <cx:pt idx="2371">2.7760853008377762</cx:pt>
          <cx:pt idx="2372">3.3880426504188881</cx:pt>
          <cx:pt idx="2373">3.2003046458492004</cx:pt>
          <cx:pt idx="2374">3.1616527037319115</cx:pt>
          <cx:pt idx="2375">3.6264280274181266</cx:pt>
          <cx:pt idx="2376">3.4451637471439454</cx:pt>
          <cx:pt idx="2377">3.1873571972581876</cx:pt>
          <cx:pt idx="2378">3.8933739527798932</cx:pt>
          <cx:pt idx="2379">3.2366717440974866</cx:pt>
          <cx:pt idx="2380">3.9154607768469156</cx:pt>
          <cx:pt idx="2381">3.6153846153846154</cx:pt>
          <cx:pt idx="2382">3.7136329017517138</cx:pt>
          <cx:pt idx="2383">2.9817212490479816</cx:pt>
          <cx:pt idx="2384">3.6264280274181266</cx:pt>
          <cx:pt idx="2385">3.418126428027418</cx:pt>
          <cx:pt idx="2386">3.8659558263518661</cx:pt>
          <cx:pt idx="2387">3.8301599390708301</cx:pt>
          <cx:pt idx="2388">3.0293221629855291</cx:pt>
          <cx:pt idx="2389">3.7985529322162987</cx:pt>
          <cx:pt idx="2390">2.7760853008377762</cx:pt>
          <cx:pt idx="2391">3.9116527037319115</cx:pt>
          <cx:pt idx="2392">3.0845392231530844</cx:pt>
          <cx:pt idx="2393">2.7875095201827875</cx:pt>
          <cx:pt idx="2394">3.1765041888804264</cx:pt>
          <cx:pt idx="2395">3.5533130236100532</cx:pt>
          <cx:pt idx="2396">3.5437928408225439</cx:pt>
          <cx:pt idx="2397">3.086824067022087</cx:pt>
          <cx:pt idx="2398">3.9708682406702209</cx:pt>
          <cx:pt idx="2399">3.3015993907083017</cx:pt>
          <cx:pt idx="2400">3.7528560548362528</cx:pt>
          <cx:pt idx="2401">3.4185072353389185</cx:pt>
          <cx:pt idx="2402">3.2943640517897945</cx:pt>
          <cx:pt idx="2403">3.4872429550647372</cx:pt>
          <cx:pt idx="2404">3.5060929169840063</cx:pt>
          <cx:pt idx="2405">3.9207920792079207</cx:pt>
          <cx:pt idx="2406">2.8941355674028943</cx:pt>
          <cx:pt idx="2407">3.2850342726580348</cx:pt>
          <cx:pt idx="2408">3.0228484386900227</cx:pt>
          <cx:pt idx="2409">2.977913175932978</cx:pt>
          <cx:pt idx="2410">3.1507996953541508</cx:pt>
          <cx:pt idx="2411">3.7539984767707542</cx:pt>
          <cx:pt idx="2412">3.4133663366336635</cx:pt>
          <cx:pt idx="2413">3.1607006854531607</cx:pt>
          <cx:pt idx="2414">3.1534653465346536</cx:pt>
          <cx:pt idx="2415">3.7123000761614624</cx:pt>
          <cx:pt idx="2416">3.8600533130236099</cx:pt>
          <cx:pt idx="2417">3.9584920030464583</cx:pt>
          <cx:pt idx="2418">3.7492383853769993</cx:pt>
          <cx:pt idx="2419">2.8027418126428025</cx:pt>
          <cx:pt idx="2420">3.6433739527798932</cx:pt>
          <cx:pt idx="2421">2.9982863670982485</cx:pt>
          <cx:pt idx="2422">3.5186595582635185</cx:pt>
          <cx:pt idx="2423">3.1448971820258951</cx:pt>
          <cx:pt idx="2424">3.5095201827875093</cx:pt>
          <cx:pt idx="2425">3.3004569687738003</cx:pt>
          <cx:pt idx="2426">3.7362909367859864</cx:pt>
          <cx:pt idx="2427">3.8438690022848441</cx:pt>
          <cx:pt idx="2428">3.3267326732673266</cx:pt>
          <cx:pt idx="2429">3.7136329017517138</cx:pt>
          <cx:pt idx="2430">2.7722772277227721</cx:pt>
          <cx:pt idx="2431">3.7319116527037317</cx:pt>
          <cx:pt idx="2432">3.6153846153846154</cx:pt>
          <cx:pt idx="2433">3.5472201066260474</cx:pt>
          <cx:pt idx="2434">3.7486671744097486</cx:pt>
          <cx:pt idx="2435">3.1153846153846154</cx:pt>
          <cx:pt idx="2436">3.136138613861386</cx:pt>
          <cx:pt idx="2437">3.9794364051789795</cx:pt>
          <cx:pt idx="2438">3.9413556740289413</cx:pt>
          <cx:pt idx="2439">3.5616907844630616</cx:pt>
          <cx:pt idx="2440">3.472962680883473</cx:pt>
          <cx:pt idx="2441">3.0757806549885758</cx:pt>
          <cx:pt idx="2442">3.0327494287890326</cx:pt>
          <cx:pt idx="2443">2.977913175932978</cx:pt>
          <cx:pt idx="2444">3.4878141660319879</cx:pt>
          <cx:pt idx="2445">4.052741812642803</cx:pt>
          <cx:pt idx="2446">3.2932216298552932</cx:pt>
          <cx:pt idx="2447">3.6831683168316833</cx:pt>
          <cx:pt idx="2448">3.0314166031987813</cx:pt>
          <cx:pt idx="2449">4.0555978674790554</cx:pt>
          <cx:pt idx="2450">3.0841584158415842</cx:pt>
          <cx:pt idx="2451">3.0672124904798173</cx:pt>
        </cx:lvl>
      </cx:numDim>
    </cx:data>
    <cx:data id="6">
      <cx:numDim type="val">
        <cx:f>'Data Repository Table - Raw'!$I$2:$I$2453</cx:f>
        <cx:lvl ptCount="2452" formatCode="0.00">
          <cx:pt idx="0">74.836363636363629</cx:pt>
          <cx:pt idx="1">75.25454545454545</cx:pt>
          <cx:pt idx="2">74.818181818181813</cx:pt>
          <cx:pt idx="3">74.418181818181822</cx:pt>
          <cx:pt idx="4">78.763636363636365</cx:pt>
          <cx:pt idx="5">72.74545454545455</cx:pt>
          <cx:pt idx="6">74.709090909090918</cx:pt>
          <cx:pt idx="7">75.345454545454544</cx:pt>
          <cx:pt idx="8">76.309090909090898</cx:pt>
          <cx:pt idx="9">74.836363636363629</cx:pt>
          <cx:pt idx="10">75.745454545454535</cx:pt>
          <cx:pt idx="11">77.763636363636365</cx:pt>
          <cx:pt idx="12">77.763636363636365</cx:pt>
          <cx:pt idx="13">78.72727272727272</cx:pt>
          <cx:pt idx="14">76.74545454545455</cx:pt>
          <cx:pt idx="15">77.036363636363632</cx:pt>
          <cx:pt idx="16">79.327272727272742</cx:pt>
          <cx:pt idx="17">75.599999999999994</cx:pt>
          <cx:pt idx="18">73.672727272727272</cx:pt>
          <cx:pt idx="19">76.363636363636374</cx:pt>
          <cx:pt idx="20">75.999999999999986</cx:pt>
          <cx:pt idx="21">77.654545454545456</cx:pt>
          <cx:pt idx="22">74.090909090909093</cx:pt>
          <cx:pt idx="23">74.836363636363629</cx:pt>
          <cx:pt idx="24">78.98181818181817</cx:pt>
          <cx:pt idx="25">73.545454545454547</cx:pt>
          <cx:pt idx="26">77.72727272727272</cx:pt>
          <cx:pt idx="27">75.599999999999994</cx:pt>
          <cx:pt idx="28">76.927272727272737</cx:pt>
          <cx:pt idx="29">74.690909090909088</cx:pt>
          <cx:pt idx="30">72.76363636363638</cx:pt>
          <cx:pt idx="31">73.890909090909091</cx:pt>
          <cx:pt idx="32">78.309090909090912</cx:pt>
          <cx:pt idx="33">76.709090909090904</cx:pt>
          <cx:pt idx="34">79.181818181818173</cx:pt>
          <cx:pt idx="35">78.145454545454541</cx:pt>
          <cx:pt idx="36">78.454545454545453</cx:pt>
          <cx:pt idx="37">73.054545454545448</cx:pt>
          <cx:pt idx="38">77.109090909090909</cx:pt>
          <cx:pt idx="39">75.327272727272728</cx:pt>
          <cx:pt idx="40">76.472727272727283</cx:pt>
          <cx:pt idx="41">79.054545454545448</cx:pt>
          <cx:pt idx="42">73.309090909090912</cx:pt>
          <cx:pt idx="43">74.109090909090895</cx:pt>
          <cx:pt idx="44">75.763636363636365</cx:pt>
          <cx:pt idx="45">74.563636363636363</cx:pt>
          <cx:pt idx="46">79.945454545454538</cx:pt>
          <cx:pt idx="47">79.400000000000006</cx:pt>
          <cx:pt idx="48">75.25454545454545</cx:pt>
          <cx:pt idx="49">73.145454545454541</cx:pt>
          <cx:pt idx="50">74.909090909090921</cx:pt>
          <cx:pt idx="51">79.36363636363636</cx:pt>
          <cx:pt idx="52">74.127272727272725</cx:pt>
          <cx:pt idx="53">78.127272727272725</cx:pt>
          <cx:pt idx="54">75.799999999999997</cx:pt>
          <cx:pt idx="55">78.890909090909091</cx:pt>
          <cx:pt idx="56">78.72727272727272</cx:pt>
          <cx:pt idx="57">77.38181818181819</cx:pt>
          <cx:pt idx="58">78.599999999999994</cx:pt>
          <cx:pt idx="59">74.436363636363637</cx:pt>
          <cx:pt idx="60">73.890909090909091</cx:pt>
          <cx:pt idx="61">77.763636363636365</cx:pt>
          <cx:pt idx="62">73.145454545454541</cx:pt>
          <cx:pt idx="63">73.963636363636368</cx:pt>
          <cx:pt idx="64">76.290909090909082</cx:pt>
          <cx:pt idx="65">77.181818181818187</cx:pt>
          <cx:pt idx="66">75.236363636363649</cx:pt>
          <cx:pt idx="67">73.200000000000003</cx:pt>
          <cx:pt idx="68">78.472727272727269</cx:pt>
          <cx:pt idx="69">76.381818181818176</cx:pt>
          <cx:pt idx="70">79.236363636363635</cx:pt>
          <cx:pt idx="71">77.690909090909088</cx:pt>
          <cx:pt idx="72">74.727272727272734</cx:pt>
          <cx:pt idx="73">74.63636363636364</cx:pt>
          <cx:pt idx="74">74.74545454545455</cx:pt>
          <cx:pt idx="75">78.545454545454547</cx:pt>
          <cx:pt idx="76">72.981818181818184</cx:pt>
          <cx:pt idx="77">79.72727272727272</cx:pt>
          <cx:pt idx="78">77.690909090909088</cx:pt>
          <cx:pt idx="79">73.345454545454544</cx:pt>
          <cx:pt idx="80">79.436363636363623</cx:pt>
          <cx:pt idx="81">73.072727272727263</cx:pt>
          <cx:pt idx="82">74.345454545454544</cx:pt>
          <cx:pt idx="83">79.472727272727269</cx:pt>
          <cx:pt idx="84">78.545454545454547</cx:pt>
          <cx:pt idx="85">77.418181818181822</cx:pt>
          <cx:pt idx="86">78.145454545454541</cx:pt>
          <cx:pt idx="87">74.963636363636354</cx:pt>
          <cx:pt idx="88">73.345454545454544</cx:pt>
          <cx:pt idx="89">78.909090909090907</cx:pt>
          <cx:pt idx="90">79.381818181818176</cx:pt>
          <cx:pt idx="91">74.400000000000006</cx:pt>
          <cx:pt idx="92">75.63636363636364</cx:pt>
          <cx:pt idx="93">73.090909090909093</cx:pt>
          <cx:pt idx="94">78.163636363636371</cx:pt>
          <cx:pt idx="95">74.309090909090898</cx:pt>
          <cx:pt idx="96">75.218181818181819</cx:pt>
          <cx:pt idx="97">78.709090909090904</cx:pt>
          <cx:pt idx="98">73.836363636363629</cx:pt>
          <cx:pt idx="99">76.090909090909093</cx:pt>
          <cx:pt idx="100">73.527272727272717</cx:pt>
          <cx:pt idx="101">79.109090909090909</cx:pt>
          <cx:pt idx="102">75.036363636363646</cx:pt>
          <cx:pt idx="103">79.800000000000011</cx:pt>
          <cx:pt idx="104">74.781818181818181</cx:pt>
          <cx:pt idx="105">78.309090909090912</cx:pt>
          <cx:pt idx="106">77.781818181818181</cx:pt>
          <cx:pt idx="107">73.800000000000011</cx:pt>
          <cx:pt idx="108">75.490909090909099</cx:pt>
          <cx:pt idx="109">76.072727272727278</cx:pt>
          <cx:pt idx="110">78.309090909090912</cx:pt>
          <cx:pt idx="111">75.599999999999994</cx:pt>
          <cx:pt idx="112">73.181818181818187</cx:pt>
          <cx:pt idx="113">79.618181818181824</cx:pt>
          <cx:pt idx="114">74.345454545454544</cx:pt>
          <cx:pt idx="115">76.381818181818176</cx:pt>
          <cx:pt idx="116">74.127272727272725</cx:pt>
          <cx:pt idx="117">78.199999999999989</cx:pt>
          <cx:pt idx="118">75.799999999999997</cx:pt>
          <cx:pt idx="119">74.309090909090898</cx:pt>
          <cx:pt idx="120">78.545454545454547</cx:pt>
          <cx:pt idx="121">74.181818181818187</cx:pt>
          <cx:pt idx="122">78.690909090909088</cx:pt>
          <cx:pt idx="123">74.27272727272728</cx:pt>
          <cx:pt idx="124">77.25454545454545</cx:pt>
          <cx:pt idx="125">79.181818181818173</cx:pt>
          <cx:pt idx="126">72.836363636363643</cx:pt>
          <cx:pt idx="127">75.563636363636363</cx:pt>
          <cx:pt idx="128">73.836363636363629</cx:pt>
          <cx:pt idx="129">76.599999999999994</cx:pt>
          <cx:pt idx="130">73.290909090909096</cx:pt>
          <cx:pt idx="131">74.000000000000014</cx:pt>
          <cx:pt idx="132">79.472727272727269</cx:pt>
          <cx:pt idx="133">74.309090909090898</cx:pt>
          <cx:pt idx="134">79.890909090909091</cx:pt>
          <cx:pt idx="135">72.854545454545445</cx:pt>
          <cx:pt idx="136">77.25454545454545</cx:pt>
          <cx:pt idx="137">75.436363636363637</cx:pt>
          <cx:pt idx="138">74.836363636363629</cx:pt>
          <cx:pt idx="139">78.509090909090901</cx:pt>
          <cx:pt idx="140">77.38181818181819</cx:pt>
          <cx:pt idx="141">79.945454545454538</cx:pt>
          <cx:pt idx="142">73.599999999999994</cx:pt>
          <cx:pt idx="143">78.72727272727272</cx:pt>
          <cx:pt idx="144">76.63636363636364</cx:pt>
          <cx:pt idx="145">74.054545454545448</cx:pt>
          <cx:pt idx="146">74.836363636363629</cx:pt>
          <cx:pt idx="147">74.527272727272731</cx:pt>
          <cx:pt idx="148">75.672727272727272</cx:pt>
          <cx:pt idx="149">74.127272727272725</cx:pt>
          <cx:pt idx="150">73.25454545454545</cx:pt>
          <cx:pt idx="151">77.181818181818187</cx:pt>
          <cx:pt idx="152">79.072727272727278</cx:pt>
          <cx:pt idx="153">74.090909090909093</cx:pt>
          <cx:pt idx="154">74.581818181818178</cx:pt>
          <cx:pt idx="155">76.236363636363635</cx:pt>
          <cx:pt idx="156">75.890909090909105</cx:pt>
          <cx:pt idx="157">79.381818181818176</cx:pt>
          <cx:pt idx="158">74.927272727272737</cx:pt>
          <cx:pt idx="159">77.63636363636364</cx:pt>
          <cx:pt idx="160">74.236363636363635</cx:pt>
          <cx:pt idx="161">75.818181818181813</cx:pt>
          <cx:pt idx="162">78</cx:pt>
          <cx:pt idx="163">75.618181818181824</cx:pt>
          <cx:pt idx="164">77.872727272727275</cx:pt>
          <cx:pt idx="165">78.090909090909093</cx:pt>
          <cx:pt idx="166">74.345454545454544</cx:pt>
          <cx:pt idx="167">77.290909090909082</cx:pt>
          <cx:pt idx="168">76.727272727272734</cx:pt>
          <cx:pt idx="169">73.618181818181824</cx:pt>
          <cx:pt idx="170">74.109090909090895</cx:pt>
          <cx:pt idx="171">72.963636363636368</cx:pt>
          <cx:pt idx="172">78.98181818181817</cx:pt>
          <cx:pt idx="173">78.181818181818187</cx:pt>
          <cx:pt idx="174">75.854545454545459</cx:pt>
          <cx:pt idx="175">78.072727272727278</cx:pt>
          <cx:pt idx="176">73.272727272727266</cx:pt>
          <cx:pt idx="177">77.400000000000006</cx:pt>
          <cx:pt idx="178">78.818181818181827</cx:pt>
          <cx:pt idx="179">79.836363636363629</cx:pt>
          <cx:pt idx="180">78.963636363636354</cx:pt>
          <cx:pt idx="181">73.072727272727263</cx:pt>
          <cx:pt idx="182">78.181818181818187</cx:pt>
          <cx:pt idx="183">77.563636363636363</cx:pt>
          <cx:pt idx="184">78.199999999999989</cx:pt>
          <cx:pt idx="185">77.436363636363652</cx:pt>
          <cx:pt idx="186">75.127272727272725</cx:pt>
          <cx:pt idx="187">77.890909090909105</cx:pt>
          <cx:pt idx="188">78.127272727272725</cx:pt>
          <cx:pt idx="189">73.563636363636363</cx:pt>
          <cx:pt idx="190">79.036363636363632</cx:pt>
          <cx:pt idx="191">77.672727272727272</cx:pt>
          <cx:pt idx="192">74.836363636363629</cx:pt>
          <cx:pt idx="193">77.090909090909093</cx:pt>
          <cx:pt idx="194">75.018181818181816</cx:pt>
          <cx:pt idx="195">77.72727272727272</cx:pt>
          <cx:pt idx="196">78.509090909090901</cx:pt>
          <cx:pt idx="197">74.200000000000003</cx:pt>
          <cx:pt idx="198">75.745454545454535</cx:pt>
          <cx:pt idx="199">78.290909090909096</cx:pt>
          <cx:pt idx="200">77.309090909090912</cx:pt>
          <cx:pt idx="201">78.72727272727272</cx:pt>
          <cx:pt idx="202">78.72727272727272</cx:pt>
          <cx:pt idx="203">73.072727272727263</cx:pt>
          <cx:pt idx="204">76.236363636363635</cx:pt>
          <cx:pt idx="205">76.945454545454552</cx:pt>
          <cx:pt idx="206">72.799999999999997</cx:pt>
          <cx:pt idx="207">73.309090909090912</cx:pt>
          <cx:pt idx="208">73.854545454545445</cx:pt>
          <cx:pt idx="209">78.74545454545455</cx:pt>
          <cx:pt idx="210">77.109090909090909</cx:pt>
          <cx:pt idx="211">75.072727272727263</cx:pt>
          <cx:pt idx="212">73.436363636363637</cx:pt>
          <cx:pt idx="213">79.272727272727266</cx:pt>
          <cx:pt idx="214">78.509090909090901</cx:pt>
          <cx:pt idx="215">73.018181818181816</cx:pt>
          <cx:pt idx="216">73.945454545454552</cx:pt>
          <cx:pt idx="217">77.690909090909088</cx:pt>
          <cx:pt idx="218">73.709090909090918</cx:pt>
          <cx:pt idx="219">73.054545454545448</cx:pt>
          <cx:pt idx="220">76.290909090909082</cx:pt>
          <cx:pt idx="221">74.763636363636351</cx:pt>
          <cx:pt idx="222">77.327272727272728</cx:pt>
          <cx:pt idx="223">77.472727272727269</cx:pt>
          <cx:pt idx="224">73.218181818181833</cx:pt>
          <cx:pt idx="225">78.72727272727272</cx:pt>
          <cx:pt idx="226">79.272727272727266</cx:pt>
          <cx:pt idx="227">75.472727272727269</cx:pt>
          <cx:pt idx="228">76.218181818181819</cx:pt>
          <cx:pt idx="229">72.854545454545445</cx:pt>
          <cx:pt idx="230">79.345454545454544</cx:pt>
          <cx:pt idx="231">75.018181818181816</cx:pt>
          <cx:pt idx="232">76.709090909090904</cx:pt>
          <cx:pt idx="233">72.74545454545455</cx:pt>
          <cx:pt idx="234">77.472727272727269</cx:pt>
          <cx:pt idx="235">76.945454545454552</cx:pt>
          <cx:pt idx="236">72.799999999999997</cx:pt>
          <cx:pt idx="237">73.345454545454544</cx:pt>
          <cx:pt idx="238">74.436363636363637</cx:pt>
          <cx:pt idx="239">79.090909090909093</cx:pt>
          <cx:pt idx="240">75.690909090909102</cx:pt>
          <cx:pt idx="241">73.781818181818181</cx:pt>
          <cx:pt idx="242">73.036363636363646</cx:pt>
          <cx:pt idx="243">77.545454545454533</cx:pt>
          <cx:pt idx="244">79.236363636363635</cx:pt>
          <cx:pt idx="245">76.490909090909085</cx:pt>
          <cx:pt idx="246">76.872727272727275</cx:pt>
          <cx:pt idx="247">79.781818181818181</cx:pt>
          <cx:pt idx="248">81.109090909090909</cx:pt>
          <cx:pt idx="249">78.436363636363637</cx:pt>
          <cx:pt idx="250">76.436363636363637</cx:pt>
          <cx:pt idx="251">77.909090909090921</cx:pt>
          <cx:pt idx="252">79.072727272727278</cx:pt>
          <cx:pt idx="253">80.98181818181817</cx:pt>
          <cx:pt idx="254">79.018181818181816</cx:pt>
          <cx:pt idx="255">78.018181818181802</cx:pt>
          <cx:pt idx="256">77.545454545454533</cx:pt>
          <cx:pt idx="257">81.25454545454545</cx:pt>
          <cx:pt idx="258">76.763636363636351</cx:pt>
          <cx:pt idx="259">79.545454545454547</cx:pt>
          <cx:pt idx="260">79.945454545454538</cx:pt>
          <cx:pt idx="261">76.854545454545459</cx:pt>
          <cx:pt idx="262">79.418181818181822</cx:pt>
          <cx:pt idx="263">76.400000000000006</cx:pt>
          <cx:pt idx="264">78.98181818181817</cx:pt>
          <cx:pt idx="265">77.527272727272731</cx:pt>
          <cx:pt idx="266">76.599999999999994</cx:pt>
          <cx:pt idx="267">78.218181818181819</cx:pt>
          <cx:pt idx="268">81.199999999999989</cx:pt>
          <cx:pt idx="269">77.618181818181824</cx:pt>
          <cx:pt idx="270">78.072727272727278</cx:pt>
          <cx:pt idx="271">78.74545454545455</cx:pt>
          <cx:pt idx="272">78.854545454545459</cx:pt>
          <cx:pt idx="273">80.527272727272731</cx:pt>
          <cx:pt idx="274">81.600000000000009</cx:pt>
          <cx:pt idx="275">80.127272727272725</cx:pt>
          <cx:pt idx="276">81.581818181818178</cx:pt>
          <cx:pt idx="277">78.909090909090907</cx:pt>
          <cx:pt idx="278">79.054545454545448</cx:pt>
          <cx:pt idx="279">81.25454545454545</cx:pt>
          <cx:pt idx="280">79.709090909090918</cx:pt>
          <cx:pt idx="281">77.654545454545456</cx:pt>
          <cx:pt idx="282">79.309090909090912</cx:pt>
          <cx:pt idx="283">77.400000000000006</cx:pt>
          <cx:pt idx="284">76.727272727272734</cx:pt>
          <cx:pt idx="285">78.63636363636364</cx:pt>
          <cx:pt idx="286">76.527272727272731</cx:pt>
          <cx:pt idx="287">73.036363636363646</cx:pt>
          <cx:pt idx="288">75.581818181818178</cx:pt>
          <cx:pt idx="289">74.563636363636363</cx:pt>
          <cx:pt idx="290">75.63636363636364</cx:pt>
          <cx:pt idx="291">74.054545454545448</cx:pt>
          <cx:pt idx="292">77.890909090909105</cx:pt>
          <cx:pt idx="293">74.545454545454547</cx:pt>
          <cx:pt idx="294">72.872727272727261</cx:pt>
          <cx:pt idx="295">75.763636363636365</cx:pt>
          <cx:pt idx="296">72.963636363636368</cx:pt>
          <cx:pt idx="297">73.563636363636363</cx:pt>
          <cx:pt idx="298">73.563636363636363</cx:pt>
          <cx:pt idx="299">72.963636363636368</cx:pt>
          <cx:pt idx="300">73.963636363636368</cx:pt>
          <cx:pt idx="301">77.836363636363643</cx:pt>
          <cx:pt idx="302">75.181818181818187</cx:pt>
          <cx:pt idx="303">75.72727272727272</cx:pt>
          <cx:pt idx="304">79.472727272727269</cx:pt>
          <cx:pt idx="305">80</cx:pt>
          <cx:pt idx="306">78.145454545454541</cx:pt>
          <cx:pt idx="307">73.436363636363637</cx:pt>
          <cx:pt idx="308">75.890909090909105</cx:pt>
          <cx:pt idx="309">72.836363636363643</cx:pt>
          <cx:pt idx="310">76.236363636363635</cx:pt>
          <cx:pt idx="311">73.963636363636368</cx:pt>
          <cx:pt idx="312">78.818181818181827</cx:pt>
          <cx:pt idx="313">73.090909090909093</cx:pt>
          <cx:pt idx="314">73.127272727272725</cx:pt>
          <cx:pt idx="315">75.709090909090918</cx:pt>
          <cx:pt idx="316">75.618181818181824</cx:pt>
          <cx:pt idx="317">73.509090909090915</cx:pt>
          <cx:pt idx="318">76.090909090909093</cx:pt>
          <cx:pt idx="319">74.000000000000014</cx:pt>
          <cx:pt idx="320">76.327272727272728</cx:pt>
          <cx:pt idx="321">79.127272727272739</cx:pt>
          <cx:pt idx="322">79.036363636363632</cx:pt>
          <cx:pt idx="323">74.072727272727278</cx:pt>
          <cx:pt idx="324">74.690909090909088</cx:pt>
          <cx:pt idx="325">79.181818181818173</cx:pt>
          <cx:pt idx="326">75.454545454545453</cx:pt>
          <cx:pt idx="327">73.090909090909093</cx:pt>
          <cx:pt idx="328">79.236363636363635</cx:pt>
          <cx:pt idx="329">79.763636363636365</cx:pt>
          <cx:pt idx="330">73.581818181818178</cx:pt>
          <cx:pt idx="331">73.927272727272722</cx:pt>
          <cx:pt idx="332">73.74545454545455</cx:pt>
          <cx:pt idx="333">79.636363636363626</cx:pt>
          <cx:pt idx="334">75.999999999999986</cx:pt>
          <cx:pt idx="335">79.472727272727269</cx:pt>
          <cx:pt idx="336">78.74545454545455</cx:pt>
          <cx:pt idx="337">72.836363636363643</cx:pt>
          <cx:pt idx="338">78.581818181818178</cx:pt>
          <cx:pt idx="339">77.909090909090921</cx:pt>
          <cx:pt idx="340">76.345454545454544</cx:pt>
          <cx:pt idx="341">74.454545454545467</cx:pt>
          <cx:pt idx="342">75.436363636363637</cx:pt>
          <cx:pt idx="343">74.236363636363635</cx:pt>
          <cx:pt idx="344">79.636363636363626</cx:pt>
          <cx:pt idx="345">74.036363636363632</cx:pt>
          <cx:pt idx="346">72.818181818181813</cx:pt>
          <cx:pt idx="347">75.181818181818187</cx:pt>
          <cx:pt idx="348">72.981818181818184</cx:pt>
          <cx:pt idx="349">76.236363636363635</cx:pt>
          <cx:pt idx="350">79.163636363636357</cx:pt>
          <cx:pt idx="351">77.872727272727275</cx:pt>
          <cx:pt idx="352">77.745454545454535</cx:pt>
          <cx:pt idx="353">78.109090909090909</cx:pt>
          <cx:pt idx="354">75.436363636363637</cx:pt>
          <cx:pt idx="355">73.345454545454544</cx:pt>
          <cx:pt idx="356">76.290909090909082</cx:pt>
          <cx:pt idx="357">77.38181818181819</cx:pt>
          <cx:pt idx="358">77.836363636363643</cx:pt>
          <cx:pt idx="359">79.472727272727269</cx:pt>
          <cx:pt idx="360">74.090909090909093</cx:pt>
          <cx:pt idx="361">76.127272727272725</cx:pt>
          <cx:pt idx="362">72.945454545454538</cx:pt>
          <cx:pt idx="363">74.545454545454547</cx:pt>
          <cx:pt idx="364">78.163636363636371</cx:pt>
          <cx:pt idx="365">76.709090909090904</cx:pt>
          <cx:pt idx="366">75.036363636363646</cx:pt>
          <cx:pt idx="367">79.872727272727275</cx:pt>
          <cx:pt idx="368">75.036363636363646</cx:pt>
          <cx:pt idx="369">79.636363636363626</cx:pt>
          <cx:pt idx="370">76.981818181818184</cx:pt>
          <cx:pt idx="371">78.236363636363635</cx:pt>
          <cx:pt idx="372">79.290909090909096</cx:pt>
          <cx:pt idx="373">78.018181818181802</cx:pt>
          <cx:pt idx="374">77</cx:pt>
          <cx:pt idx="375">74.581818181818178</cx:pt>
          <cx:pt idx="376">78.199999999999989</cx:pt>
          <cx:pt idx="377">76.127272727272725</cx:pt>
          <cx:pt idx="378">77.418181818181822</cx:pt>
          <cx:pt idx="379">74.74545454545455</cx:pt>
          <cx:pt idx="380">77.836363636363643</cx:pt>
          <cx:pt idx="381">75.418181818181822</cx:pt>
          <cx:pt idx="382">76.63636363636364</cx:pt>
          <cx:pt idx="383">78.709090909090904</cx:pt>
          <cx:pt idx="384">76.981818181818184</cx:pt>
          <cx:pt idx="385">75.054545454545448</cx:pt>
          <cx:pt idx="386">77.418181818181822</cx:pt>
          <cx:pt idx="387">73.763636363636365</cx:pt>
          <cx:pt idx="388">74.236363636363635</cx:pt>
          <cx:pt idx="389">73.400000000000006</cx:pt>
          <cx:pt idx="390">76.963636363636354</cx:pt>
          <cx:pt idx="391">72.890909090909091</cx:pt>
          <cx:pt idx="392">73.163636363636357</cx:pt>
          <cx:pt idx="393">74.309090909090898</cx:pt>
          <cx:pt idx="394">78.799999999999997</cx:pt>
          <cx:pt idx="395">73.018181818181816</cx:pt>
          <cx:pt idx="396">78.98181818181817</cx:pt>
          <cx:pt idx="397">75.599999999999994</cx:pt>
          <cx:pt idx="398">77.309090909090912</cx:pt>
          <cx:pt idx="399">76.145454545454555</cx:pt>
          <cx:pt idx="400">75.563636363636363</cx:pt>
          <cx:pt idx="401">74.690909090909088</cx:pt>
          <cx:pt idx="402">77.818181818181813</cx:pt>
          <cx:pt idx="403">74.490909090909085</cx:pt>
          <cx:pt idx="404">74.309090909090898</cx:pt>
          <cx:pt idx="405">76.109090909090909</cx:pt>
          <cx:pt idx="406">73.036363636363646</cx:pt>
          <cx:pt idx="407">77.854545454545459</cx:pt>
          <cx:pt idx="408">73.527272727272717</cx:pt>
          <cx:pt idx="409">78.818181818181827</cx:pt>
          <cx:pt idx="410">75.527272727272717</cx:pt>
          <cx:pt idx="411">76.781818181818167</cx:pt>
          <cx:pt idx="412">75.272727272727266</cx:pt>
          <cx:pt idx="413">77.527272727272731</cx:pt>
          <cx:pt idx="414">78.909090909090907</cx:pt>
          <cx:pt idx="415">78.509090909090901</cx:pt>
          <cx:pt idx="416">74.854545454545459</cx:pt>
          <cx:pt idx="417">73.381818181818176</cx:pt>
          <cx:pt idx="418">75.345454545454544</cx:pt>
          <cx:pt idx="419">77.090909090909093</cx:pt>
          <cx:pt idx="420">73.400000000000006</cx:pt>
          <cx:pt idx="421">74.545454545454547</cx:pt>
          <cx:pt idx="422">76.763636363636351</cx:pt>
          <cx:pt idx="423">77.454545454545453</cx:pt>
          <cx:pt idx="424">76.181818181818187</cx:pt>
          <cx:pt idx="425">76.890909090909091</cx:pt>
          <cx:pt idx="426">73.472727272727269</cx:pt>
          <cx:pt idx="427">78.199999999999989</cx:pt>
          <cx:pt idx="428">79.618181818181824</cx:pt>
          <cx:pt idx="429">74.163636363636371</cx:pt>
          <cx:pt idx="430">79.636363636363626</cx:pt>
          <cx:pt idx="431">73.618181818181824</cx:pt>
          <cx:pt idx="432">75.527272727272717</cx:pt>
          <cx:pt idx="433">77.763636363636365</cx:pt>
          <cx:pt idx="434">79.690909090909088</cx:pt>
          <cx:pt idx="435">74.327272727272728</cx:pt>
          <cx:pt idx="436">74.472727272727283</cx:pt>
          <cx:pt idx="437">73.563636363636363</cx:pt>
          <cx:pt idx="438">75.418181818181822</cx:pt>
          <cx:pt idx="439">77.745454545454535</cx:pt>
          <cx:pt idx="440">75.63636363636364</cx:pt>
          <cx:pt idx="441">76.74545454545455</cx:pt>
          <cx:pt idx="442">78.909090909090907</cx:pt>
          <cx:pt idx="443">76.25454545454545</cx:pt>
          <cx:pt idx="444">72.76363636363638</cx:pt>
          <cx:pt idx="445">77.36363636363636</cx:pt>
          <cx:pt idx="446">74.345454545454544</cx:pt>
          <cx:pt idx="447">75.054545454545448</cx:pt>
          <cx:pt idx="448">74.509090909090901</cx:pt>
          <cx:pt idx="449">79.200000000000003</cx:pt>
          <cx:pt idx="450">73.327272727272714</cx:pt>
          <cx:pt idx="451">79.418181818181822</cx:pt>
          <cx:pt idx="452">75.872727272727275</cx:pt>
          <cx:pt idx="453">73.290909090909096</cx:pt>
          <cx:pt idx="454">74.927272727272737</cx:pt>
          <cx:pt idx="455">75.672727272727272</cx:pt>
          <cx:pt idx="456">76.418181818181822</cx:pt>
          <cx:pt idx="457">79.109090909090909</cx:pt>
          <cx:pt idx="458">79.963636363636354</cx:pt>
          <cx:pt idx="459">77.909090909090921</cx:pt>
          <cx:pt idx="460">79.127272727272739</cx:pt>
          <cx:pt idx="461">78.909090909090907</cx:pt>
          <cx:pt idx="462">78.872727272727275</cx:pt>
          <cx:pt idx="463">76.363636363636374</cx:pt>
          <cx:pt idx="464">75.327272727272728</cx:pt>
          <cx:pt idx="465">74.799999999999997</cx:pt>
          <cx:pt idx="466">79.763636363636365</cx:pt>
          <cx:pt idx="467">75.090909090909079</cx:pt>
          <cx:pt idx="468">73.509090909090915</cx:pt>
          <cx:pt idx="469">73.709090909090918</cx:pt>
          <cx:pt idx="470">75.72727272727272</cx:pt>
          <cx:pt idx="471">74.345454545454544</cx:pt>
          <cx:pt idx="472">76.836363636363643</cx:pt>
          <cx:pt idx="473">73.527272727272717</cx:pt>
          <cx:pt idx="474">79.290909090909096</cx:pt>
          <cx:pt idx="475">76.872727272727275</cx:pt>
          <cx:pt idx="476">78.181818181818187</cx:pt>
          <cx:pt idx="477">77.181818181818187</cx:pt>
          <cx:pt idx="478">75.963636363636368</cx:pt>
          <cx:pt idx="479">78.127272727272725</cx:pt>
          <cx:pt idx="480">78.38181818181819</cx:pt>
          <cx:pt idx="481">79.472727272727269</cx:pt>
          <cx:pt idx="482">78.290909090909096</cx:pt>
          <cx:pt idx="483">78.181818181818187</cx:pt>
          <cx:pt idx="484">78.163636363636371</cx:pt>
          <cx:pt idx="485">73.145454545454541</cx:pt>
          <cx:pt idx="486">79</cx:pt>
          <cx:pt idx="487">74.109090909090895</cx:pt>
          <cx:pt idx="488">74.000000000000014</cx:pt>
          <cx:pt idx="489">75.109090909090909</cx:pt>
          <cx:pt idx="490">75.36363636363636</cx:pt>
          <cx:pt idx="491">73.927272727272722</cx:pt>
          <cx:pt idx="492">77.527272727272731</cx:pt>
          <cx:pt idx="493">79.672727272727272</cx:pt>
          <cx:pt idx="494">75.036363636363646</cx:pt>
          <cx:pt idx="495">72.76363636363638</cx:pt>
          <cx:pt idx="496">73.327272727272714</cx:pt>
          <cx:pt idx="497">72.854545454545445</cx:pt>
          <cx:pt idx="498">76.890909090909091</cx:pt>
          <cx:pt idx="499">79.200000000000003</cx:pt>
          <cx:pt idx="500">79.545454545454547</cx:pt>
          <cx:pt idx="501">74.672727272727272</cx:pt>
          <cx:pt idx="502">76.345454545454544</cx:pt>
          <cx:pt idx="503">75.327272727272728</cx:pt>
          <cx:pt idx="504">74.981818181818184</cx:pt>
          <cx:pt idx="505">77.781818181818181</cx:pt>
          <cx:pt idx="506">75.218181818181819</cx:pt>
          <cx:pt idx="507">75.581818181818178</cx:pt>
          <cx:pt idx="508">75.400000000000006</cx:pt>
          <cx:pt idx="509">74.818181818181813</cx:pt>
          <cx:pt idx="510">74.61818181818181</cx:pt>
          <cx:pt idx="511">75.38181818181819</cx:pt>
          <cx:pt idx="512">77.200000000000003</cx:pt>
          <cx:pt idx="513">77.745454545454535</cx:pt>
          <cx:pt idx="514">75.090909090909079</cx:pt>
          <cx:pt idx="515">74.127272727272725</cx:pt>
          <cx:pt idx="516">77.854545454545459</cx:pt>
          <cx:pt idx="517">74.036363636363632</cx:pt>
          <cx:pt idx="518">76.145454545454555</cx:pt>
          <cx:pt idx="519">78.581818181818178</cx:pt>
          <cx:pt idx="520">73.854545454545445</cx:pt>
          <cx:pt idx="521">73.818181818181813</cx:pt>
          <cx:pt idx="522">78.327272727272728</cx:pt>
          <cx:pt idx="523">75.599999999999994</cx:pt>
          <cx:pt idx="524">77.23636363636362</cx:pt>
          <cx:pt idx="525">74.599999999999994</cx:pt>
          <cx:pt idx="526">74.799999999999997</cx:pt>
          <cx:pt idx="527">74.145454545454541</cx:pt>
          <cx:pt idx="528">73.581818181818178</cx:pt>
          <cx:pt idx="529">75.854545454545459</cx:pt>
          <cx:pt idx="530">78.527272727272717</cx:pt>
          <cx:pt idx="531">79.36363636363636</cx:pt>
          <cx:pt idx="532">74.599999999999994</cx:pt>
          <cx:pt idx="533">72.836363636363643</cx:pt>
          <cx:pt idx="534">78.890909090909091</cx:pt>
          <cx:pt idx="535">76.763636363636351</cx:pt>
          <cx:pt idx="536">78.890909090909091</cx:pt>
          <cx:pt idx="537">76.436363636363637</cx:pt>
          <cx:pt idx="538">73.490909090909099</cx:pt>
          <cx:pt idx="539">78.563636363636363</cx:pt>
          <cx:pt idx="540">79.890909090909091</cx:pt>
          <cx:pt idx="541">79.545454545454547</cx:pt>
          <cx:pt idx="542">77.872727272727275</cx:pt>
          <cx:pt idx="543">75.181818181818187</cx:pt>
          <cx:pt idx="544">76.527272727272731</cx:pt>
          <cx:pt idx="545">77.018181818181816</cx:pt>
          <cx:pt idx="546">79.25454545454545</cx:pt>
          <cx:pt idx="547">79.145454545454555</cx:pt>
          <cx:pt idx="548">76.090909090909093</cx:pt>
          <cx:pt idx="549">79.236363636363635</cx:pt>
          <cx:pt idx="550">75.581818181818178</cx:pt>
          <cx:pt idx="551">76.363636363636374</cx:pt>
          <cx:pt idx="552">78.763636363636365</cx:pt>
          <cx:pt idx="553">76.527272727272731</cx:pt>
          <cx:pt idx="554">73.599999999999994</cx:pt>
          <cx:pt idx="555">76.890909090909091</cx:pt>
          <cx:pt idx="556">78.309090909090912</cx:pt>
          <cx:pt idx="557">74.436363636363637</cx:pt>
          <cx:pt idx="558">79.218181818181819</cx:pt>
          <cx:pt idx="559">79.400000000000006</cx:pt>
          <cx:pt idx="560">74.090909090909093</cx:pt>
          <cx:pt idx="561">76.945454545454552</cx:pt>
          <cx:pt idx="562">78.98181818181817</cx:pt>
          <cx:pt idx="563">78.127272727272725</cx:pt>
          <cx:pt idx="564">79.745454545454535</cx:pt>
          <cx:pt idx="565">76.363636363636374</cx:pt>
          <cx:pt idx="566">78.709090909090904</cx:pt>
          <cx:pt idx="567">73.400000000000006</cx:pt>
          <cx:pt idx="568">73.36363636363636</cx:pt>
          <cx:pt idx="569">78.454545454545453</cx:pt>
          <cx:pt idx="570">78.090909090909093</cx:pt>
          <cx:pt idx="571">72.909090909090907</cx:pt>
          <cx:pt idx="572">73.800000000000011</cx:pt>
          <cx:pt idx="573">79.418181818181822</cx:pt>
          <cx:pt idx="574">73.018181818181816</cx:pt>
          <cx:pt idx="575">76.363636363636374</cx:pt>
          <cx:pt idx="576">74.654545454545456</cx:pt>
          <cx:pt idx="577">79.25454545454545</cx:pt>
          <cx:pt idx="578">76.509090909090901</cx:pt>
          <cx:pt idx="579">78.563636363636363</cx:pt>
          <cx:pt idx="580">78.363636363636374</cx:pt>
          <cx:pt idx="581">77.163636363636357</cx:pt>
          <cx:pt idx="582">76.090909090909093</cx:pt>
          <cx:pt idx="583">74.909090909090921</cx:pt>
          <cx:pt idx="584">79.381818181818176</cx:pt>
          <cx:pt idx="585">74.418181818181822</cx:pt>
          <cx:pt idx="586">79.654545454545456</cx:pt>
          <cx:pt idx="587">78.563636363636363</cx:pt>
          <cx:pt idx="588">78.163636363636371</cx:pt>
          <cx:pt idx="589">72.909090909090907</cx:pt>
          <cx:pt idx="590">79.545454545454547</cx:pt>
          <cx:pt idx="591">79.472727272727269</cx:pt>
          <cx:pt idx="592">72.909090909090907</cx:pt>
          <cx:pt idx="593">73.309090909090912</cx:pt>
          <cx:pt idx="594">75.945454545454552</cx:pt>
          <cx:pt idx="595">75.272727272727266</cx:pt>
          <cx:pt idx="596">75.581818181818178</cx:pt>
          <cx:pt idx="597">75.690909090909102</cx:pt>
          <cx:pt idx="598">73.436363636363637</cx:pt>
          <cx:pt idx="599">75.872727272727275</cx:pt>
          <cx:pt idx="600">77.763636363636365</cx:pt>
          <cx:pt idx="601">73.327272727272714</cx:pt>
          <cx:pt idx="602">77.581818181818178</cx:pt>
          <cx:pt idx="603">79.909090909090921</cx:pt>
          <cx:pt idx="604">72.727272727272734</cx:pt>
          <cx:pt idx="605">74.309090909090898</cx:pt>
          <cx:pt idx="606">75.618181818181824</cx:pt>
          <cx:pt idx="607">77.872727272727275</cx:pt>
          <cx:pt idx="608">77.509090909090915</cx:pt>
          <cx:pt idx="609">75.854545454545459</cx:pt>
          <cx:pt idx="610">73.981818181818184</cx:pt>
          <cx:pt idx="611">76.345454545454544</cx:pt>
          <cx:pt idx="612">74.563636363636363</cx:pt>
          <cx:pt idx="613">76.818181818181813</cx:pt>
          <cx:pt idx="614">73.763636363636365</cx:pt>
          <cx:pt idx="615">75.763636363636365</cx:pt>
          <cx:pt idx="616">75.909090909090907</cx:pt>
          <cx:pt idx="617">75.763636363636365</cx:pt>
          <cx:pt idx="618">73.690909090909102</cx:pt>
          <cx:pt idx="619">78.781818181818181</cx:pt>
          <cx:pt idx="620">77.72727272727272</cx:pt>
          <cx:pt idx="621">75.854545454545459</cx:pt>
          <cx:pt idx="622">76.654545454545456</cx:pt>
          <cx:pt idx="623">75.109090909090909</cx:pt>
          <cx:pt idx="624">78.309090909090912</cx:pt>
          <cx:pt idx="625">79.236363636363635</cx:pt>
          <cx:pt idx="626">79.454545454545453</cx:pt>
          <cx:pt idx="627">79.436363636363623</cx:pt>
          <cx:pt idx="628">78.98181818181817</cx:pt>
          <cx:pt idx="629">77.581818181818178</cx:pt>
          <cx:pt idx="630">73.74545454545455</cx:pt>
          <cx:pt idx="631">75.563636363636363</cx:pt>
          <cx:pt idx="632">81.090909090909093</cx:pt>
          <cx:pt idx="633">78.927272727272722</cx:pt>
          <cx:pt idx="634">80.290909090909082</cx:pt>
          <cx:pt idx="635">80.545454545454547</cx:pt>
          <cx:pt idx="636">79.800000000000011</cx:pt>
          <cx:pt idx="637">78.163636363636371</cx:pt>
          <cx:pt idx="638">79.018181818181816</cx:pt>
          <cx:pt idx="639">79.018181818181816</cx:pt>
          <cx:pt idx="640">81.109090909090909</cx:pt>
          <cx:pt idx="641">77.272727272727266</cx:pt>
          <cx:pt idx="642">78.74545454545455</cx:pt>
          <cx:pt idx="643">77.400000000000006</cx:pt>
          <cx:pt idx="644">79.545454545454547</cx:pt>
          <cx:pt idx="645">77.290909090909082</cx:pt>
          <cx:pt idx="646">76.418181818181822</cx:pt>
          <cx:pt idx="647">77.200000000000003</cx:pt>
          <cx:pt idx="648">80.836363636363643</cx:pt>
          <cx:pt idx="649">80.909090909090907</cx:pt>
          <cx:pt idx="650">76.981818181818184</cx:pt>
          <cx:pt idx="651">81.709090909090904</cx:pt>
          <cx:pt idx="652">80.145454545454541</cx:pt>
          <cx:pt idx="653">77.799999999999997</cx:pt>
          <cx:pt idx="654">81.236363636363635</cx:pt>
          <cx:pt idx="655">78</cx:pt>
          <cx:pt idx="656">79.418181818181822</cx:pt>
          <cx:pt idx="657">80.436363636363637</cx:pt>
          <cx:pt idx="658">78.872727272727275</cx:pt>
          <cx:pt idx="659">80.763636363636365</cx:pt>
          <cx:pt idx="660">78.436363636363637</cx:pt>
          <cx:pt idx="661">77.400000000000006</cx:pt>
          <cx:pt idx="662">78.218181818181819</cx:pt>
          <cx:pt idx="663">80.709090909090904</cx:pt>
          <cx:pt idx="664">80.090909090909093</cx:pt>
          <cx:pt idx="665">76.872727272727275</cx:pt>
          <cx:pt idx="666">80.290909090909082</cx:pt>
          <cx:pt idx="667">81.309090909090912</cx:pt>
          <cx:pt idx="668">78.909090909090907</cx:pt>
          <cx:pt idx="669">76.763636363636351</cx:pt>
          <cx:pt idx="670">80.454545454545453</cx:pt>
          <cx:pt idx="671">81.236363636363635</cx:pt>
          <cx:pt idx="672">80.109090909090924</cx:pt>
          <cx:pt idx="673">77.818181818181813</cx:pt>
          <cx:pt idx="674">78.872727272727275</cx:pt>
          <cx:pt idx="675">76.527272727272731</cx:pt>
          <cx:pt idx="676">73.181818181818187</cx:pt>
          <cx:pt idx="677">76.963636363636354</cx:pt>
          <cx:pt idx="678">78.799999999999997</cx:pt>
          <cx:pt idx="679">74.545454545454547</cx:pt>
          <cx:pt idx="680">75.818181818181813</cx:pt>
          <cx:pt idx="681">72.963636363636368</cx:pt>
          <cx:pt idx="682">78.345454545454558</cx:pt>
          <cx:pt idx="683">76.527272727272731</cx:pt>
          <cx:pt idx="684">76.527272727272731</cx:pt>
          <cx:pt idx="685">73.381818181818176</cx:pt>
          <cx:pt idx="686">78.872727272727275</cx:pt>
          <cx:pt idx="687">77.436363636363652</cx:pt>
          <cx:pt idx="688">80</cx:pt>
          <cx:pt idx="689">76.25454545454545</cx:pt>
          <cx:pt idx="690">74.327272727272728</cx:pt>
          <cx:pt idx="691">76.890909090909091</cx:pt>
          <cx:pt idx="692">77.799999999999997</cx:pt>
          <cx:pt idx="693">73.454545454545453</cx:pt>
          <cx:pt idx="694">78.709090909090904</cx:pt>
          <cx:pt idx="695">74.309090909090898</cx:pt>
          <cx:pt idx="696">73.418181818181822</cx:pt>
          <cx:pt idx="697">74.090909090909093</cx:pt>
          <cx:pt idx="698">72.818181818181813</cx:pt>
          <cx:pt idx="699">79.836363636363629</cx:pt>
          <cx:pt idx="700">79.036363636363632</cx:pt>
          <cx:pt idx="701">74.527272727272731</cx:pt>
          <cx:pt idx="702">73.218181818181833</cx:pt>
          <cx:pt idx="703">79.290909090909096</cx:pt>
          <cx:pt idx="704">73.872727272727275</cx:pt>
          <cx:pt idx="705">79.436363636363623</cx:pt>
          <cx:pt idx="706">78.199999999999989</cx:pt>
          <cx:pt idx="707">75.38181818181819</cx:pt>
          <cx:pt idx="708">77.345454545454544</cx:pt>
          <cx:pt idx="709">79.436363636363623</cx:pt>
          <cx:pt idx="710">78.872727272727275</cx:pt>
          <cx:pt idx="711">77.836363636363643</cx:pt>
          <cx:pt idx="712">75.490909090909099</cx:pt>
          <cx:pt idx="713">78.854545454545459</cx:pt>
          <cx:pt idx="714">77.018181818181816</cx:pt>
          <cx:pt idx="715">73.25454545454545</cx:pt>
          <cx:pt idx="716">75.781818181818181</cx:pt>
          <cx:pt idx="717">77.418181818181822</cx:pt>
          <cx:pt idx="718">76.036363636363632</cx:pt>
          <cx:pt idx="719">78.345454545454558</cx:pt>
          <cx:pt idx="720">79.309090909090912</cx:pt>
          <cx:pt idx="721">72.927272727272737</cx:pt>
          <cx:pt idx="722">73.400000000000006</cx:pt>
          <cx:pt idx="723">76.981818181818184</cx:pt>
          <cx:pt idx="724">74.545454545454547</cx:pt>
          <cx:pt idx="725">76.872727272727275</cx:pt>
          <cx:pt idx="726">73.145454545454541</cx:pt>
          <cx:pt idx="727">76.218181818181819</cx:pt>
          <cx:pt idx="728">74.072727272727278</cx:pt>
          <cx:pt idx="729">74.963636363636354</cx:pt>
          <cx:pt idx="730">75.418181818181822</cx:pt>
          <cx:pt idx="731">78.690909090909088</cx:pt>
          <cx:pt idx="732">76.381818181818176</cx:pt>
          <cx:pt idx="733">76.036363636363632</cx:pt>
          <cx:pt idx="734">78.763636363636365</cx:pt>
          <cx:pt idx="735">75.999999999999986</cx:pt>
          <cx:pt idx="736">77.545454545454533</cx:pt>
          <cx:pt idx="737">78.799999999999997</cx:pt>
          <cx:pt idx="738">76.199999999999989</cx:pt>
          <cx:pt idx="739">79.054545454545448</cx:pt>
          <cx:pt idx="740">77.25454545454545</cx:pt>
          <cx:pt idx="741">77.654545454545456</cx:pt>
          <cx:pt idx="742">77.781818181818181</cx:pt>
          <cx:pt idx="743">77.309090909090912</cx:pt>
          <cx:pt idx="744">79.400000000000006</cx:pt>
          <cx:pt idx="745">73</cx:pt>
          <cx:pt idx="746">77.218181818181819</cx:pt>
          <cx:pt idx="747">75.945454545454552</cx:pt>
          <cx:pt idx="748">76.327272727272728</cx:pt>
          <cx:pt idx="749">77.454545454545453</cx:pt>
          <cx:pt idx="750">79.654545454545456</cx:pt>
          <cx:pt idx="751">79.890909090909091</cx:pt>
          <cx:pt idx="752">79.545454545454547</cx:pt>
          <cx:pt idx="753">73.781818181818181</cx:pt>
          <cx:pt idx="754">79.854545454545459</cx:pt>
          <cx:pt idx="755">79.327272727272742</cx:pt>
          <cx:pt idx="756">73.218181818181833</cx:pt>
          <cx:pt idx="757">73</cx:pt>
          <cx:pt idx="758">76.74545454545455</cx:pt>
          <cx:pt idx="759">73.327272727272714</cx:pt>
          <cx:pt idx="760">79.218181818181819</cx:pt>
          <cx:pt idx="761">72.727272727272734</cx:pt>
          <cx:pt idx="762">79.600000000000009</cx:pt>
          <cx:pt idx="763">76.872727272727275</cx:pt>
          <cx:pt idx="764">77.563636363636363</cx:pt>
          <cx:pt idx="765">75</cx:pt>
          <cx:pt idx="766">78.327272727272728</cx:pt>
          <cx:pt idx="767">78.672727272727286</cx:pt>
          <cx:pt idx="768">77.618181818181824</cx:pt>
          <cx:pt idx="769">76.25454545454545</cx:pt>
          <cx:pt idx="770">77.945454545454538</cx:pt>
          <cx:pt idx="771">79.072727272727278</cx:pt>
          <cx:pt idx="772">74.36363636363636</cx:pt>
          <cx:pt idx="773">76.054545454545448</cx:pt>
          <cx:pt idx="774">75.63636363636364</cx:pt>
          <cx:pt idx="775">75.709090909090918</cx:pt>
          <cx:pt idx="776">76.909090909090907</cx:pt>
          <cx:pt idx="777">73.36363636363636</cx:pt>
          <cx:pt idx="778">76.581818181818178</cx:pt>
          <cx:pt idx="779">74.945454545454552</cx:pt>
          <cx:pt idx="780">77.527272727272731</cx:pt>
          <cx:pt idx="781">76.436363636363637</cx:pt>
          <cx:pt idx="782">78.436363636363637</cx:pt>
          <cx:pt idx="783">79.090909090909093</cx:pt>
          <cx:pt idx="784">76.890909090909091</cx:pt>
          <cx:pt idx="785">73.25454545454545</cx:pt>
          <cx:pt idx="786">75.327272727272728</cx:pt>
          <cx:pt idx="787">73.800000000000011</cx:pt>
          <cx:pt idx="788">73.690909090909102</cx:pt>
          <cx:pt idx="789">78.763636363636365</cx:pt>
          <cx:pt idx="790">76.309090909090898</cx:pt>
          <cx:pt idx="791">76.709090909090904</cx:pt>
          <cx:pt idx="792">75.763636363636365</cx:pt>
          <cx:pt idx="793">73.963636363636368</cx:pt>
          <cx:pt idx="794">77.72727272727272</cx:pt>
          <cx:pt idx="795">78.018181818181802</cx:pt>
          <cx:pt idx="796">73.872727272727275</cx:pt>
          <cx:pt idx="797">76.527272727272731</cx:pt>
          <cx:pt idx="798">77.763636363636365</cx:pt>
          <cx:pt idx="799">74.436363636363637</cx:pt>
          <cx:pt idx="800">78.236363636363635</cx:pt>
          <cx:pt idx="801">75.163636363636371</cx:pt>
          <cx:pt idx="802">75.127272727272725</cx:pt>
          <cx:pt idx="803">77.781818181818181</cx:pt>
          <cx:pt idx="804">77.709090909090918</cx:pt>
          <cx:pt idx="805">73.36363636363636</cx:pt>
          <cx:pt idx="806">76.327272727272728</cx:pt>
          <cx:pt idx="807">77.890909090909105</cx:pt>
          <cx:pt idx="808">76.218181818181819</cx:pt>
          <cx:pt idx="809">77.799999999999997</cx:pt>
          <cx:pt idx="810">73.472727272727269</cx:pt>
          <cx:pt idx="811">77.799999999999997</cx:pt>
          <cx:pt idx="812">78.654545454545456</cx:pt>
          <cx:pt idx="813">75.25454545454545</cx:pt>
          <cx:pt idx="814">72.854545454545445</cx:pt>
          <cx:pt idx="815">78.74545454545455</cx:pt>
          <cx:pt idx="816">77.854545454545459</cx:pt>
          <cx:pt idx="817">77.36363636363636</cx:pt>
          <cx:pt idx="818">73.054545454545448</cx:pt>
          <cx:pt idx="819">74.018181818181816</cx:pt>
          <cx:pt idx="820">79.890909090909091</cx:pt>
          <cx:pt idx="821">74.309090909090898</cx:pt>
          <cx:pt idx="822">76.454545454545453</cx:pt>
          <cx:pt idx="823">76.981818181818184</cx:pt>
          <cx:pt idx="824">74.381818181818176</cx:pt>
          <cx:pt idx="825">78.618181818181824</cx:pt>
          <cx:pt idx="826">74.000000000000014</cx:pt>
          <cx:pt idx="827">74.27272727272728</cx:pt>
          <cx:pt idx="828">77.127272727272739</cx:pt>
          <cx:pt idx="829">74.236363636363635</cx:pt>
          <cx:pt idx="830">78.490909090909085</cx:pt>
          <cx:pt idx="831">73.090909090909093</cx:pt>
          <cx:pt idx="832">78.927272727272722</cx:pt>
          <cx:pt idx="833">75.090909090909079</cx:pt>
          <cx:pt idx="834">75.836363636363629</cx:pt>
          <cx:pt idx="835">75.709090909090918</cx:pt>
          <cx:pt idx="836">76.199999999999989</cx:pt>
          <cx:pt idx="837">78.127272727272725</cx:pt>
          <cx:pt idx="838">73.709090909090918</cx:pt>
          <cx:pt idx="839">74.599999999999994</cx:pt>
          <cx:pt idx="840">76.709090909090904</cx:pt>
          <cx:pt idx="841">79.163636363636357</cx:pt>
          <cx:pt idx="842">77.163636363636357</cx:pt>
          <cx:pt idx="843">75.309090909090912</cx:pt>
          <cx:pt idx="844">79.581818181818193</cx:pt>
          <cx:pt idx="845">72.927272727272737</cx:pt>
          <cx:pt idx="846">76.599999999999994</cx:pt>
          <cx:pt idx="847">72.963636363636368</cx:pt>
          <cx:pt idx="848">73.800000000000011</cx:pt>
          <cx:pt idx="849">75.200000000000003</cx:pt>
          <cx:pt idx="850">77.563636363636363</cx:pt>
          <cx:pt idx="851">79.25454545454545</cx:pt>
          <cx:pt idx="852">77.23636363636362</cx:pt>
          <cx:pt idx="853">77.472727272727269</cx:pt>
          <cx:pt idx="854">73.527272727272717</cx:pt>
          <cx:pt idx="855">74.472727272727283</cx:pt>
          <cx:pt idx="856">78.345454545454558</cx:pt>
          <cx:pt idx="857">77.854545454545459</cx:pt>
          <cx:pt idx="858">76.109090909090909</cx:pt>
          <cx:pt idx="859">75.163636363636371</cx:pt>
          <cx:pt idx="860">75.400000000000006</cx:pt>
          <cx:pt idx="861">77.018181818181816</cx:pt>
          <cx:pt idx="862">75.745454545454535</cx:pt>
          <cx:pt idx="863">73.709090909090918</cx:pt>
          <cx:pt idx="864">74.109090909090895</cx:pt>
          <cx:pt idx="865">78.145454545454541</cx:pt>
          <cx:pt idx="866">72.836363636363643</cx:pt>
          <cx:pt idx="867">78.454545454545453</cx:pt>
          <cx:pt idx="868">73.218181818181833</cx:pt>
          <cx:pt idx="869">75.163636363636371</cx:pt>
          <cx:pt idx="870">79.290909090909096</cx:pt>
          <cx:pt idx="871">75.981818181818184</cx:pt>
          <cx:pt idx="872">77.927272727272722</cx:pt>
          <cx:pt idx="873">75.272727272727266</cx:pt>
          <cx:pt idx="874">76.018181818181816</cx:pt>
          <cx:pt idx="875">76.199999999999989</cx:pt>
          <cx:pt idx="876">73.545454545454547</cx:pt>
          <cx:pt idx="877">78.090909090909093</cx:pt>
          <cx:pt idx="878">77.25454545454545</cx:pt>
          <cx:pt idx="879">78.072727272727278</cx:pt>
          <cx:pt idx="880">77.709090909090918</cx:pt>
          <cx:pt idx="881">77.745454545454535</cx:pt>
          <cx:pt idx="882">79.654545454545456</cx:pt>
          <cx:pt idx="883">74.854545454545459</cx:pt>
          <cx:pt idx="884">79.054545454545448</cx:pt>
          <cx:pt idx="885">73.36363636363636</cx:pt>
          <cx:pt idx="886">79.654545454545456</cx:pt>
          <cx:pt idx="887">75.109090909090909</cx:pt>
          <cx:pt idx="888">75.563636363636363</cx:pt>
          <cx:pt idx="889">78.490909090909085</cx:pt>
          <cx:pt idx="890">79.545454545454547</cx:pt>
          <cx:pt idx="891">74.218181818181819</cx:pt>
          <cx:pt idx="892">79.054545454545448</cx:pt>
          <cx:pt idx="893">75.854545454545459</cx:pt>
          <cx:pt idx="894">72.781818181818181</cx:pt>
          <cx:pt idx="895">79.963636363636354</cx:pt>
          <cx:pt idx="896">79.345454545454544</cx:pt>
          <cx:pt idx="897">77.72727272727272</cx:pt>
          <cx:pt idx="898">78.890909090909091</cx:pt>
          <cx:pt idx="899">75.890909090909105</cx:pt>
          <cx:pt idx="900">78.018181818181802</cx:pt>
          <cx:pt idx="901">77.672727272727272</cx:pt>
          <cx:pt idx="902">74.327272727272728</cx:pt>
          <cx:pt idx="903">77.890909090909105</cx:pt>
          <cx:pt idx="904">76.618181818181824</cx:pt>
          <cx:pt idx="905">74.781818181818181</cx:pt>
          <cx:pt idx="906">75.963636363636368</cx:pt>
          <cx:pt idx="907">74.61818181818181</cx:pt>
          <cx:pt idx="908">75.654545454545456</cx:pt>
          <cx:pt idx="909">75.981818181818184</cx:pt>
          <cx:pt idx="910">79.563636363636363</cx:pt>
          <cx:pt idx="911">74.763636363636351</cx:pt>
          <cx:pt idx="912">75.018181818181816</cx:pt>
          <cx:pt idx="913">78.199999999999989</cx:pt>
          <cx:pt idx="914">78.581818181818178</cx:pt>
          <cx:pt idx="915">74.290909090909082</cx:pt>
          <cx:pt idx="916">78.145454545454541</cx:pt>
          <cx:pt idx="917">76.854545454545459</cx:pt>
          <cx:pt idx="918">76.199999999999989</cx:pt>
          <cx:pt idx="919">78.74545454545455</cx:pt>
          <cx:pt idx="920">76.763636363636351</cx:pt>
          <cx:pt idx="921">73.618181818181824</cx:pt>
          <cx:pt idx="922">76.363636363636374</cx:pt>
          <cx:pt idx="923">79.236363636363635</cx:pt>
          <cx:pt idx="924">73.927272727272722</cx:pt>
          <cx:pt idx="925">74.545454545454547</cx:pt>
          <cx:pt idx="926">76.490909090909085</cx:pt>
          <cx:pt idx="927">78.399999999999991</cx:pt>
          <cx:pt idx="928">78.618181818181824</cx:pt>
          <cx:pt idx="929">73.090909090909093</cx:pt>
          <cx:pt idx="930">74.799999999999997</cx:pt>
          <cx:pt idx="931">76.727272727272734</cx:pt>
          <cx:pt idx="932">75.181818181818187</cx:pt>
          <cx:pt idx="933">79.272727272727266</cx:pt>
          <cx:pt idx="934">76.054545454545448</cx:pt>
          <cx:pt idx="935">79.581818181818193</cx:pt>
          <cx:pt idx="936">74.854545454545459</cx:pt>
          <cx:pt idx="937">74.236363636363635</cx:pt>
          <cx:pt idx="938">78.218181818181819</cx:pt>
          <cx:pt idx="939">73.527272727272717</cx:pt>
          <cx:pt idx="940">75.563636363636363</cx:pt>
          <cx:pt idx="941">73.709090909090918</cx:pt>
          <cx:pt idx="942">76.672727272727286</cx:pt>
          <cx:pt idx="943">78.090909090909093</cx:pt>
          <cx:pt idx="944">75.290909090909082</cx:pt>
          <cx:pt idx="945">79.218181818181819</cx:pt>
          <cx:pt idx="946">76.072727272727278</cx:pt>
          <cx:pt idx="947">73.581818181818178</cx:pt>
          <cx:pt idx="948">76.909090909090907</cx:pt>
          <cx:pt idx="949">73.763636363636365</cx:pt>
          <cx:pt idx="950">74.836363636363629</cx:pt>
          <cx:pt idx="951">74.527272727272731</cx:pt>
          <cx:pt idx="952">79.090909090909093</cx:pt>
          <cx:pt idx="953">76.109090909090909</cx:pt>
          <cx:pt idx="954">75.418181818181822</cx:pt>
          <cx:pt idx="955">77.054545454545462</cx:pt>
          <cx:pt idx="956">79.25454545454545</cx:pt>
          <cx:pt idx="957">76.763636363636351</cx:pt>
          <cx:pt idx="958">79.327272727272742</cx:pt>
          <cx:pt idx="959">73.599999999999994</cx:pt>
          <cx:pt idx="960">74.963636363636354</cx:pt>
          <cx:pt idx="961">76.727272727272734</cx:pt>
          <cx:pt idx="962">74.327272727272728</cx:pt>
          <cx:pt idx="963">73.618181818181824</cx:pt>
          <cx:pt idx="964">75.745454545454535</cx:pt>
          <cx:pt idx="965">77.290909090909082</cx:pt>
          <cx:pt idx="966">73.109090909090909</cx:pt>
          <cx:pt idx="967">75.545454545454533</cx:pt>
          <cx:pt idx="968">79.181818181818173</cx:pt>
          <cx:pt idx="969">75.872727272727275</cx:pt>
          <cx:pt idx="970">74.490909090909085</cx:pt>
          <cx:pt idx="971">74.472727272727283</cx:pt>
          <cx:pt idx="972">75.72727272727272</cx:pt>
          <cx:pt idx="973">77.72727272727272</cx:pt>
          <cx:pt idx="974">75.981818181818184</cx:pt>
          <cx:pt idx="975">77.23636363636362</cx:pt>
          <cx:pt idx="976">79.490909090909085</cx:pt>
          <cx:pt idx="977">74.781818181818181</cx:pt>
          <cx:pt idx="978">75.981818181818184</cx:pt>
          <cx:pt idx="979">78.454545454545453</cx:pt>
          <cx:pt idx="980">78.945454545454552</cx:pt>
          <cx:pt idx="981">75.38181818181819</cx:pt>
          <cx:pt idx="982">77.218181818181819</cx:pt>
          <cx:pt idx="983">78.290909090909096</cx:pt>
          <cx:pt idx="984">73.236363636363649</cx:pt>
          <cx:pt idx="985">79.981818181818184</cx:pt>
          <cx:pt idx="986">74.690909090909088</cx:pt>
          <cx:pt idx="987">73.127272727272725</cx:pt>
          <cx:pt idx="988">78.545454545454547</cx:pt>
          <cx:pt idx="989">79.781818181818181</cx:pt>
          <cx:pt idx="990">73.545454545454547</cx:pt>
          <cx:pt idx="991">79.145454545454555</cx:pt>
          <cx:pt idx="992">73.472727272727269</cx:pt>
          <cx:pt idx="993">78.581818181818178</cx:pt>
          <cx:pt idx="994">77.309090909090912</cx:pt>
          <cx:pt idx="995">77.145454545454555</cx:pt>
          <cx:pt idx="996">74.018181818181816</cx:pt>
          <cx:pt idx="997">72.909090909090907</cx:pt>
          <cx:pt idx="998">79.672727272727272</cx:pt>
          <cx:pt idx="999">76.563636363636363</cx:pt>
          <cx:pt idx="1000">77.272727272727266</cx:pt>
          <cx:pt idx="1001">78.72727272727272</cx:pt>
          <cx:pt idx="1002">74.872727272727275</cx:pt>
          <cx:pt idx="1003">74.981818181818184</cx:pt>
          <cx:pt idx="1004">79.545454545454547</cx:pt>
          <cx:pt idx="1005">74.945454545454552</cx:pt>
          <cx:pt idx="1006">75.909090909090907</cx:pt>
          <cx:pt idx="1007">76.763636363636351</cx:pt>
          <cx:pt idx="1008">75.327272727272728</cx:pt>
          <cx:pt idx="1009">78.581818181818178</cx:pt>
          <cx:pt idx="1010">78.454545454545453</cx:pt>
          <cx:pt idx="1011">76.690909090909088</cx:pt>
          <cx:pt idx="1012">74.127272727272725</cx:pt>
          <cx:pt idx="1013">73.854545454545445</cx:pt>
          <cx:pt idx="1014">76.599999999999994</cx:pt>
          <cx:pt idx="1015">75.145454545454541</cx:pt>
          <cx:pt idx="1016">74.763636363636351</cx:pt>
          <cx:pt idx="1017">76.181818181818187</cx:pt>
          <cx:pt idx="1018">78.599999999999994</cx:pt>
          <cx:pt idx="1019">77.290909090909082</cx:pt>
          <cx:pt idx="1020">73.927272727272722</cx:pt>
          <cx:pt idx="1021">79.909090909090921</cx:pt>
          <cx:pt idx="1022">74.836363636363629</cx:pt>
          <cx:pt idx="1023">77.327272727272728</cx:pt>
          <cx:pt idx="1024">77.945454545454538</cx:pt>
          <cx:pt idx="1025">74.218181818181819</cx:pt>
          <cx:pt idx="1026">73.581818181818178</cx:pt>
          <cx:pt idx="1027">75.781818181818181</cx:pt>
          <cx:pt idx="1028">76.927272727272737</cx:pt>
          <cx:pt idx="1029">77</cx:pt>
          <cx:pt idx="1030">75.854545454545459</cx:pt>
          <cx:pt idx="1031">74.181818181818187</cx:pt>
          <cx:pt idx="1032">79.163636363636357</cx:pt>
          <cx:pt idx="1033">75.490909090909099</cx:pt>
          <cx:pt idx="1034">73.036363636363646</cx:pt>
          <cx:pt idx="1035">77.909090909090921</cx:pt>
          <cx:pt idx="1036">75.127272727272725</cx:pt>
          <cx:pt idx="1037">76.963636363636354</cx:pt>
          <cx:pt idx="1038">79.818181818181813</cx:pt>
          <cx:pt idx="1039">76.836363636363643</cx:pt>
          <cx:pt idx="1040">75.72727272727272</cx:pt>
          <cx:pt idx="1041">79.054545454545448</cx:pt>
          <cx:pt idx="1042">76.63636363636364</cx:pt>
          <cx:pt idx="1043">79.818181818181813</cx:pt>
          <cx:pt idx="1044">78.927272727272722</cx:pt>
          <cx:pt idx="1045">75.999999999999986</cx:pt>
          <cx:pt idx="1046">76.836363636363643</cx:pt>
          <cx:pt idx="1047">76.654545454545456</cx:pt>
          <cx:pt idx="1048">79.672727272727272</cx:pt>
          <cx:pt idx="1049">73.327272727272714</cx:pt>
          <cx:pt idx="1050">74.418181818181822</cx:pt>
          <cx:pt idx="1051">73.545454545454547</cx:pt>
          <cx:pt idx="1052">78.599999999999994</cx:pt>
          <cx:pt idx="1053">77.581818181818178</cx:pt>
          <cx:pt idx="1054">76.163636363636371</cx:pt>
          <cx:pt idx="1055">78.054545454545448</cx:pt>
          <cx:pt idx="1056">73.163636363636357</cx:pt>
          <cx:pt idx="1057">75.563636363636363</cx:pt>
          <cx:pt idx="1058">74.672727272727272</cx:pt>
          <cx:pt idx="1059">77.054545454545462</cx:pt>
          <cx:pt idx="1060">74.036363636363632</cx:pt>
          <cx:pt idx="1061">75.418181818181822</cx:pt>
          <cx:pt idx="1062">73.145454545454541</cx:pt>
          <cx:pt idx="1063">79.563636363636363</cx:pt>
          <cx:pt idx="1064">73.527272727272717</cx:pt>
          <cx:pt idx="1065">76.163636363636371</cx:pt>
          <cx:pt idx="1066">75.799999999999997</cx:pt>
          <cx:pt idx="1067">74.527272727272731</cx:pt>
          <cx:pt idx="1068">76.218181818181819</cx:pt>
          <cx:pt idx="1069">76.599999999999994</cx:pt>
          <cx:pt idx="1070">76.490909090909085</cx:pt>
          <cx:pt idx="1071">78.272727272727266</cx:pt>
          <cx:pt idx="1072">79.290909090909096</cx:pt>
          <cx:pt idx="1073">79.636363636363626</cx:pt>
          <cx:pt idx="1074">77.036363636363632</cx:pt>
          <cx:pt idx="1075">78.109090909090909</cx:pt>
          <cx:pt idx="1076">80.290909090909082</cx:pt>
          <cx:pt idx="1077">77.836363636363643</cx:pt>
          <cx:pt idx="1078">79.872727272727275</cx:pt>
          <cx:pt idx="1079">78.018181818181802</cx:pt>
          <cx:pt idx="1080">77.327272727272728</cx:pt>
          <cx:pt idx="1081">79.036363636363632</cx:pt>
          <cx:pt idx="1082">80.618181818181824</cx:pt>
          <cx:pt idx="1083">76.799999999999997</cx:pt>
          <cx:pt idx="1084">80.218181818181804</cx:pt>
          <cx:pt idx="1085">80.290909090909082</cx:pt>
          <cx:pt idx="1086">79.218181818181819</cx:pt>
          <cx:pt idx="1087">78.581818181818178</cx:pt>
          <cx:pt idx="1088">77</cx:pt>
          <cx:pt idx="1089">80.072727272727278</cx:pt>
          <cx:pt idx="1090">81.636363636363626</cx:pt>
          <cx:pt idx="1091">81.27272727272728</cx:pt>
          <cx:pt idx="1092">77.018181818181816</cx:pt>
          <cx:pt idx="1093">76.527272727272731</cx:pt>
          <cx:pt idx="1094">78.963636363636354</cx:pt>
          <cx:pt idx="1095">76.599999999999994</cx:pt>
          <cx:pt idx="1096">78</cx:pt>
          <cx:pt idx="1097">79.563636363636363</cx:pt>
          <cx:pt idx="1098">80.27272727272728</cx:pt>
          <cx:pt idx="1099">80.599999999999994</cx:pt>
          <cx:pt idx="1100">77.418181818181822</cx:pt>
          <cx:pt idx="1101">77.781818181818181</cx:pt>
          <cx:pt idx="1102">79.690909090909088</cx:pt>
          <cx:pt idx="1103">81.581818181818178</cx:pt>
          <cx:pt idx="1104">76.63636363636364</cx:pt>
          <cx:pt idx="1105">79.600000000000009</cx:pt>
          <cx:pt idx="1106">77.781818181818181</cx:pt>
          <cx:pt idx="1107">79.181818181818173</cx:pt>
          <cx:pt idx="1108">81.581818181818178</cx:pt>
          <cx:pt idx="1109">78.181818181818187</cx:pt>
          <cx:pt idx="1110">79.800000000000011</cx:pt>
          <cx:pt idx="1111">79.581818181818193</cx:pt>
          <cx:pt idx="1112">79.327272727272742</cx:pt>
          <cx:pt idx="1113">76.527272727272731</cx:pt>
          <cx:pt idx="1114">78.181818181818187</cx:pt>
          <cx:pt idx="1115">76.236363636363635</cx:pt>
          <cx:pt idx="1116">77.090909090909093</cx:pt>
          <cx:pt idx="1117">76.563636363636363</cx:pt>
          <cx:pt idx="1118">73.872727272727275</cx:pt>
          <cx:pt idx="1119">73.400000000000006</cx:pt>
          <cx:pt idx="1120">74.581818181818178</cx:pt>
          <cx:pt idx="1121">74.145454545454541</cx:pt>
          <cx:pt idx="1122">73.545454545454547</cx:pt>
          <cx:pt idx="1123">76.981818181818184</cx:pt>
          <cx:pt idx="1124">73.800000000000011</cx:pt>
          <cx:pt idx="1125">73.36363636363636</cx:pt>
          <cx:pt idx="1126">73.418181818181822</cx:pt>
          <cx:pt idx="1127">72.909090909090907</cx:pt>
          <cx:pt idx="1128">77.72727272727272</cx:pt>
          <cx:pt idx="1129">76.018181818181816</cx:pt>
          <cx:pt idx="1130">75.145454545454541</cx:pt>
          <cx:pt idx="1131">76.218181818181819</cx:pt>
          <cx:pt idx="1132">78.781818181818181</cx:pt>
          <cx:pt idx="1133">75.054545454545448</cx:pt>
          <cx:pt idx="1134">74.036363636363632</cx:pt>
          <cx:pt idx="1135">75.472727272727269</cx:pt>
          <cx:pt idx="1136">77.25454545454545</cx:pt>
          <cx:pt idx="1137">73.345454545454544</cx:pt>
          <cx:pt idx="1138">76.27272727272728</cx:pt>
          <cx:pt idx="1139">76.690909090909088</cx:pt>
          <cx:pt idx="1140">74.254545454545465</cx:pt>
          <cx:pt idx="1141">73.018181818181816</cx:pt>
          <cx:pt idx="1142">73.963636363636368</cx:pt>
          <cx:pt idx="1143">73.872727272727275</cx:pt>
          <cx:pt idx="1144">78.327272727272728</cx:pt>
          <cx:pt idx="1145">80</cx:pt>
          <cx:pt idx="1146">75.890909090909105</cx:pt>
          <cx:pt idx="1147">78.927272727272722</cx:pt>
          <cx:pt idx="1148">74.381818181818176</cx:pt>
          <cx:pt idx="1149">75.745454545454535</cx:pt>
          <cx:pt idx="1150">73.327272727272714</cx:pt>
          <cx:pt idx="1151">79.981818181818184</cx:pt>
          <cx:pt idx="1152">79.654545454545456</cx:pt>
          <cx:pt idx="1153">79.290909090909096</cx:pt>
          <cx:pt idx="1154">75.909090909090907</cx:pt>
          <cx:pt idx="1155">76.618181818181824</cx:pt>
          <cx:pt idx="1156">75.763636363636365</cx:pt>
          <cx:pt idx="1157">74.545454545454547</cx:pt>
          <cx:pt idx="1158">73.854545454545445</cx:pt>
          <cx:pt idx="1159">77.618181818181824</cx:pt>
          <cx:pt idx="1160">77.490909090909085</cx:pt>
          <cx:pt idx="1161">77.436363636363652</cx:pt>
          <cx:pt idx="1162">73.854545454545445</cx:pt>
          <cx:pt idx="1163">72.727272727272734</cx:pt>
          <cx:pt idx="1164">78.399999999999991</cx:pt>
          <cx:pt idx="1165">76.509090909090901</cx:pt>
          <cx:pt idx="1166">77.25454545454545</cx:pt>
          <cx:pt idx="1167">77.018181818181816</cx:pt>
          <cx:pt idx="1168">78.290909090909096</cx:pt>
          <cx:pt idx="1169">74.872727272727275</cx:pt>
          <cx:pt idx="1170">77.72727272727272</cx:pt>
          <cx:pt idx="1171">76.072727272727278</cx:pt>
          <cx:pt idx="1172">75.945454545454552</cx:pt>
          <cx:pt idx="1173">79.36363636363636</cx:pt>
          <cx:pt idx="1174">73.672727272727272</cx:pt>
          <cx:pt idx="1175">76.309090909090898</cx:pt>
          <cx:pt idx="1176">76.836363636363643</cx:pt>
          <cx:pt idx="1177">73.036363636363646</cx:pt>
          <cx:pt idx="1178">73.381818181818176</cx:pt>
          <cx:pt idx="1179">79.163636363636357</cx:pt>
          <cx:pt idx="1180">79.509090909090901</cx:pt>
          <cx:pt idx="1181">73.309090909090912</cx:pt>
          <cx:pt idx="1182">76.490909090909085</cx:pt>
          <cx:pt idx="1183">73.218181818181833</cx:pt>
          <cx:pt idx="1184">73.800000000000011</cx:pt>
          <cx:pt idx="1185">78.145454545454541</cx:pt>
          <cx:pt idx="1186">78.145454545454541</cx:pt>
          <cx:pt idx="1187">73.690909090909102</cx:pt>
          <cx:pt idx="1188">78.218181818181819</cx:pt>
          <cx:pt idx="1189">74.509090909090901</cx:pt>
          <cx:pt idx="1190">78.363636363636374</cx:pt>
          <cx:pt idx="1191">79.890909090909091</cx:pt>
          <cx:pt idx="1192">74.418181818181822</cx:pt>
          <cx:pt idx="1193">79.272727272727266</cx:pt>
          <cx:pt idx="1194">77.709090909090918</cx:pt>
          <cx:pt idx="1195">74.781818181818181</cx:pt>
          <cx:pt idx="1196">78.709090909090904</cx:pt>
          <cx:pt idx="1197">75.618181818181824</cx:pt>
          <cx:pt idx="1198">72.836363636363643</cx:pt>
          <cx:pt idx="1199">74.200000000000003</cx:pt>
          <cx:pt idx="1200">80</cx:pt>
          <cx:pt idx="1201">78.709090909090904</cx:pt>
          <cx:pt idx="1202">76.309090909090898</cx:pt>
          <cx:pt idx="1203">73.527272727272717</cx:pt>
          <cx:pt idx="1204">78.38181818181819</cx:pt>
          <cx:pt idx="1205">78.909090909090907</cx:pt>
          <cx:pt idx="1206">76.654545454545456</cx:pt>
          <cx:pt idx="1207">74.090909090909093</cx:pt>
          <cx:pt idx="1208">78.399999999999991</cx:pt>
          <cx:pt idx="1209">73.090909090909093</cx:pt>
          <cx:pt idx="1210">79.200000000000003</cx:pt>
          <cx:pt idx="1211">75.963636363636368</cx:pt>
          <cx:pt idx="1212">76.654545454545456</cx:pt>
          <cx:pt idx="1213">74.163636363636371</cx:pt>
          <cx:pt idx="1214">78.690909090909088</cx:pt>
          <cx:pt idx="1215">74.418181818181822</cx:pt>
          <cx:pt idx="1216">73.872727272727275</cx:pt>
          <cx:pt idx="1217">78.563636363636363</cx:pt>
          <cx:pt idx="1218">73.818181818181813</cx:pt>
          <cx:pt idx="1219">76.036363636363632</cx:pt>
          <cx:pt idx="1220">77.781818181818181</cx:pt>
          <cx:pt idx="1221">75.799999999999997</cx:pt>
          <cx:pt idx="1222">80</cx:pt>
          <cx:pt idx="1223">78.581818181818178</cx:pt>
          <cx:pt idx="1224">76.781818181818167</cx:pt>
          <cx:pt idx="1225">76.945454545454552</cx:pt>
          <cx:pt idx="1226">79.872727272727275</cx:pt>
          <cx:pt idx="1227">73.381818181818176</cx:pt>
          <cx:pt idx="1228">75.781818181818181</cx:pt>
          <cx:pt idx="1229">78</cx:pt>
          <cx:pt idx="1230">77.654545454545456</cx:pt>
          <cx:pt idx="1231">78.090909090909093</cx:pt>
          <cx:pt idx="1232">74.599999999999994</cx:pt>
          <cx:pt idx="1233">76.890909090909091</cx:pt>
          <cx:pt idx="1234">72.76363636363638</cx:pt>
          <cx:pt idx="1235">79.200000000000003</cx:pt>
          <cx:pt idx="1236">78.690909090909088</cx:pt>
          <cx:pt idx="1237">74.000000000000014</cx:pt>
          <cx:pt idx="1238">77.109090909090909</cx:pt>
          <cx:pt idx="1239">73.36363636363636</cx:pt>
          <cx:pt idx="1240">78.199999999999989</cx:pt>
          <cx:pt idx="1241">77.818181818181813</cx:pt>
          <cx:pt idx="1242">78.218181818181819</cx:pt>
          <cx:pt idx="1243">75.509090909090915</cx:pt>
          <cx:pt idx="1244">75.581818181818178</cx:pt>
          <cx:pt idx="1245">76.181818181818187</cx:pt>
          <cx:pt idx="1246">73.890909090909091</cx:pt>
          <cx:pt idx="1247">75.945454545454552</cx:pt>
          <cx:pt idx="1248">72.76363636363638</cx:pt>
          <cx:pt idx="1249">78.127272727272725</cx:pt>
          <cx:pt idx="1250">75.563636363636363</cx:pt>
          <cx:pt idx="1251">73.654545454545456</cx:pt>
          <cx:pt idx="1252">78.236363636363635</cx:pt>
          <cx:pt idx="1253">76.145454545454555</cx:pt>
          <cx:pt idx="1254">74.63636363636364</cx:pt>
          <cx:pt idx="1255">74.109090909090895</cx:pt>
          <cx:pt idx="1256">78.127272727272725</cx:pt>
          <cx:pt idx="1257">79.636363636363626</cx:pt>
          <cx:pt idx="1258">74.545454545454547</cx:pt>
          <cx:pt idx="1259">76.127272727272725</cx:pt>
          <cx:pt idx="1260">73.618181818181824</cx:pt>
          <cx:pt idx="1261">78.781818181818181</cx:pt>
          <cx:pt idx="1262">76.418181818181822</cx:pt>
          <cx:pt idx="1263">79.945454545454538</cx:pt>
          <cx:pt idx="1264">80.036363636363632</cx:pt>
          <cx:pt idx="1265">81.127272727272725</cx:pt>
          <cx:pt idx="1266">79.054545454545448</cx:pt>
          <cx:pt idx="1267">81.127272727272725</cx:pt>
          <cx:pt idx="1268">80.963636363636368</cx:pt>
          <cx:pt idx="1269">79.181818181818173</cx:pt>
          <cx:pt idx="1270">76.509090909090901</cx:pt>
          <cx:pt idx="1271">76.781818181818167</cx:pt>
          <cx:pt idx="1272">77.400000000000006</cx:pt>
          <cx:pt idx="1273">81.436363636363637</cx:pt>
          <cx:pt idx="1274">78.599999999999994</cx:pt>
          <cx:pt idx="1275">77.563636363636363</cx:pt>
          <cx:pt idx="1276">80.145454545454541</cx:pt>
          <cx:pt idx="1277">76.581818181818178</cx:pt>
          <cx:pt idx="1278">77.127272727272739</cx:pt>
          <cx:pt idx="1279">80.709090909090904</cx:pt>
          <cx:pt idx="1280">77.509090909090915</cx:pt>
          <cx:pt idx="1281">79.272727272727266</cx:pt>
          <cx:pt idx="1282">81.109090909090909</cx:pt>
          <cx:pt idx="1283">76.418181818181822</cx:pt>
          <cx:pt idx="1284">79.72727272727272</cx:pt>
          <cx:pt idx="1285">79.181818181818173</cx:pt>
          <cx:pt idx="1286">77.509090909090915</cx:pt>
          <cx:pt idx="1287">79.436363636363623</cx:pt>
          <cx:pt idx="1288">81.581818181818178</cx:pt>
          <cx:pt idx="1289">80.654545454545456</cx:pt>
          <cx:pt idx="1290">78.799999999999997</cx:pt>
          <cx:pt idx="1291">80.509090909090901</cx:pt>
          <cx:pt idx="1292">80.181818181818187</cx:pt>
          <cx:pt idx="1293">80.018181818181816</cx:pt>
          <cx:pt idx="1294">80.74545454545455</cx:pt>
          <cx:pt idx="1295">77.309090909090912</cx:pt>
          <cx:pt idx="1296">81.727272727272734</cx:pt>
          <cx:pt idx="1297">81.327272727272728</cx:pt>
          <cx:pt idx="1298">79.400000000000006</cx:pt>
          <cx:pt idx="1299">81.709090909090904</cx:pt>
          <cx:pt idx="1300">78.072727272727278</cx:pt>
          <cx:pt idx="1301">78.781818181818181</cx:pt>
          <cx:pt idx="1302">79.654545454545456</cx:pt>
          <cx:pt idx="1303">80.309090909090912</cx:pt>
          <cx:pt idx="1304">81.236363636363635</cx:pt>
          <cx:pt idx="1305">76.527272727272731</cx:pt>
          <cx:pt idx="1306">73.127272727272725</cx:pt>
          <cx:pt idx="1307">74.236363636363635</cx:pt>
          <cx:pt idx="1308">74.145454545454541</cx:pt>
          <cx:pt idx="1309">73.800000000000011</cx:pt>
          <cx:pt idx="1310">76.854545454545459</cx:pt>
          <cx:pt idx="1311">73.090909090909093</cx:pt>
          <cx:pt idx="1312">74.545454545454547</cx:pt>
          <cx:pt idx="1313">78.890909090909091</cx:pt>
          <cx:pt idx="1314">75.527272727272717</cx:pt>
          <cx:pt idx="1315">77.872727272727275</cx:pt>
          <cx:pt idx="1316">78.199999999999989</cx:pt>
          <cx:pt idx="1317">74.872727272727275</cx:pt>
          <cx:pt idx="1318">75.854545454545459</cx:pt>
          <cx:pt idx="1319">78.98181818181817</cx:pt>
          <cx:pt idx="1320">79.381818181818176</cx:pt>
          <cx:pt idx="1321">77</cx:pt>
          <cx:pt idx="1322">76.690909090909088</cx:pt>
          <cx:pt idx="1323">74.345454545454544</cx:pt>
          <cx:pt idx="1324">77.400000000000006</cx:pt>
          <cx:pt idx="1325">78.018181818181802</cx:pt>
          <cx:pt idx="1326">73.599999999999994</cx:pt>
          <cx:pt idx="1327">73.327272727272714</cx:pt>
          <cx:pt idx="1328">78.127272727272725</cx:pt>
          <cx:pt idx="1329">72.927272727272737</cx:pt>
          <cx:pt idx="1330">74.000000000000014</cx:pt>
          <cx:pt idx="1331">73.400000000000006</cx:pt>
          <cx:pt idx="1332">79.181818181818173</cx:pt>
          <cx:pt idx="1333">75.145454545454541</cx:pt>
          <cx:pt idx="1334">73.927272727272722</cx:pt>
          <cx:pt idx="1335">76.727272727272734</cx:pt>
          <cx:pt idx="1336">79.036363636363632</cx:pt>
          <cx:pt idx="1337">77.472727272727269</cx:pt>
          <cx:pt idx="1338">79.581818181818193</cx:pt>
          <cx:pt idx="1339">77.690909090909088</cx:pt>
          <cx:pt idx="1340">79.400000000000006</cx:pt>
          <cx:pt idx="1341">77.600000000000009</cx:pt>
          <cx:pt idx="1342">75.127272727272725</cx:pt>
          <cx:pt idx="1343">74.63636363636364</cx:pt>
          <cx:pt idx="1344">79.981818181818184</cx:pt>
          <cx:pt idx="1345">77.690909090909088</cx:pt>
          <cx:pt idx="1346">74.781818181818181</cx:pt>
          <cx:pt idx="1347">76.072727272727278</cx:pt>
          <cx:pt idx="1348">78.418181818181822</cx:pt>
          <cx:pt idx="1349">78.399999999999991</cx:pt>
          <cx:pt idx="1350">74.854545454545459</cx:pt>
          <cx:pt idx="1351">75.618181818181824</cx:pt>
          <cx:pt idx="1352">77.36363636363636</cx:pt>
          <cx:pt idx="1353">73.018181818181816</cx:pt>
          <cx:pt idx="1354">77.818181818181813</cx:pt>
          <cx:pt idx="1355">77.036363636363632</cx:pt>
          <cx:pt idx="1356">74.854545454545459</cx:pt>
          <cx:pt idx="1357">77.345454545454544</cx:pt>
          <cx:pt idx="1358">73.963636363636368</cx:pt>
          <cx:pt idx="1359">79.636363636363626</cx:pt>
          <cx:pt idx="1360">79.836363636363629</cx:pt>
          <cx:pt idx="1361">73.981818181818184</cx:pt>
          <cx:pt idx="1362">76.036363636363632</cx:pt>
          <cx:pt idx="1363">79.654545454545456</cx:pt>
          <cx:pt idx="1364">76.290909090909082</cx:pt>
          <cx:pt idx="1365">75.527272727272717</cx:pt>
          <cx:pt idx="1366">78.181818181818187</cx:pt>
          <cx:pt idx="1367">75.618181818181824</cx:pt>
          <cx:pt idx="1368">77.963636363636368</cx:pt>
          <cx:pt idx="1369">73.072727272727263</cx:pt>
          <cx:pt idx="1370">78.872727272727275</cx:pt>
          <cx:pt idx="1371">73.145454545454541</cx:pt>
          <cx:pt idx="1372">79.418181818181822</cx:pt>
          <cx:pt idx="1373">73.527272727272717</cx:pt>
          <cx:pt idx="1374">79.109090909090909</cx:pt>
          <cx:pt idx="1375">77.581818181818178</cx:pt>
          <cx:pt idx="1376">75.25454545454545</cx:pt>
          <cx:pt idx="1377">78.290909090909096</cx:pt>
          <cx:pt idx="1378">74.963636363636354</cx:pt>
          <cx:pt idx="1379">75.400000000000006</cx:pt>
          <cx:pt idx="1380">74.127272727272725</cx:pt>
          <cx:pt idx="1381">78.127272727272725</cx:pt>
          <cx:pt idx="1382">79.672727272727272</cx:pt>
          <cx:pt idx="1383">73.800000000000011</cx:pt>
          <cx:pt idx="1384">78.418181818181822</cx:pt>
          <cx:pt idx="1385">79.818181818181813</cx:pt>
          <cx:pt idx="1386">78.672727272727286</cx:pt>
          <cx:pt idx="1387">75.400000000000006</cx:pt>
          <cx:pt idx="1388">78.963636363636354</cx:pt>
          <cx:pt idx="1389">77.581818181818178</cx:pt>
          <cx:pt idx="1390">74.763636363636351</cx:pt>
          <cx:pt idx="1391">79.509090909090901</cx:pt>
          <cx:pt idx="1392">77.872727272727275</cx:pt>
          <cx:pt idx="1393">78.63636363636364</cx:pt>
          <cx:pt idx="1394">76.945454545454552</cx:pt>
          <cx:pt idx="1395">78.890909090909091</cx:pt>
          <cx:pt idx="1396">79.290909090909096</cx:pt>
          <cx:pt idx="1397">79.618181818181824</cx:pt>
          <cx:pt idx="1398">74.472727272727283</cx:pt>
          <cx:pt idx="1399">78.090909090909093</cx:pt>
          <cx:pt idx="1400">78.418181818181822</cx:pt>
          <cx:pt idx="1401">73.618181818181824</cx:pt>
          <cx:pt idx="1402">78.836363636363643</cx:pt>
          <cx:pt idx="1403">74.963636363636354</cx:pt>
          <cx:pt idx="1404">75.927272727272722</cx:pt>
          <cx:pt idx="1405">77.163636363636357</cx:pt>
          <cx:pt idx="1406">73.054545454545448</cx:pt>
          <cx:pt idx="1407">73.509090909090915</cx:pt>
          <cx:pt idx="1408">78.345454545454558</cx:pt>
          <cx:pt idx="1409">73.454545454545453</cx:pt>
          <cx:pt idx="1410">74.218181818181819</cx:pt>
          <cx:pt idx="1411">74.527272727272731</cx:pt>
          <cx:pt idx="1412">79.345454545454544</cx:pt>
          <cx:pt idx="1413">77.545454545454533</cx:pt>
          <cx:pt idx="1414">79.290909090909096</cx:pt>
          <cx:pt idx="1415">74.563636363636363</cx:pt>
          <cx:pt idx="1416">73.345454545454544</cx:pt>
          <cx:pt idx="1417">79.436363636363623</cx:pt>
          <cx:pt idx="1418">75.763636363636365</cx:pt>
          <cx:pt idx="1419">78.199999999999989</cx:pt>
          <cx:pt idx="1420">78.890909090909091</cx:pt>
          <cx:pt idx="1421">73.36363636363636</cx:pt>
          <cx:pt idx="1422">74.927272727272737</cx:pt>
          <cx:pt idx="1423">76.109090909090909</cx:pt>
          <cx:pt idx="1424">76.345454545454544</cx:pt>
          <cx:pt idx="1425">72.727272727272734</cx:pt>
          <cx:pt idx="1426">76.781818181818167</cx:pt>
          <cx:pt idx="1427">74.74545454545455</cx:pt>
          <cx:pt idx="1428">78.145454545454541</cx:pt>
          <cx:pt idx="1429">78.909090909090907</cx:pt>
          <cx:pt idx="1430">78.25454545454545</cx:pt>
          <cx:pt idx="1431">76.654545454545456</cx:pt>
          <cx:pt idx="1432">74.527272727272731</cx:pt>
          <cx:pt idx="1433">74.509090909090901</cx:pt>
          <cx:pt idx="1434">77.909090909090921</cx:pt>
          <cx:pt idx="1435">74.909090909090921</cx:pt>
          <cx:pt idx="1436">73.527272727272717</cx:pt>
          <cx:pt idx="1437">75.509090909090915</cx:pt>
          <cx:pt idx="1438">78.363636363636374</cx:pt>
          <cx:pt idx="1439">78.363636363636374</cx:pt>
          <cx:pt idx="1440">73.200000000000003</cx:pt>
          <cx:pt idx="1441">75.290909090909082</cx:pt>
          <cx:pt idx="1442">76.25454545454545</cx:pt>
          <cx:pt idx="1443">78.072727272727278</cx:pt>
          <cx:pt idx="1444">75.472727272727269</cx:pt>
          <cx:pt idx="1445">78</cx:pt>
          <cx:pt idx="1446">77.927272727272722</cx:pt>
          <cx:pt idx="1447">79.672727272727272</cx:pt>
          <cx:pt idx="1448">79.454545454545453</cx:pt>
          <cx:pt idx="1449">76.072727272727278</cx:pt>
          <cx:pt idx="1450">73.636363636363626</cx:pt>
          <cx:pt idx="1451">79</cx:pt>
          <cx:pt idx="1452">78.781818181818181</cx:pt>
          <cx:pt idx="1453">75.999999999999986</cx:pt>
          <cx:pt idx="1454">76.527272727272731</cx:pt>
          <cx:pt idx="1455">74.509090909090901</cx:pt>
          <cx:pt idx="1456">73.509090909090915</cx:pt>
          <cx:pt idx="1457">76.218181818181819</cx:pt>
          <cx:pt idx="1458">73.272727272727266</cx:pt>
          <cx:pt idx="1459">78.181818181818187</cx:pt>
          <cx:pt idx="1460">79.090909090909093</cx:pt>
          <cx:pt idx="1461">76.963636363636354</cx:pt>
          <cx:pt idx="1462">78.927272727272722</cx:pt>
          <cx:pt idx="1463">73.963636363636368</cx:pt>
          <cx:pt idx="1464">75.72727272727272</cx:pt>
          <cx:pt idx="1465">78.199999999999989</cx:pt>
          <cx:pt idx="1466">73.981818181818184</cx:pt>
          <cx:pt idx="1467">77.36363636363636</cx:pt>
          <cx:pt idx="1468">77.909090909090921</cx:pt>
          <cx:pt idx="1469">75.490909090909099</cx:pt>
          <cx:pt idx="1470">77.927272727272722</cx:pt>
          <cx:pt idx="1471">78.309090909090912</cx:pt>
          <cx:pt idx="1472">77.563636363636363</cx:pt>
          <cx:pt idx="1473">73.509090909090915</cx:pt>
          <cx:pt idx="1474">74.509090909090901</cx:pt>
          <cx:pt idx="1475">74.74545454545455</cx:pt>
          <cx:pt idx="1476">79.72727272727272</cx:pt>
          <cx:pt idx="1477">75.290909090909082</cx:pt>
          <cx:pt idx="1478">78.490909090909085</cx:pt>
          <cx:pt idx="1479">77.72727272727272</cx:pt>
          <cx:pt idx="1480">72.927272727272737</cx:pt>
          <cx:pt idx="1481">77.109090909090909</cx:pt>
          <cx:pt idx="1482">75.672727272727272</cx:pt>
          <cx:pt idx="1483">74.799999999999997</cx:pt>
          <cx:pt idx="1484">77.654545454545456</cx:pt>
          <cx:pt idx="1485">77.127272727272739</cx:pt>
          <cx:pt idx="1486">76.109090909090909</cx:pt>
          <cx:pt idx="1487">73.036363636363646</cx:pt>
          <cx:pt idx="1488">77.600000000000009</cx:pt>
          <cx:pt idx="1489">78.38181818181819</cx:pt>
          <cx:pt idx="1490">75.945454545454552</cx:pt>
          <cx:pt idx="1491">74.290909090909082</cx:pt>
          <cx:pt idx="1492">75.527272727272717</cx:pt>
          <cx:pt idx="1493">79.181818181818173</cx:pt>
          <cx:pt idx="1494">78.490909090909085</cx:pt>
          <cx:pt idx="1495">73.418181818181822</cx:pt>
          <cx:pt idx="1496">77.290909090909082</cx:pt>
          <cx:pt idx="1497">73.018181818181816</cx:pt>
          <cx:pt idx="1498">73.581818181818178</cx:pt>
          <cx:pt idx="1499">74.836363636363629</cx:pt>
          <cx:pt idx="1500">77.36363636363636</cx:pt>
          <cx:pt idx="1501">77.309090909090912</cx:pt>
          <cx:pt idx="1502">75.854545454545459</cx:pt>
          <cx:pt idx="1503">74.927272727272737</cx:pt>
          <cx:pt idx="1504">78.272727272727266</cx:pt>
          <cx:pt idx="1505">76.618181818181824</cx:pt>
          <cx:pt idx="1506">75.072727272727263</cx:pt>
          <cx:pt idx="1507">72.76363636363638</cx:pt>
          <cx:pt idx="1508">74.181818181818187</cx:pt>
          <cx:pt idx="1509">77.418181818181822</cx:pt>
          <cx:pt idx="1510">77.309090909090912</cx:pt>
          <cx:pt idx="1511">79.36363636363636</cx:pt>
          <cx:pt idx="1512">73.581818181818178</cx:pt>
          <cx:pt idx="1513">75.818181818181813</cx:pt>
          <cx:pt idx="1514">79.963636363636354</cx:pt>
          <cx:pt idx="1515">72.76363636363638</cx:pt>
          <cx:pt idx="1516">76.236363636363635</cx:pt>
          <cx:pt idx="1517">78.945454545454552</cx:pt>
          <cx:pt idx="1518">75.981818181818184</cx:pt>
          <cx:pt idx="1519">78.490909090909085</cx:pt>
          <cx:pt idx="1520">74.490909090909085</cx:pt>
          <cx:pt idx="1521">79.309090909090912</cx:pt>
          <cx:pt idx="1522">77.581818181818178</cx:pt>
          <cx:pt idx="1523">75.690909090909102</cx:pt>
          <cx:pt idx="1524">77.890909090909105</cx:pt>
          <cx:pt idx="1525">76.727272727272734</cx:pt>
          <cx:pt idx="1526">79.872727272727275</cx:pt>
          <cx:pt idx="1527">73.072727272727263</cx:pt>
          <cx:pt idx="1528">74.236363636363635</cx:pt>
          <cx:pt idx="1529">79.018181818181816</cx:pt>
          <cx:pt idx="1530">74.090909090909093</cx:pt>
          <cx:pt idx="1531">76.654545454545456</cx:pt>
          <cx:pt idx="1532">76.472727272727283</cx:pt>
          <cx:pt idx="1533">77.090909090909093</cx:pt>
          <cx:pt idx="1534">73.709090909090918</cx:pt>
          <cx:pt idx="1535">74.27272727272728</cx:pt>
          <cx:pt idx="1536">75.054545454545448</cx:pt>
          <cx:pt idx="1537">76.218181818181819</cx:pt>
          <cx:pt idx="1538">77.054545454545462</cx:pt>
          <cx:pt idx="1539">73.509090909090915</cx:pt>
          <cx:pt idx="1540">72.76363636363638</cx:pt>
          <cx:pt idx="1541">77.763636363636365</cx:pt>
          <cx:pt idx="1542">75.272727272727266</cx:pt>
          <cx:pt idx="1543">72.74545454545455</cx:pt>
          <cx:pt idx="1544">77.23636363636362</cx:pt>
          <cx:pt idx="1545">75.763636363636365</cx:pt>
          <cx:pt idx="1546">76.763636363636351</cx:pt>
          <cx:pt idx="1547">75.654545454545456</cx:pt>
          <cx:pt idx="1548">76.74545454545455</cx:pt>
          <cx:pt idx="1549">76.927272727272737</cx:pt>
          <cx:pt idx="1550">77.963636363636368</cx:pt>
          <cx:pt idx="1551">75.672727272727272</cx:pt>
          <cx:pt idx="1552">76.181818181818187</cx:pt>
          <cx:pt idx="1553">75.745454545454535</cx:pt>
          <cx:pt idx="1554">74.690909090909088</cx:pt>
          <cx:pt idx="1555">77.854545454545459</cx:pt>
          <cx:pt idx="1556">74.27272727272728</cx:pt>
          <cx:pt idx="1557">79.218181818181819</cx:pt>
          <cx:pt idx="1558">78.127272727272725</cx:pt>
          <cx:pt idx="1559">74.381818181818176</cx:pt>
          <cx:pt idx="1560">76.036363636363632</cx:pt>
          <cx:pt idx="1561">80</cx:pt>
          <cx:pt idx="1562">75.872727272727275</cx:pt>
          <cx:pt idx="1563">77.036363636363632</cx:pt>
          <cx:pt idx="1564">77.400000000000006</cx:pt>
          <cx:pt idx="1565">74.309090909090898</cx:pt>
          <cx:pt idx="1566">74.218181818181819</cx:pt>
          <cx:pt idx="1567">77.854545454545459</cx:pt>
          <cx:pt idx="1568">79.836363636363629</cx:pt>
          <cx:pt idx="1569">75.36363636363636</cx:pt>
          <cx:pt idx="1570">75.200000000000003</cx:pt>
          <cx:pt idx="1571">75.163636363636371</cx:pt>
          <cx:pt idx="1572">75.436363636363637</cx:pt>
          <cx:pt idx="1573">79.236363636363635</cx:pt>
          <cx:pt idx="1574">78.945454545454552</cx:pt>
          <cx:pt idx="1575">79.381818181818176</cx:pt>
          <cx:pt idx="1576">78.690909090909088</cx:pt>
          <cx:pt idx="1577">78.127272727272725</cx:pt>
          <cx:pt idx="1578">75</cx:pt>
          <cx:pt idx="1579">74.036363636363632</cx:pt>
          <cx:pt idx="1580">76.090909090909093</cx:pt>
          <cx:pt idx="1581">77.927272727272722</cx:pt>
          <cx:pt idx="1582">77.854545454545459</cx:pt>
          <cx:pt idx="1583">79.018181818181816</cx:pt>
          <cx:pt idx="1584">74.61818181818181</cx:pt>
          <cx:pt idx="1585">74.672727272727272</cx:pt>
          <cx:pt idx="1586">75.436363636363637</cx:pt>
          <cx:pt idx="1587">78.545454545454547</cx:pt>
          <cx:pt idx="1588">76.345454545454544</cx:pt>
          <cx:pt idx="1589">78.672727272727286</cx:pt>
          <cx:pt idx="1590">75.38181818181819</cx:pt>
          <cx:pt idx="1591">75.018181818181816</cx:pt>
          <cx:pt idx="1592">79.436363636363623</cx:pt>
          <cx:pt idx="1593">76.945454545454552</cx:pt>
          <cx:pt idx="1594">74.27272727272728</cx:pt>
          <cx:pt idx="1595">74.690909090909088</cx:pt>
          <cx:pt idx="1596">76.090909090909093</cx:pt>
          <cx:pt idx="1597">78.290909090909096</cx:pt>
          <cx:pt idx="1598">74.545454545454547</cx:pt>
          <cx:pt idx="1599">73.854545454545445</cx:pt>
          <cx:pt idx="1600">79.25454545454545</cx:pt>
          <cx:pt idx="1601">73.272727272727266</cx:pt>
          <cx:pt idx="1602">79.454545454545453</cx:pt>
          <cx:pt idx="1603">74.74545454545455</cx:pt>
          <cx:pt idx="1604">77.345454545454544</cx:pt>
          <cx:pt idx="1605">72.836363636363643</cx:pt>
          <cx:pt idx="1606">78.090909090909093</cx:pt>
          <cx:pt idx="1607">75.127272727272725</cx:pt>
          <cx:pt idx="1608">79.272727272727266</cx:pt>
          <cx:pt idx="1609">73.836363636363629</cx:pt>
          <cx:pt idx="1610">73.145454545454541</cx:pt>
          <cx:pt idx="1611">72.727272727272734</cx:pt>
          <cx:pt idx="1612">79.327272727272742</cx:pt>
          <cx:pt idx="1613">77.818181818181813</cx:pt>
          <cx:pt idx="1614">73.181818181818187</cx:pt>
          <cx:pt idx="1615">73.36363636363636</cx:pt>
          <cx:pt idx="1616">75</cx:pt>
          <cx:pt idx="1617">74.200000000000003</cx:pt>
          <cx:pt idx="1618">79.454545454545453</cx:pt>
          <cx:pt idx="1619">79.672727272727272</cx:pt>
          <cx:pt idx="1620">79.618181818181824</cx:pt>
          <cx:pt idx="1621">75.527272727272717</cx:pt>
          <cx:pt idx="1622">75.763636363636365</cx:pt>
          <cx:pt idx="1623">75.054545454545448</cx:pt>
          <cx:pt idx="1624">79.290909090909096</cx:pt>
          <cx:pt idx="1625">72.909090909090907</cx:pt>
          <cx:pt idx="1626">75.854545454545459</cx:pt>
          <cx:pt idx="1627">78.109090909090909</cx:pt>
          <cx:pt idx="1628">78.109090909090909</cx:pt>
          <cx:pt idx="1629">79.36363636363636</cx:pt>
          <cx:pt idx="1630">72.945454545454538</cx:pt>
          <cx:pt idx="1631">77.23636363636362</cx:pt>
          <cx:pt idx="1632">74.981818181818184</cx:pt>
          <cx:pt idx="1633">79.527272727272731</cx:pt>
          <cx:pt idx="1634">74.709090909090918</cx:pt>
          <cx:pt idx="1635">73.836363636363629</cx:pt>
          <cx:pt idx="1636">73.472727272727269</cx:pt>
          <cx:pt idx="1637">73.563636363636363</cx:pt>
          <cx:pt idx="1638">77.309090909090912</cx:pt>
          <cx:pt idx="1639">73.72727272727272</cx:pt>
          <cx:pt idx="1640">78.854545454545459</cx:pt>
          <cx:pt idx="1641">74.327272727272728</cx:pt>
          <cx:pt idx="1642">79.781818181818181</cx:pt>
          <cx:pt idx="1643">74.200000000000003</cx:pt>
          <cx:pt idx="1644">78.654545454545456</cx:pt>
          <cx:pt idx="1645">77.745454545454535</cx:pt>
          <cx:pt idx="1646">75.999999999999986</cx:pt>
          <cx:pt idx="1647">78.581818181818178</cx:pt>
          <cx:pt idx="1648">79.127272727272739</cx:pt>
          <cx:pt idx="1649">79.672727272727272</cx:pt>
          <cx:pt idx="1650">78.963636363636354</cx:pt>
          <cx:pt idx="1651">76.981818181818184</cx:pt>
          <cx:pt idx="1652">78.63636363636364</cx:pt>
          <cx:pt idx="1653">76.418181818181822</cx:pt>
          <cx:pt idx="1654">79.527272727272731</cx:pt>
          <cx:pt idx="1655">75.527272727272717</cx:pt>
          <cx:pt idx="1656">73.527272727272717</cx:pt>
          <cx:pt idx="1657">75.109090909090909</cx:pt>
          <cx:pt idx="1658">75.72727272727272</cx:pt>
          <cx:pt idx="1659">76.145454545454555</cx:pt>
          <cx:pt idx="1660">79.018181818181816</cx:pt>
          <cx:pt idx="1661">78.309090909090912</cx:pt>
          <cx:pt idx="1662">77.909090909090921</cx:pt>
          <cx:pt idx="1663">77.25454545454545</cx:pt>
          <cx:pt idx="1664">79.290909090909096</cx:pt>
          <cx:pt idx="1665">79</cx:pt>
          <cx:pt idx="1666">77.25454545454545</cx:pt>
          <cx:pt idx="1667">74.436363636363637</cx:pt>
          <cx:pt idx="1668">77.927272727272722</cx:pt>
          <cx:pt idx="1669">78.399999999999991</cx:pt>
          <cx:pt idx="1670">75.509090909090915</cx:pt>
          <cx:pt idx="1671">73.836363636363629</cx:pt>
          <cx:pt idx="1672">77.563636363636363</cx:pt>
          <cx:pt idx="1673">73.36363636363636</cx:pt>
          <cx:pt idx="1674">77.400000000000006</cx:pt>
          <cx:pt idx="1675">73.472727272727269</cx:pt>
          <cx:pt idx="1676">75.418181818181822</cx:pt>
          <cx:pt idx="1677">76.436363636363637</cx:pt>
          <cx:pt idx="1678">75.127272727272725</cx:pt>
          <cx:pt idx="1679">79.327272727272742</cx:pt>
          <cx:pt idx="1680">77.345454545454544</cx:pt>
          <cx:pt idx="1681">78.963636363636354</cx:pt>
          <cx:pt idx="1682">75.709090909090918</cx:pt>
          <cx:pt idx="1683">77.690909090909088</cx:pt>
          <cx:pt idx="1684">75.745454545454535</cx:pt>
          <cx:pt idx="1685">79.945454545454538</cx:pt>
          <cx:pt idx="1686">74.63636363636364</cx:pt>
          <cx:pt idx="1687">78.890909090909091</cx:pt>
          <cx:pt idx="1688">74.036363636363632</cx:pt>
          <cx:pt idx="1689">77.527272727272731</cx:pt>
          <cx:pt idx="1690">77.418181818181822</cx:pt>
          <cx:pt idx="1691">79.36363636363636</cx:pt>
          <cx:pt idx="1692">75.854545454545459</cx:pt>
          <cx:pt idx="1693">75.63636363636364</cx:pt>
          <cx:pt idx="1694">76.472727272727283</cx:pt>
          <cx:pt idx="1695">78.527272727272717</cx:pt>
          <cx:pt idx="1696">76.218181818181819</cx:pt>
          <cx:pt idx="1697">73.545454545454547</cx:pt>
          <cx:pt idx="1698">75</cx:pt>
          <cx:pt idx="1699">76.709090909090904</cx:pt>
          <cx:pt idx="1700">75.927272727272722</cx:pt>
          <cx:pt idx="1701">74.672727272727272</cx:pt>
          <cx:pt idx="1702">77.25454545454545</cx:pt>
          <cx:pt idx="1703">73.018181818181816</cx:pt>
          <cx:pt idx="1704">76.381818181818176</cx:pt>
          <cx:pt idx="1705">74.727272727272734</cx:pt>
          <cx:pt idx="1706">77.799999999999997</cx:pt>
          <cx:pt idx="1707">73.981818181818184</cx:pt>
          <cx:pt idx="1708">78.654545454545456</cx:pt>
          <cx:pt idx="1709">78</cx:pt>
          <cx:pt idx="1710">79.600000000000009</cx:pt>
          <cx:pt idx="1711">74.527272727272731</cx:pt>
          <cx:pt idx="1712">78.054545454545448</cx:pt>
          <cx:pt idx="1713">75.527272727272717</cx:pt>
          <cx:pt idx="1714">79.618181818181824</cx:pt>
          <cx:pt idx="1715">78.927272727272722</cx:pt>
          <cx:pt idx="1716">74.818181818181813</cx:pt>
          <cx:pt idx="1717">78.927272727272722</cx:pt>
          <cx:pt idx="1718">73.072727272727263</cx:pt>
          <cx:pt idx="1719">78.927272727272722</cx:pt>
          <cx:pt idx="1720">76.109090909090909</cx:pt>
          <cx:pt idx="1721">75.472727272727269</cx:pt>
          <cx:pt idx="1722">79.563636363636363</cx:pt>
          <cx:pt idx="1723">73.163636363636357</cx:pt>
          <cx:pt idx="1724">73.836363636363629</cx:pt>
          <cx:pt idx="1725">73.327272727272714</cx:pt>
          <cx:pt idx="1726">77.23636363636362</cx:pt>
          <cx:pt idx="1727">75.090909090909079</cx:pt>
          <cx:pt idx="1728">75.327272727272728</cx:pt>
          <cx:pt idx="1729">81.472727272727269</cx:pt>
          <cx:pt idx="1730">76.945454545454552</cx:pt>
          <cx:pt idx="1731">77.327272727272728</cx:pt>
          <cx:pt idx="1732">80.509090909090901</cx:pt>
          <cx:pt idx="1733">80.363636363636374</cx:pt>
          <cx:pt idx="1734">79.654545454545456</cx:pt>
          <cx:pt idx="1735">80.054545454545462</cx:pt>
          <cx:pt idx="1736">76.74545454545455</cx:pt>
          <cx:pt idx="1737">81.309090909090912</cx:pt>
          <cx:pt idx="1738">80.327272727272728</cx:pt>
          <cx:pt idx="1739">81.581818181818178</cx:pt>
          <cx:pt idx="1740">76.818181818181813</cx:pt>
          <cx:pt idx="1741">81.563636363636363</cx:pt>
          <cx:pt idx="1742">81.072727272727278</cx:pt>
          <cx:pt idx="1743">80.818181818181827</cx:pt>
          <cx:pt idx="1744">77.763636363636365</cx:pt>
          <cx:pt idx="1745">77.454545454545453</cx:pt>
          <cx:pt idx="1746">77.200000000000003</cx:pt>
          <cx:pt idx="1747">80.345454545454544</cx:pt>
          <cx:pt idx="1748">79.381818181818176</cx:pt>
          <cx:pt idx="1749">78.763636363636365</cx:pt>
          <cx:pt idx="1750">80.672727272727258</cx:pt>
          <cx:pt idx="1751">77.818181818181813</cx:pt>
          <cx:pt idx="1752">81.418181818181822</cx:pt>
          <cx:pt idx="1753">77.763636363636365</cx:pt>
          <cx:pt idx="1754">80.945454545454552</cx:pt>
          <cx:pt idx="1755">79.236363636363635</cx:pt>
          <cx:pt idx="1756">81.218181818181819</cx:pt>
          <cx:pt idx="1757">81.054545454545462</cx:pt>
          <cx:pt idx="1758">80.763636363636365</cx:pt>
          <cx:pt idx="1759">78.327272727272728</cx:pt>
          <cx:pt idx="1760">81.018181818181816</cx:pt>
          <cx:pt idx="1761">77.454545454545453</cx:pt>
          <cx:pt idx="1762">78.818181818181827</cx:pt>
          <cx:pt idx="1763">76.418181818181822</cx:pt>
          <cx:pt idx="1764">79.945454545454538</cx:pt>
          <cx:pt idx="1765">78.436363636363637</cx:pt>
          <cx:pt idx="1766">80.399999999999991</cx:pt>
          <cx:pt idx="1767">79.763636363636365</cx:pt>
          <cx:pt idx="1768">77.72727272727272</cx:pt>
          <cx:pt idx="1769">77.127272727272739</cx:pt>
          <cx:pt idx="1770">77.309090909090912</cx:pt>
          <cx:pt idx="1771">80.799999999999997</cx:pt>
          <cx:pt idx="1772">76.527272727272731</cx:pt>
          <cx:pt idx="1773">73.618181818181824</cx:pt>
          <cx:pt idx="1774">79.090909090909093</cx:pt>
          <cx:pt idx="1775">78.799999999999997</cx:pt>
          <cx:pt idx="1776">78.854545454545459</cx:pt>
          <cx:pt idx="1777">74.727272727272734</cx:pt>
          <cx:pt idx="1778">79.400000000000006</cx:pt>
          <cx:pt idx="1779">74.690909090909088</cx:pt>
          <cx:pt idx="1780">77.163636363636357</cx:pt>
          <cx:pt idx="1781">79.472727272727269</cx:pt>
          <cx:pt idx="1782">73.872727272727275</cx:pt>
          <cx:pt idx="1783">72.836363636363643</cx:pt>
          <cx:pt idx="1784">75.018181818181816</cx:pt>
          <cx:pt idx="1785">77.054545454545462</cx:pt>
          <cx:pt idx="1786">78.472727272727269</cx:pt>
          <cx:pt idx="1787">76.63636363636364</cx:pt>
          <cx:pt idx="1788">78.399999999999991</cx:pt>
          <cx:pt idx="1789">79.781818181818181</cx:pt>
          <cx:pt idx="1790">73.163636363636357</cx:pt>
          <cx:pt idx="1791">72.727272727272734</cx:pt>
          <cx:pt idx="1792">77.345454545454544</cx:pt>
          <cx:pt idx="1793">74.818181818181813</cx:pt>
          <cx:pt idx="1794">78.818181818181827</cx:pt>
          <cx:pt idx="1795">76.872727272727275</cx:pt>
          <cx:pt idx="1796">76.418181818181822</cx:pt>
          <cx:pt idx="1797">79.109090909090909</cx:pt>
          <cx:pt idx="1798">78.418181818181822</cx:pt>
          <cx:pt idx="1799">73.636363636363626</cx:pt>
          <cx:pt idx="1800">73</cx:pt>
          <cx:pt idx="1801">73.563636363636363</cx:pt>
          <cx:pt idx="1802">74.454545454545467</cx:pt>
          <cx:pt idx="1803">73.890909090909091</cx:pt>
          <cx:pt idx="1804">76.781818181818167</cx:pt>
          <cx:pt idx="1805">77.563636363636363</cx:pt>
          <cx:pt idx="1806">78.472727272727269</cx:pt>
          <cx:pt idx="1807">76.163636363636371</cx:pt>
          <cx:pt idx="1808">77.290909090909082</cx:pt>
          <cx:pt idx="1809">75.781818181818181</cx:pt>
          <cx:pt idx="1810">74.927272727272737</cx:pt>
          <cx:pt idx="1811">74.599999999999994</cx:pt>
          <cx:pt idx="1812">72.890909090909091</cx:pt>
          <cx:pt idx="1813">77.163636363636357</cx:pt>
          <cx:pt idx="1814">74.454545454545467</cx:pt>
          <cx:pt idx="1815">75.163636363636371</cx:pt>
          <cx:pt idx="1816">74.036363636363632</cx:pt>
          <cx:pt idx="1817">75.454545454545453</cx:pt>
          <cx:pt idx="1818">74.672727272727272</cx:pt>
          <cx:pt idx="1819">77.618181818181824</cx:pt>
          <cx:pt idx="1820">74.27272727272728</cx:pt>
          <cx:pt idx="1821">79.109090909090909</cx:pt>
          <cx:pt idx="1822">77.490909090909085</cx:pt>
          <cx:pt idx="1823">78.345454545454558</cx:pt>
          <cx:pt idx="1824">77.163636363636357</cx:pt>
          <cx:pt idx="1825">73.763636363636365</cx:pt>
          <cx:pt idx="1826">76.890909090909091</cx:pt>
          <cx:pt idx="1827">77</cx:pt>
          <cx:pt idx="1828">76.836363636363643</cx:pt>
          <cx:pt idx="1829">73.854545454545445</cx:pt>
          <cx:pt idx="1830">73.25454545454545</cx:pt>
          <cx:pt idx="1831">76.363636363636374</cx:pt>
          <cx:pt idx="1832">74.254545454545465</cx:pt>
          <cx:pt idx="1833">79.963636363636354</cx:pt>
          <cx:pt idx="1834">78.709090909090904</cx:pt>
          <cx:pt idx="1835">77.436363636363652</cx:pt>
          <cx:pt idx="1836">76.836363636363643</cx:pt>
          <cx:pt idx="1837">79.945454545454538</cx:pt>
          <cx:pt idx="1838">75</cx:pt>
          <cx:pt idx="1839">74.327272727272728</cx:pt>
          <cx:pt idx="1840">72.927272727272737</cx:pt>
          <cx:pt idx="1841">74.309090909090898</cx:pt>
          <cx:pt idx="1842">72.981818181818184</cx:pt>
          <cx:pt idx="1843">75.218181818181819</cx:pt>
          <cx:pt idx="1844">78.618181818181824</cx:pt>
          <cx:pt idx="1845">77.127272727272739</cx:pt>
          <cx:pt idx="1846">73.272727272727266</cx:pt>
          <cx:pt idx="1847">75.745454545454535</cx:pt>
          <cx:pt idx="1848">79.981818181818184</cx:pt>
          <cx:pt idx="1849">79.400000000000006</cx:pt>
          <cx:pt idx="1850">75.181818181818187</cx:pt>
          <cx:pt idx="1851">78.509090909090901</cx:pt>
          <cx:pt idx="1852">78.690909090909088</cx:pt>
          <cx:pt idx="1853">75.799999999999997</cx:pt>
          <cx:pt idx="1854">73.127272727272725</cx:pt>
          <cx:pt idx="1855">75.672727272727272</cx:pt>
          <cx:pt idx="1856">75.072727272727263</cx:pt>
          <cx:pt idx="1857">76.436363636363637</cx:pt>
          <cx:pt idx="1858">72.836363636363643</cx:pt>
          <cx:pt idx="1859">78.818181818181827</cx:pt>
          <cx:pt idx="1860">72.909090909090907</cx:pt>
          <cx:pt idx="1861">76.618181818181824</cx:pt>
          <cx:pt idx="1862">73.163636363636357</cx:pt>
          <cx:pt idx="1863">76.127272727272725</cx:pt>
          <cx:pt idx="1864">73.327272727272714</cx:pt>
          <cx:pt idx="1865">74.200000000000003</cx:pt>
          <cx:pt idx="1866">73.709090909090918</cx:pt>
          <cx:pt idx="1867">77.563636363636363</cx:pt>
          <cx:pt idx="1868">73.218181818181833</cx:pt>
          <cx:pt idx="1869">72.981818181818184</cx:pt>
          <cx:pt idx="1870">73.090909090909093</cx:pt>
          <cx:pt idx="1871">76.145454545454555</cx:pt>
          <cx:pt idx="1872">74.563636363636363</cx:pt>
          <cx:pt idx="1873">76.363636363636374</cx:pt>
          <cx:pt idx="1874">75.745454545454535</cx:pt>
          <cx:pt idx="1875">77.672727272727272</cx:pt>
          <cx:pt idx="1876">79.25454545454545</cx:pt>
          <cx:pt idx="1877">78.454545454545453</cx:pt>
          <cx:pt idx="1878">72.74545454545455</cx:pt>
          <cx:pt idx="1879">75.799999999999997</cx:pt>
          <cx:pt idx="1880">78.63636363636364</cx:pt>
          <cx:pt idx="1881">77.218181818181819</cx:pt>
          <cx:pt idx="1882">75.63636363636364</cx:pt>
          <cx:pt idx="1883">74.472727272727283</cx:pt>
          <cx:pt idx="1884">75.872727272727275</cx:pt>
          <cx:pt idx="1885">74.27272727272728</cx:pt>
          <cx:pt idx="1886">73.200000000000003</cx:pt>
          <cx:pt idx="1887">78.98181818181817</cx:pt>
          <cx:pt idx="1888">76.945454545454552</cx:pt>
          <cx:pt idx="1889">77.981818181818184</cx:pt>
          <cx:pt idx="1890">73.800000000000011</cx:pt>
          <cx:pt idx="1891">75.454545454545453</cx:pt>
          <cx:pt idx="1892">78.38181818181819</cx:pt>
          <cx:pt idx="1893">79.236363636363635</cx:pt>
          <cx:pt idx="1894">74.963636363636354</cx:pt>
          <cx:pt idx="1895">75.781818181818181</cx:pt>
          <cx:pt idx="1896">77.25454545454545</cx:pt>
          <cx:pt idx="1897">73</cx:pt>
          <cx:pt idx="1898">78.836363636363643</cx:pt>
          <cx:pt idx="1899">79.345454545454544</cx:pt>
          <cx:pt idx="1900">77.490909090909085</cx:pt>
          <cx:pt idx="1901">77.218181818181819</cx:pt>
          <cx:pt idx="1902">77.127272727272739</cx:pt>
          <cx:pt idx="1903">79.36363636363636</cx:pt>
          <cx:pt idx="1904">77.23636363636362</cx:pt>
          <cx:pt idx="1905">74.599999999999994</cx:pt>
          <cx:pt idx="1906">78.618181818181824</cx:pt>
          <cx:pt idx="1907">76.199999999999989</cx:pt>
          <cx:pt idx="1908">78.399999999999991</cx:pt>
          <cx:pt idx="1909">76.109090909090909</cx:pt>
          <cx:pt idx="1910">74.254545454545465</cx:pt>
          <cx:pt idx="1911">74.090909090909093</cx:pt>
          <cx:pt idx="1912">74.781818181818181</cx:pt>
          <cx:pt idx="1913">75.036363636363646</cx:pt>
          <cx:pt idx="1914">74.400000000000006</cx:pt>
          <cx:pt idx="1915">76.054545454545448</cx:pt>
          <cx:pt idx="1916">73.109090909090909</cx:pt>
          <cx:pt idx="1917">78.109090909090909</cx:pt>
          <cx:pt idx="1918">79.018181818181816</cx:pt>
          <cx:pt idx="1919">78.436363636363637</cx:pt>
          <cx:pt idx="1920">76.654545454545456</cx:pt>
          <cx:pt idx="1921">78.454545454545453</cx:pt>
          <cx:pt idx="1922">78.563636363636363</cx:pt>
          <cx:pt idx="1923">77.963636363636368</cx:pt>
          <cx:pt idx="1924">79.054545454545448</cx:pt>
          <cx:pt idx="1925">81.709090909090904</cx:pt>
          <cx:pt idx="1926">77.272727272727266</cx:pt>
          <cx:pt idx="1927">77.418181818181822</cx:pt>
          <cx:pt idx="1928">79.527272727272731</cx:pt>
          <cx:pt idx="1929">81.527272727272731</cx:pt>
          <cx:pt idx="1930">79.454545454545453</cx:pt>
          <cx:pt idx="1931">79.72727272727272</cx:pt>
          <cx:pt idx="1932">78.74545454545455</cx:pt>
          <cx:pt idx="1933">78.527272727272717</cx:pt>
          <cx:pt idx="1934">77.200000000000003</cx:pt>
          <cx:pt idx="1935">81.709090909090904</cx:pt>
          <cx:pt idx="1936">78.327272727272728</cx:pt>
          <cx:pt idx="1937">78.872727272727275</cx:pt>
          <cx:pt idx="1938">81.581818181818178</cx:pt>
          <cx:pt idx="1939">79.618181818181824</cx:pt>
          <cx:pt idx="1940">81.181818181818173</cx:pt>
          <cx:pt idx="1941">81.454545454545439</cx:pt>
          <cx:pt idx="1942">81.25454545454545</cx:pt>
          <cx:pt idx="1943">78.109090909090909</cx:pt>
          <cx:pt idx="1944">76.509090909090901</cx:pt>
          <cx:pt idx="1945">78.509090909090901</cx:pt>
          <cx:pt idx="1946">81.672727272727272</cx:pt>
          <cx:pt idx="1947">77.945454545454538</cx:pt>
          <cx:pt idx="1948">81.636363636363626</cx:pt>
          <cx:pt idx="1949">78.199999999999989</cx:pt>
          <cx:pt idx="1950">80.309090909090912</cx:pt>
          <cx:pt idx="1951">81.327272727272728</cx:pt>
          <cx:pt idx="1952">77.945454545454538</cx:pt>
          <cx:pt idx="1953">81.509090909090915</cx:pt>
          <cx:pt idx="1954">76.454545454545453</cx:pt>
          <cx:pt idx="1955">78.509090909090901</cx:pt>
          <cx:pt idx="1956">80.509090909090901</cx:pt>
          <cx:pt idx="1957">80.799999999999997</cx:pt>
          <cx:pt idx="1958">80.490909090909099</cx:pt>
          <cx:pt idx="1959">78.018181818181802</cx:pt>
          <cx:pt idx="1960">76.527272727272731</cx:pt>
          <cx:pt idx="1961">76.27272727272728</cx:pt>
          <cx:pt idx="1962">75.272727272727266</cx:pt>
          <cx:pt idx="1963">78.74545454545455</cx:pt>
          <cx:pt idx="1964">72.818181818181813</cx:pt>
          <cx:pt idx="1965">79.163636363636357</cx:pt>
          <cx:pt idx="1966">76.127272727272725</cx:pt>
          <cx:pt idx="1967">74.527272727272731</cx:pt>
          <cx:pt idx="1968">73.981818181818184</cx:pt>
          <cx:pt idx="1969">75.36363636363636</cx:pt>
          <cx:pt idx="1970">75.999999999999986</cx:pt>
          <cx:pt idx="1971">77.23636363636362</cx:pt>
          <cx:pt idx="1972">79.690909090909088</cx:pt>
          <cx:pt idx="1973">73.109090909090909</cx:pt>
          <cx:pt idx="1974">77.163636363636357</cx:pt>
          <cx:pt idx="1975">77.38181818181819</cx:pt>
          <cx:pt idx="1976">77</cx:pt>
          <cx:pt idx="1977">73.545454545454547</cx:pt>
          <cx:pt idx="1978">73.36363636363636</cx:pt>
          <cx:pt idx="1979">73.472727272727269</cx:pt>
          <cx:pt idx="1980">79.636363636363626</cx:pt>
          <cx:pt idx="1981">76.799999999999997</cx:pt>
          <cx:pt idx="1982">78.181818181818187</cx:pt>
          <cx:pt idx="1983">73.545454545454547</cx:pt>
          <cx:pt idx="1984">74.218181818181819</cx:pt>
          <cx:pt idx="1985">79.236363636363635</cx:pt>
          <cx:pt idx="1986">76.509090909090901</cx:pt>
          <cx:pt idx="1987">79.963636363636354</cx:pt>
          <cx:pt idx="1988">77.400000000000006</cx:pt>
          <cx:pt idx="1989">77.109090909090909</cx:pt>
          <cx:pt idx="1990">78.927272727272722</cx:pt>
          <cx:pt idx="1991">74.054545454545448</cx:pt>
          <cx:pt idx="1992">73.909090909090907</cx:pt>
          <cx:pt idx="1993">75.945454545454552</cx:pt>
          <cx:pt idx="1994">77.345454545454544</cx:pt>
          <cx:pt idx="1995">72.76363636363638</cx:pt>
          <cx:pt idx="1996">79</cx:pt>
          <cx:pt idx="1997">73.599999999999994</cx:pt>
          <cx:pt idx="1998">79.400000000000006</cx:pt>
          <cx:pt idx="1999">76.236363636363635</cx:pt>
          <cx:pt idx="2000">76.945454545454552</cx:pt>
          <cx:pt idx="2001">73.509090909090915</cx:pt>
          <cx:pt idx="2002">74.036363636363632</cx:pt>
          <cx:pt idx="2003">73.181818181818187</cx:pt>
          <cx:pt idx="2004">75.963636363636368</cx:pt>
          <cx:pt idx="2005">73.963636363636368</cx:pt>
          <cx:pt idx="2006">74.527272727272731</cx:pt>
          <cx:pt idx="2007">75.945454545454552</cx:pt>
          <cx:pt idx="2008">75.345454545454544</cx:pt>
          <cx:pt idx="2009">77.490909090909085</cx:pt>
          <cx:pt idx="2010">75.781818181818181</cx:pt>
          <cx:pt idx="2011">75.72727272727272</cx:pt>
          <cx:pt idx="2012">76.327272727272728</cx:pt>
          <cx:pt idx="2013">76.981818181818184</cx:pt>
          <cx:pt idx="2014">79.509090909090901</cx:pt>
          <cx:pt idx="2015">78.38181818181819</cx:pt>
          <cx:pt idx="2016">74.763636363636351</cx:pt>
          <cx:pt idx="2017">74.763636363636351</cx:pt>
          <cx:pt idx="2018">79.163636363636357</cx:pt>
          <cx:pt idx="2019">78.127272727272725</cx:pt>
          <cx:pt idx="2020">75.618181818181824</cx:pt>
          <cx:pt idx="2021">78.527272727272717</cx:pt>
          <cx:pt idx="2022">73.472727272727269</cx:pt>
          <cx:pt idx="2023">72.945454545454538</cx:pt>
          <cx:pt idx="2024">77.200000000000003</cx:pt>
          <cx:pt idx="2025">74.545454545454547</cx:pt>
          <cx:pt idx="2026">72.963636363636368</cx:pt>
          <cx:pt idx="2027">74.218181818181819</cx:pt>
          <cx:pt idx="2028">73.836363636363629</cx:pt>
          <cx:pt idx="2029">75.018181818181816</cx:pt>
          <cx:pt idx="2030">73.981818181818184</cx:pt>
          <cx:pt idx="2031">77.63636363636364</cx:pt>
          <cx:pt idx="2032">74.072727272727278</cx:pt>
          <cx:pt idx="2033">79.636363636363626</cx:pt>
          <cx:pt idx="2034">74.145454545454541</cx:pt>
          <cx:pt idx="2035">76.981818181818184</cx:pt>
          <cx:pt idx="2036">75.345454545454544</cx:pt>
          <cx:pt idx="2037">73.763636363636365</cx:pt>
          <cx:pt idx="2038">74.436363636363637</cx:pt>
          <cx:pt idx="2039">76.25454545454545</cx:pt>
          <cx:pt idx="2040">75.927272727272722</cx:pt>
          <cx:pt idx="2041">73.200000000000003</cx:pt>
          <cx:pt idx="2042">75.490909090909099</cx:pt>
          <cx:pt idx="2043">74.054545454545448</cx:pt>
          <cx:pt idx="2044">73.509090909090915</cx:pt>
          <cx:pt idx="2045">76.072727272727278</cx:pt>
          <cx:pt idx="2046">78.581818181818178</cx:pt>
          <cx:pt idx="2047">73.36363636363636</cx:pt>
          <cx:pt idx="2048">76.109090909090909</cx:pt>
          <cx:pt idx="2049">76.618181818181824</cx:pt>
          <cx:pt idx="2050">73.345454545454544</cx:pt>
          <cx:pt idx="2051">79.090909090909093</cx:pt>
          <cx:pt idx="2052">76.909090909090907</cx:pt>
          <cx:pt idx="2053">77.854545454545459</cx:pt>
          <cx:pt idx="2054">78.672727272727286</cx:pt>
          <cx:pt idx="2055">76.818181818181813</cx:pt>
          <cx:pt idx="2056">75.309090909090912</cx:pt>
          <cx:pt idx="2057">76.363636363636374</cx:pt>
          <cx:pt idx="2058">72.927272727272737</cx:pt>
          <cx:pt idx="2059">76.890909090909091</cx:pt>
          <cx:pt idx="2060">79.490909090909085</cx:pt>
          <cx:pt idx="2061">74.181818181818187</cx:pt>
          <cx:pt idx="2062">76.654545454545456</cx:pt>
          <cx:pt idx="2063">76.981818181818184</cx:pt>
          <cx:pt idx="2064">77.963636363636368</cx:pt>
          <cx:pt idx="2065">75.072727272727263</cx:pt>
          <cx:pt idx="2066">72.727272727272734</cx:pt>
          <cx:pt idx="2067">79.690909090909088</cx:pt>
          <cx:pt idx="2068">78.63636363636364</cx:pt>
          <cx:pt idx="2069">77.527272727272731</cx:pt>
          <cx:pt idx="2070">74.181818181818187</cx:pt>
          <cx:pt idx="2071">76.672727272727286</cx:pt>
          <cx:pt idx="2072">78.018181818181802</cx:pt>
          <cx:pt idx="2073">79.018181818181816</cx:pt>
          <cx:pt idx="2074">72.872727272727261</cx:pt>
          <cx:pt idx="2075">73.581818181818178</cx:pt>
          <cx:pt idx="2076">75.836363636363629</cx:pt>
          <cx:pt idx="2077">73.218181818181833</cx:pt>
          <cx:pt idx="2078">79.709090909090918</cx:pt>
          <cx:pt idx="2079">78.181818181818187</cx:pt>
          <cx:pt idx="2080">79.600000000000009</cx:pt>
          <cx:pt idx="2081">79.981818181818184</cx:pt>
          <cx:pt idx="2082">78.599999999999994</cx:pt>
          <cx:pt idx="2083">75.654545454545456</cx:pt>
          <cx:pt idx="2084">79.618181818181824</cx:pt>
          <cx:pt idx="2085">78.327272727272728</cx:pt>
          <cx:pt idx="2086">77.145454545454555</cx:pt>
          <cx:pt idx="2087">78.799999999999997</cx:pt>
          <cx:pt idx="2088">77.63636363636364</cx:pt>
          <cx:pt idx="2089">74.927272727272737</cx:pt>
          <cx:pt idx="2090">77.600000000000009</cx:pt>
          <cx:pt idx="2091">73.636363636363626</cx:pt>
          <cx:pt idx="2092">79.200000000000003</cx:pt>
          <cx:pt idx="2093">77.618181818181824</cx:pt>
          <cx:pt idx="2094">79.636363636363626</cx:pt>
          <cx:pt idx="2095">78.109090909090909</cx:pt>
          <cx:pt idx="2096">75.054545454545448</cx:pt>
          <cx:pt idx="2097">77.854545454545459</cx:pt>
          <cx:pt idx="2098">75.145454545454541</cx:pt>
          <cx:pt idx="2099">79.836363636363629</cx:pt>
          <cx:pt idx="2100">75.25454545454545</cx:pt>
          <cx:pt idx="2101">73</cx:pt>
          <cx:pt idx="2102">75.836363636363629</cx:pt>
          <cx:pt idx="2103">78.327272727272728</cx:pt>
          <cx:pt idx="2104">79.090909090909093</cx:pt>
          <cx:pt idx="2105">77.472727272727269</cx:pt>
          <cx:pt idx="2106">76.927272727272737</cx:pt>
          <cx:pt idx="2107">74.472727272727283</cx:pt>
          <cx:pt idx="2108">79.854545454545459</cx:pt>
          <cx:pt idx="2109">79.018181818181816</cx:pt>
          <cx:pt idx="2110">79.818181818181813</cx:pt>
          <cx:pt idx="2111">79.472727272727269</cx:pt>
          <cx:pt idx="2112">74.309090909090898</cx:pt>
          <cx:pt idx="2113">73.818181818181813</cx:pt>
          <cx:pt idx="2114">77.63636363636364</cx:pt>
          <cx:pt idx="2115">73.854545454545445</cx:pt>
          <cx:pt idx="2116">76.036363636363632</cx:pt>
          <cx:pt idx="2117">77.036363636363632</cx:pt>
          <cx:pt idx="2118">75.218181818181819</cx:pt>
          <cx:pt idx="2119">78.74545454545455</cx:pt>
          <cx:pt idx="2120">79.963636363636354</cx:pt>
          <cx:pt idx="2121">74.763636363636351</cx:pt>
          <cx:pt idx="2122">75.454545454545453</cx:pt>
          <cx:pt idx="2123">76.599999999999994</cx:pt>
          <cx:pt idx="2124">76.363636363636374</cx:pt>
          <cx:pt idx="2125">76.327272727272728</cx:pt>
          <cx:pt idx="2126">79.36363636363636</cx:pt>
          <cx:pt idx="2127">75.745454545454535</cx:pt>
          <cx:pt idx="2128">72.727272727272734</cx:pt>
          <cx:pt idx="2129">78.290909090909096</cx:pt>
          <cx:pt idx="2130">76.545454545454547</cx:pt>
          <cx:pt idx="2131">77.72727272727272</cx:pt>
          <cx:pt idx="2132">74.818181818181813</cx:pt>
          <cx:pt idx="2133">75.181818181818187</cx:pt>
          <cx:pt idx="2134">76.63636363636364</cx:pt>
          <cx:pt idx="2135">74.490909090909085</cx:pt>
          <cx:pt idx="2136">77.709090909090918</cx:pt>
          <cx:pt idx="2137">74.236363636363635</cx:pt>
          <cx:pt idx="2138">75.854545454545459</cx:pt>
          <cx:pt idx="2139">78.63636363636364</cx:pt>
          <cx:pt idx="2140">76.327272727272728</cx:pt>
          <cx:pt idx="2141">79.654545454545456</cx:pt>
          <cx:pt idx="2142">76.799999999999997</cx:pt>
          <cx:pt idx="2143">79.545454545454547</cx:pt>
          <cx:pt idx="2144">79.218181818181819</cx:pt>
          <cx:pt idx="2145">73</cx:pt>
          <cx:pt idx="2146">75.418181818181822</cx:pt>
          <cx:pt idx="2147">78.672727272727286</cx:pt>
          <cx:pt idx="2148">75.181818181818187</cx:pt>
          <cx:pt idx="2149">76.418181818181822</cx:pt>
          <cx:pt idx="2150">75.799999999999997</cx:pt>
          <cx:pt idx="2151">76.654545454545456</cx:pt>
          <cx:pt idx="2152">76.454545454545453</cx:pt>
          <cx:pt idx="2153">79.381818181818176</cx:pt>
          <cx:pt idx="2154">75.327272727272728</cx:pt>
          <cx:pt idx="2155">77.581818181818178</cx:pt>
          <cx:pt idx="2156">79.818181818181813</cx:pt>
          <cx:pt idx="2157">76.381818181818176</cx:pt>
          <cx:pt idx="2158">74.400000000000006</cx:pt>
          <cx:pt idx="2159">79.400000000000006</cx:pt>
          <cx:pt idx="2160">77</cx:pt>
          <cx:pt idx="2161">75.109090909090909</cx:pt>
          <cx:pt idx="2162">74.945454545454552</cx:pt>
          <cx:pt idx="2163">75.654545454545456</cx:pt>
          <cx:pt idx="2164">76.781818181818167</cx:pt>
          <cx:pt idx="2165">77.509090909090915</cx:pt>
          <cx:pt idx="2166">73.581818181818178</cx:pt>
          <cx:pt idx="2167">78.74545454545455</cx:pt>
          <cx:pt idx="2168">78.018181818181802</cx:pt>
          <cx:pt idx="2169">74.381818181818176</cx:pt>
          <cx:pt idx="2170">73.872727272727275</cx:pt>
          <cx:pt idx="2171">73.709090909090918</cx:pt>
          <cx:pt idx="2172">78.545454545454547</cx:pt>
          <cx:pt idx="2173">79.527272727272731</cx:pt>
          <cx:pt idx="2174">78.199999999999989</cx:pt>
          <cx:pt idx="2175">76.218181818181819</cx:pt>
          <cx:pt idx="2176">79.36363636363636</cx:pt>
          <cx:pt idx="2177">73.872727272727275</cx:pt>
          <cx:pt idx="2178">75.545454545454533</cx:pt>
          <cx:pt idx="2179">79.981818181818184</cx:pt>
          <cx:pt idx="2180">75.945454545454552</cx:pt>
          <cx:pt idx="2181">76.654545454545456</cx:pt>
          <cx:pt idx="2182">74.545454545454547</cx:pt>
          <cx:pt idx="2183">79.545454545454547</cx:pt>
          <cx:pt idx="2184">78.872727272727275</cx:pt>
          <cx:pt idx="2185">79.781818181818181</cx:pt>
          <cx:pt idx="2186">76.054545454545448</cx:pt>
          <cx:pt idx="2187">76.618181818181824</cx:pt>
          <cx:pt idx="2188">75.618181818181824</cx:pt>
          <cx:pt idx="2189">79.163636363636357</cx:pt>
          <cx:pt idx="2190">77.709090909090918</cx:pt>
          <cx:pt idx="2191">74.690909090909088</cx:pt>
          <cx:pt idx="2192">73.981818181818184</cx:pt>
          <cx:pt idx="2193">80</cx:pt>
          <cx:pt idx="2194">76.345454545454544</cx:pt>
          <cx:pt idx="2195">75.218181818181819</cx:pt>
          <cx:pt idx="2196">74.345454545454544</cx:pt>
          <cx:pt idx="2197">73.818181818181813</cx:pt>
          <cx:pt idx="2198">76.963636363636354</cx:pt>
          <cx:pt idx="2199">77.472727272727269</cx:pt>
          <cx:pt idx="2200">79.636363636363626</cx:pt>
          <cx:pt idx="2201">79.090909090909093</cx:pt>
          <cx:pt idx="2202">78.163636363636371</cx:pt>
          <cx:pt idx="2203">75.400000000000006</cx:pt>
          <cx:pt idx="2204">74.854545454545459</cx:pt>
          <cx:pt idx="2205">79.800000000000011</cx:pt>
          <cx:pt idx="2206">79.600000000000009</cx:pt>
          <cx:pt idx="2207">79.745454545454535</cx:pt>
          <cx:pt idx="2208">77.072727272727263</cx:pt>
          <cx:pt idx="2209">76.509090909090901</cx:pt>
          <cx:pt idx="2210">75.72727272727272</cx:pt>
          <cx:pt idx="2211">73.72727272727272</cx:pt>
          <cx:pt idx="2212">73.236363636363649</cx:pt>
          <cx:pt idx="2213">79.25454545454545</cx:pt>
          <cx:pt idx="2214">74.799999999999997</cx:pt>
          <cx:pt idx="2215">73.72727272727272</cx:pt>
          <cx:pt idx="2216">77.181818181818187</cx:pt>
          <cx:pt idx="2217">76.454545454545453</cx:pt>
          <cx:pt idx="2218">74.163636363636371</cx:pt>
          <cx:pt idx="2219">72.76363636363638</cx:pt>
          <cx:pt idx="2220">79.090909090909093</cx:pt>
          <cx:pt idx="2221">76.763636363636351</cx:pt>
          <cx:pt idx="2222">78.98181818181817</cx:pt>
          <cx:pt idx="2223">79.36363636363636</cx:pt>
          <cx:pt idx="2224">79.309090909090912</cx:pt>
          <cx:pt idx="2225">74.872727272727275</cx:pt>
          <cx:pt idx="2226">76.327272727272728</cx:pt>
          <cx:pt idx="2227">78.672727272727286</cx:pt>
          <cx:pt idx="2228">77.054545454545462</cx:pt>
          <cx:pt idx="2229">76.25454545454545</cx:pt>
          <cx:pt idx="2230">74.581818181818178</cx:pt>
          <cx:pt idx="2231">79.963636363636354</cx:pt>
          <cx:pt idx="2232">79.109090909090909</cx:pt>
          <cx:pt idx="2233">78.818181818181827</cx:pt>
          <cx:pt idx="2234">72.727272727272734</cx:pt>
          <cx:pt idx="2235">78.927272727272722</cx:pt>
          <cx:pt idx="2236">74.563636363636363</cx:pt>
          <cx:pt idx="2237">75.036363636363646</cx:pt>
          <cx:pt idx="2238">77.581818181818178</cx:pt>
          <cx:pt idx="2239">75.327272727272728</cx:pt>
          <cx:pt idx="2240">73.72727272727272</cx:pt>
          <cx:pt idx="2241">78.472727272727269</cx:pt>
          <cx:pt idx="2242">76.109090909090909</cx:pt>
          <cx:pt idx="2243">74.236363636363635</cx:pt>
          <cx:pt idx="2244">75.618181818181824</cx:pt>
          <cx:pt idx="2245">79.600000000000009</cx:pt>
          <cx:pt idx="2246">76.527272727272731</cx:pt>
          <cx:pt idx="2247">72.781818181818181</cx:pt>
          <cx:pt idx="2248">78.781818181818181</cx:pt>
          <cx:pt idx="2249">77.036363636363632</cx:pt>
          <cx:pt idx="2250">74.454545454545467</cx:pt>
          <cx:pt idx="2251">77.072727272727263</cx:pt>
          <cx:pt idx="2252">75.545454545454533</cx:pt>
          <cx:pt idx="2253">66.036363636363632</cx:pt>
          <cx:pt idx="2254">80.145454545454541</cx:pt>
          <cx:pt idx="2255">70.618181818181824</cx:pt>
          <cx:pt idx="2256">82.36363636363636</cx:pt>
          <cx:pt idx="2257">72.872727272727261</cx:pt>
          <cx:pt idx="2258">75.72727272727272</cx:pt>
          <cx:pt idx="2259">81.236363636363635</cx:pt>
          <cx:pt idx="2260">81.836363636363629</cx:pt>
          <cx:pt idx="2261">73.563636363636363</cx:pt>
          <cx:pt idx="2262">69.854545454545459</cx:pt>
          <cx:pt idx="2263">65.036363636363632</cx:pt>
          <cx:pt idx="2264">66.854545454545459</cx:pt>
          <cx:pt idx="2265">82.472727272727269</cx:pt>
          <cx:pt idx="2266">75.272727272727266</cx:pt>
          <cx:pt idx="2267">79.963636363636354</cx:pt>
          <cx:pt idx="2268">73.981818181818184</cx:pt>
          <cx:pt idx="2269">67.927272727272722</cx:pt>
          <cx:pt idx="2270">66.127272727272725</cx:pt>
          <cx:pt idx="2271">74.74545454545455</cx:pt>
          <cx:pt idx="2272">67.945454545454538</cx:pt>
          <cx:pt idx="2273">83.454545454545453</cx:pt>
          <cx:pt idx="2274">70.218181818181819</cx:pt>
          <cx:pt idx="2275">82.490909090909085</cx:pt>
          <cx:pt idx="2276">63.709090909090904</cx:pt>
          <cx:pt idx="2277">63.654545454545456</cx:pt>
          <cx:pt idx="2278">68.199999999999989</cx:pt>
          <cx:pt idx="2279">64.618181818181824</cx:pt>
          <cx:pt idx="2280">74.599999999999994</cx:pt>
          <cx:pt idx="2281">66.25454545454545</cx:pt>
          <cx:pt idx="2282">63.854545454545452</cx:pt>
          <cx:pt idx="2283">74.054545454545448</cx:pt>
          <cx:pt idx="2284">74.400000000000006</cx:pt>
          <cx:pt idx="2285">83.109090909090909</cx:pt>
          <cx:pt idx="2286">82.709090909090904</cx:pt>
          <cx:pt idx="2287">81.690909090909088</cx:pt>
          <cx:pt idx="2288">75.509090909090915</cx:pt>
          <cx:pt idx="2289">67.600000000000009</cx:pt>
          <cx:pt idx="2290">66.818181818181827</cx:pt>
          <cx:pt idx="2291">67.072727272727278</cx:pt>
          <cx:pt idx="2292">67.509090909090915</cx:pt>
          <cx:pt idx="2293">68.018181818181816</cx:pt>
          <cx:pt idx="2294">63.781818181818181</cx:pt>
          <cx:pt idx="2295">65.109090909090924</cx:pt>
          <cx:pt idx="2296">65.454545454545453</cx:pt>
          <cx:pt idx="2297">64.072727272727278</cx:pt>
          <cx:pt idx="2298">66.309090909090912</cx:pt>
          <cx:pt idx="2299">68.672727272727272</cx:pt>
          <cx:pt idx="2300">68.72727272727272</cx:pt>
          <cx:pt idx="2301">64.472727272727269</cx:pt>
          <cx:pt idx="2302">67.690909090909088</cx:pt>
          <cx:pt idx="2303">65.218181818181804</cx:pt>
          <cx:pt idx="2304">67.854545454545459</cx:pt>
          <cx:pt idx="2305">0</cx:pt>
          <cx:pt idx="2306">0</cx:pt>
          <cx:pt idx="2307">0</cx:pt>
          <cx:pt idx="2308">0</cx:pt>
          <cx:pt idx="2309">0</cx:pt>
          <cx:pt idx="2310">0</cx:pt>
          <cx:pt idx="2311">0</cx:pt>
          <cx:pt idx="2312">0</cx:pt>
          <cx:pt idx="2313">0</cx:pt>
          <cx:pt idx="2314">0</cx:pt>
          <cx:pt idx="2315">0</cx:pt>
          <cx:pt idx="2316">0</cx:pt>
          <cx:pt idx="2317">0</cx:pt>
          <cx:pt idx="2318">0</cx:pt>
          <cx:pt idx="2319">0</cx:pt>
          <cx:pt idx="2320">0</cx:pt>
          <cx:pt idx="2321">77.927272727272722</cx:pt>
          <cx:pt idx="2322">77.527272727272731</cx:pt>
          <cx:pt idx="2323">75.436363636363637</cx:pt>
          <cx:pt idx="2324">76.63636363636364</cx:pt>
          <cx:pt idx="2325">77.836363636363643</cx:pt>
          <cx:pt idx="2326">73.618181818181824</cx:pt>
          <cx:pt idx="2327">79.836363636363629</cx:pt>
          <cx:pt idx="2328">74.763636363636351</cx:pt>
          <cx:pt idx="2329">75.072727272727263</cx:pt>
          <cx:pt idx="2330">78.145454545454541</cx:pt>
          <cx:pt idx="2331">74.472727272727283</cx:pt>
          <cx:pt idx="2332">78.490909090909085</cx:pt>
          <cx:pt idx="2333">79.654545454545456</cx:pt>
          <cx:pt idx="2334">79.927272727272722</cx:pt>
          <cx:pt idx="2335">74.345454545454544</cx:pt>
          <cx:pt idx="2336">74.727272727272734</cx:pt>
          <cx:pt idx="2337">77.127272727272739</cx:pt>
          <cx:pt idx="2338">75.090909090909079</cx:pt>
          <cx:pt idx="2339">74.981818181818184</cx:pt>
          <cx:pt idx="2340">76.545454545454547</cx:pt>
          <cx:pt idx="2341">74.054545454545448</cx:pt>
          <cx:pt idx="2342">75.545454545454533</cx:pt>
          <cx:pt idx="2343">76.963636363636354</cx:pt>
          <cx:pt idx="2344">78.072727272727278</cx:pt>
          <cx:pt idx="2345">73.309090909090912</cx:pt>
          <cx:pt idx="2346">73.709090909090918</cx:pt>
          <cx:pt idx="2347">72.890909090909091</cx:pt>
          <cx:pt idx="2348">75.145454545454541</cx:pt>
          <cx:pt idx="2349">77.799999999999997</cx:pt>
          <cx:pt idx="2350">77.690909090909088</cx:pt>
          <cx:pt idx="2351">77.218181818181819</cx:pt>
          <cx:pt idx="2352">77.909090909090921</cx:pt>
          <cx:pt idx="2353">74.218181818181819</cx:pt>
          <cx:pt idx="2354">74.490909090909085</cx:pt>
          <cx:pt idx="2355">77.672727272727272</cx:pt>
          <cx:pt idx="2356">78.63636363636364</cx:pt>
          <cx:pt idx="2357">78.98181818181817</cx:pt>
          <cx:pt idx="2358">77.781818181818181</cx:pt>
          <cx:pt idx="2359">79.563636363636363</cx:pt>
          <cx:pt idx="2360">79.400000000000006</cx:pt>
          <cx:pt idx="2361">79.618181818181824</cx:pt>
          <cx:pt idx="2362">76.381818181818176</cx:pt>
          <cx:pt idx="2363">77.400000000000006</cx:pt>
          <cx:pt idx="2364">75.745454545454535</cx:pt>
          <cx:pt idx="2365">75.036363636363646</cx:pt>
          <cx:pt idx="2366">72.781818181818181</cx:pt>
          <cx:pt idx="2367">74.454545454545467</cx:pt>
          <cx:pt idx="2368">79.654545454545456</cx:pt>
          <cx:pt idx="2369">73.018181818181816</cx:pt>
          <cx:pt idx="2370">73.109090909090909</cx:pt>
          <cx:pt idx="2371">76.363636363636374</cx:pt>
          <cx:pt idx="2372">73.200000000000003</cx:pt>
          <cx:pt idx="2373">78.018181818181802</cx:pt>
          <cx:pt idx="2374">73.36363636363636</cx:pt>
          <cx:pt idx="2375">74.963636363636354</cx:pt>
          <cx:pt idx="2376">78.72727272727272</cx:pt>
          <cx:pt idx="2377">75.72727272727272</cx:pt>
          <cx:pt idx="2378">73.054545454545448</cx:pt>
          <cx:pt idx="2379">75.63636363636364</cx:pt>
          <cx:pt idx="2380">77.36363636363636</cx:pt>
          <cx:pt idx="2381">78.127272727272725</cx:pt>
          <cx:pt idx="2382">78.163636363636371</cx:pt>
          <cx:pt idx="2383">78.327272727272728</cx:pt>
          <cx:pt idx="2384">77.927272727272722</cx:pt>
          <cx:pt idx="2385">77.527272727272731</cx:pt>
          <cx:pt idx="2386">77.563636363636363</cx:pt>
          <cx:pt idx="2387">74.727272727272734</cx:pt>
          <cx:pt idx="2388">79.890909090909091</cx:pt>
          <cx:pt idx="2389">75.945454545454552</cx:pt>
          <cx:pt idx="2390">77.272727272727266</cx:pt>
          <cx:pt idx="2391">73.109090909090909</cx:pt>
          <cx:pt idx="2392">73.872727272727275</cx:pt>
          <cx:pt idx="2393">75.072727272727263</cx:pt>
          <cx:pt idx="2394">76.63636363636364</cx:pt>
          <cx:pt idx="2395">73.381818181818176</cx:pt>
          <cx:pt idx="2396">75.63636363636364</cx:pt>
          <cx:pt idx="2397">74.036363636363632</cx:pt>
          <cx:pt idx="2398">74.254545454545465</cx:pt>
          <cx:pt idx="2399">79.527272727272731</cx:pt>
          <cx:pt idx="2400">72.981818181818184</cx:pt>
          <cx:pt idx="2401">78.327272727272728</cx:pt>
          <cx:pt idx="2402">73.72727272727272</cx:pt>
          <cx:pt idx="2403">73.909090909090907</cx:pt>
          <cx:pt idx="2404">74.63636363636364</cx:pt>
          <cx:pt idx="2405">78.545454545454547</cx:pt>
          <cx:pt idx="2406">79.527272727272731</cx:pt>
          <cx:pt idx="2407">77.327272727272728</cx:pt>
          <cx:pt idx="2408">73.25454545454545</cx:pt>
          <cx:pt idx="2409">73.018181818181816</cx:pt>
          <cx:pt idx="2410">73.672727272727272</cx:pt>
          <cx:pt idx="2411">75.472727272727269</cx:pt>
          <cx:pt idx="2412">77.818181818181813</cx:pt>
          <cx:pt idx="2413">73.436363636363637</cx:pt>
          <cx:pt idx="2414">76.727272727272734</cx:pt>
          <cx:pt idx="2415">76.345454545454544</cx:pt>
          <cx:pt idx="2416">79.036363636363632</cx:pt>
          <cx:pt idx="2417">74.945454545454552</cx:pt>
          <cx:pt idx="2418">73.618181818181824</cx:pt>
          <cx:pt idx="2419">77.672727272727272</cx:pt>
          <cx:pt idx="2420">74.400000000000006</cx:pt>
          <cx:pt idx="2421">78.38181818181819</cx:pt>
          <cx:pt idx="2422">75.436363636363637</cx:pt>
          <cx:pt idx="2423">75.618181818181824</cx:pt>
          <cx:pt idx="2424">75.109090909090909</cx:pt>
          <cx:pt idx="2425">76.145454545454555</cx:pt>
          <cx:pt idx="2426">79.509090909090901</cx:pt>
          <cx:pt idx="2427">75.836363636363629</cx:pt>
          <cx:pt idx="2428">76.763636363636351</cx:pt>
          <cx:pt idx="2429">78.199999999999989</cx:pt>
          <cx:pt idx="2430">79.545454545454547</cx:pt>
          <cx:pt idx="2431">76.054545454545448</cx:pt>
          <cx:pt idx="2432">79.127272727272739</cx:pt>
          <cx:pt idx="2433">76.363636363636374</cx:pt>
          <cx:pt idx="2434">75.745454545454535</cx:pt>
          <cx:pt idx="2435">76.218181818181819</cx:pt>
          <cx:pt idx="2436">74.61818181818181</cx:pt>
          <cx:pt idx="2437">74.127272727272725</cx:pt>
          <cx:pt idx="2438">75.63636363636364</cx:pt>
          <cx:pt idx="2439">74.545454545454547</cx:pt>
          <cx:pt idx="2440">76.527272727272731</cx:pt>
          <cx:pt idx="2441">78.563636363636363</cx:pt>
          <cx:pt idx="2442">74.290909090909082</cx:pt>
          <cx:pt idx="2443">76.799999999999997</cx:pt>
          <cx:pt idx="2444">77.23636363636362</cx:pt>
          <cx:pt idx="2445">76.854545454545459</cx:pt>
          <cx:pt idx="2446">76.945454545454552</cx:pt>
          <cx:pt idx="2447">78.454545454545453</cx:pt>
          <cx:pt idx="2448">75.654545454545456</cx:pt>
          <cx:pt idx="2449">76.981818181818184</cx:pt>
          <cx:pt idx="2450">73.963636363636368</cx:pt>
          <cx:pt idx="2451">77.945454545454538</cx:pt>
        </cx:lvl>
      </cx:numDim>
    </cx:data>
  </cx:chartData>
  <cx:chart>
    <cx:title pos="t" align="ctr" overlay="0">
      <cx:tx>
        <cx:txData>
          <cx:v>Raw Data Variables' Variance During Function (Failure = 0)</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Raw Data Variables' Variance During Function (Failure = 0)</a:t>
          </a:r>
        </a:p>
      </cx:txPr>
    </cx:title>
    <cx:plotArea>
      <cx:plotAreaRegion>
        <cx:series layoutId="boxWhisker" uniqueId="{05FD4A93-162B-43E3-81C5-E9757C413331}">
          <cx:tx>
            <cx:txData>
              <cx:f>'Data Repository Table - Raw'!$C$1</cx:f>
              <cx:v>Volumetric Flow Meter 1</cx:v>
            </cx:txData>
          </cx:tx>
          <cx:dataId val="0"/>
          <cx:layoutPr>
            <cx:visibility meanLine="0" meanMarker="1" nonoutliers="0" outliers="1"/>
            <cx:statistics quartileMethod="exclusive"/>
          </cx:layoutPr>
        </cx:series>
        <cx:series layoutId="boxWhisker" uniqueId="{21AC47E8-8830-428B-B4A3-145AEF618755}">
          <cx:tx>
            <cx:txData>
              <cx:f>'Data Repository Table - Raw'!$D$1</cx:f>
              <cx:v>Volumetric Flow Meter 2</cx:v>
            </cx:txData>
          </cx:tx>
          <cx:dataId val="1"/>
          <cx:layoutPr>
            <cx:visibility meanLine="0" meanMarker="1" nonoutliers="0" outliers="1"/>
            <cx:statistics quartileMethod="exclusive"/>
          </cx:layoutPr>
        </cx:series>
        <cx:series layoutId="boxWhisker" uniqueId="{A508EC17-8635-4E7B-9082-D3012AD67A9C}">
          <cx:tx>
            <cx:txData>
              <cx:f>'Data Repository Table - Raw'!$E$1</cx:f>
              <cx:v>Pump Speed (RPM)</cx:v>
            </cx:txData>
          </cx:tx>
          <cx:dataId val="2"/>
          <cx:layoutPr>
            <cx:visibility meanLine="0" meanMarker="1" nonoutliers="0" outliers="1"/>
            <cx:statistics quartileMethod="exclusive"/>
          </cx:layoutPr>
        </cx:series>
        <cx:series layoutId="boxWhisker" uniqueId="{E6E9CC29-89CF-4594-B506-307B30478328}">
          <cx:tx>
            <cx:txData>
              <cx:f>'Data Repository Table - Raw'!$F$1</cx:f>
              <cx:v>Pump Torque </cx:v>
            </cx:txData>
          </cx:tx>
          <cx:dataId val="3"/>
          <cx:layoutPr>
            <cx:visibility meanLine="0" meanMarker="1" nonoutliers="0" outliers="1"/>
            <cx:statistics quartileMethod="exclusive"/>
          </cx:layoutPr>
        </cx:series>
        <cx:series layoutId="boxWhisker" uniqueId="{7FB742A6-48B3-4CA4-B865-21B9C4E8EA88}">
          <cx:tx>
            <cx:txData>
              <cx:f>'Data Repository Table - Raw'!$G$1</cx:f>
              <cx:v>Ambient Temperature</cx:v>
            </cx:txData>
          </cx:tx>
          <cx:dataId val="4"/>
          <cx:layoutPr>
            <cx:visibility meanLine="0" meanMarker="1" nonoutliers="0" outliers="1"/>
            <cx:statistics quartileMethod="exclusive"/>
          </cx:layoutPr>
        </cx:series>
        <cx:series layoutId="boxWhisker" uniqueId="{19AEFFDE-D33F-4715-96BF-C43BB0C91655}">
          <cx:tx>
            <cx:txData>
              <cx:f>'Data Repository Table - Raw'!$H$1</cx:f>
              <cx:v>Horse Power</cx:v>
            </cx:txData>
          </cx:tx>
          <cx:dataId val="5"/>
          <cx:layoutPr>
            <cx:visibility meanLine="0" meanMarker="1" nonoutliers="0" outliers="1"/>
            <cx:statistics quartileMethod="exclusive"/>
          </cx:layoutPr>
        </cx:series>
        <cx:series layoutId="boxWhisker" uniqueId="{CC1E7302-DCC1-4A3D-B289-386FEBE00508}">
          <cx:tx>
            <cx:txData>
              <cx:f>'Data Repository Table - Raw'!$I$1</cx:f>
              <cx:v>Pump Efficiency</cx:v>
            </cx:txData>
          </cx:tx>
          <cx:dataId val="6"/>
          <cx:layoutPr>
            <cx:visibility meanLine="0" meanMarker="1" nonoutliers="0" outliers="1"/>
            <cx:statistics quartileMethod="exclusive"/>
          </cx:layoutPr>
        </cx:series>
      </cx:plotAreaRegion>
      <cx:axis id="0">
        <cx:catScaling gapWidth="1"/>
        <cx:tickLabels/>
      </cx:axis>
      <cx:axis id="1">
        <cx:valScaling/>
        <cx:majorGridlines/>
        <cx:tickLabels/>
      </cx:axis>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6/11/2022</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2"/>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5"/>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microsoft.com/office/2014/relationships/chartEx" Target="../charts/chartEx1.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3" name="Chart 2">
            <a:extLst>
              <a:ext uri="{FF2B5EF4-FFF2-40B4-BE49-F238E27FC236}">
                <a16:creationId xmlns:a16="http://schemas.microsoft.com/office/drawing/2014/main" id="{B934822D-7135-4DA8-9C66-080D252C3AAF}"/>
              </a:ext>
            </a:extLst>
          </p:cNvPr>
          <p:cNvGraphicFramePr>
            <a:graphicFrameLocks/>
          </p:cNvGraphicFramePr>
          <p:nvPr>
            <p:extLst>
              <p:ext uri="{D42A27DB-BD31-4B8C-83A1-F6EECF244321}">
                <p14:modId xmlns:p14="http://schemas.microsoft.com/office/powerpoint/2010/main" val="847752056"/>
              </p:ext>
            </p:extLst>
          </p:nvPr>
        </p:nvGraphicFramePr>
        <p:xfrm>
          <a:off x="3968750" y="1084129"/>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6C1B7AF3-3481-4D61-ABFA-101106EC5DC9}"/>
              </a:ext>
            </a:extLst>
          </p:cNvPr>
          <p:cNvGraphicFramePr>
            <a:graphicFrameLocks/>
          </p:cNvGraphicFramePr>
          <p:nvPr>
            <p:extLst>
              <p:ext uri="{D42A27DB-BD31-4B8C-83A1-F6EECF244321}">
                <p14:modId xmlns:p14="http://schemas.microsoft.com/office/powerpoint/2010/main" val="2645690577"/>
              </p:ext>
            </p:extLst>
          </p:nvPr>
        </p:nvGraphicFramePr>
        <p:xfrm>
          <a:off x="420688" y="3476742"/>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8477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3" name="Chart 2">
            <a:extLst>
              <a:ext uri="{FF2B5EF4-FFF2-40B4-BE49-F238E27FC236}">
                <a16:creationId xmlns:a16="http://schemas.microsoft.com/office/drawing/2014/main" id="{D087C7D5-2506-4250-A254-028B1357A4CB}"/>
              </a:ext>
            </a:extLst>
          </p:cNvPr>
          <p:cNvGraphicFramePr>
            <a:graphicFrameLocks/>
          </p:cNvGraphicFramePr>
          <p:nvPr>
            <p:extLst>
              <p:ext uri="{D42A27DB-BD31-4B8C-83A1-F6EECF244321}">
                <p14:modId xmlns:p14="http://schemas.microsoft.com/office/powerpoint/2010/main" val="464639171"/>
              </p:ext>
            </p:extLst>
          </p:nvPr>
        </p:nvGraphicFramePr>
        <p:xfrm>
          <a:off x="939613" y="894698"/>
          <a:ext cx="6902824" cy="30261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38BDD97D-A4D4-4486-81A3-510B7C539784}"/>
              </a:ext>
            </a:extLst>
          </p:cNvPr>
          <p:cNvGraphicFramePr>
            <a:graphicFrameLocks/>
          </p:cNvGraphicFramePr>
          <p:nvPr>
            <p:extLst>
              <p:ext uri="{D42A27DB-BD31-4B8C-83A1-F6EECF244321}">
                <p14:modId xmlns:p14="http://schemas.microsoft.com/office/powerpoint/2010/main" val="3040809459"/>
              </p:ext>
            </p:extLst>
          </p:nvPr>
        </p:nvGraphicFramePr>
        <p:xfrm>
          <a:off x="939613" y="3768442"/>
          <a:ext cx="7037294" cy="25777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box and whisker plots show a clear signature difference between that of normal behaviour and that of Failure with Pump Torque, Pump Speed, Pump Efficiency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26E5207-9197-48D6-B5F6-50575C4A336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mc:AlternateContent xmlns:mc="http://schemas.openxmlformats.org/markup-compatibility/2006">
        <mc:Choice xmlns:cx1="http://schemas.microsoft.com/office/drawing/2015/9/8/chartex" Requires="cx1">
          <p:graphicFrame>
            <p:nvGraphicFramePr>
              <p:cNvPr id="3" name="Chart 2">
                <a:extLst>
                  <a:ext uri="{FF2B5EF4-FFF2-40B4-BE49-F238E27FC236}">
                    <a16:creationId xmlns:a16="http://schemas.microsoft.com/office/drawing/2014/main" id="{8B7F597B-813C-1F1D-1432-3D0A53F22C25}"/>
                  </a:ext>
                </a:extLst>
              </p:cNvPr>
              <p:cNvGraphicFramePr/>
              <p:nvPr>
                <p:extLst>
                  <p:ext uri="{D42A27DB-BD31-4B8C-83A1-F6EECF244321}">
                    <p14:modId xmlns:p14="http://schemas.microsoft.com/office/powerpoint/2010/main" val="531655546"/>
                  </p:ext>
                </p:extLst>
              </p:nvPr>
            </p:nvGraphicFramePr>
            <p:xfrm>
              <a:off x="4091980" y="1745992"/>
              <a:ext cx="4385272" cy="26578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3" name="Chart 2">
                <a:extLst>
                  <a:ext uri="{FF2B5EF4-FFF2-40B4-BE49-F238E27FC236}">
                    <a16:creationId xmlns:a16="http://schemas.microsoft.com/office/drawing/2014/main" id="{8B7F597B-813C-1F1D-1432-3D0A53F22C25}"/>
                  </a:ext>
                </a:extLst>
              </p:cNvPr>
              <p:cNvPicPr>
                <a:picLocks noGrp="1" noRot="1" noChangeAspect="1" noMove="1" noResize="1" noEditPoints="1" noAdjustHandles="1" noChangeArrowheads="1" noChangeShapeType="1"/>
              </p:cNvPicPr>
              <p:nvPr/>
            </p:nvPicPr>
            <p:blipFill>
              <a:blip r:embed="rId3"/>
              <a:stretch>
                <a:fillRect/>
              </a:stretch>
            </p:blipFill>
            <p:spPr>
              <a:xfrm>
                <a:off x="4091980" y="1745992"/>
                <a:ext cx="4385272" cy="2657849"/>
              </a:xfrm>
              <a:prstGeom prst="rect">
                <a:avLst/>
              </a:prstGeom>
            </p:spPr>
          </p:pic>
        </mc:Fallback>
      </mc:AlternateContent>
      <p:pic>
        <p:nvPicPr>
          <p:cNvPr id="4" name="Picture 3">
            <a:extLst>
              <a:ext uri="{FF2B5EF4-FFF2-40B4-BE49-F238E27FC236}">
                <a16:creationId xmlns:a16="http://schemas.microsoft.com/office/drawing/2014/main" id="{1B783AA1-AFBF-B456-B984-044B5FB785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25328" y="4275374"/>
            <a:ext cx="4385272" cy="2133998"/>
          </a:xfrm>
          <a:prstGeom prst="rect">
            <a:avLst/>
          </a:prstGeom>
        </p:spPr>
      </p:pic>
      <p:sp>
        <p:nvSpPr>
          <p:cNvPr id="5" name="TextBox 4">
            <a:extLst>
              <a:ext uri="{FF2B5EF4-FFF2-40B4-BE49-F238E27FC236}">
                <a16:creationId xmlns:a16="http://schemas.microsoft.com/office/drawing/2014/main" id="{A9DBFD81-0DE4-48F6-4E4A-3CAAA00B48FD}"/>
              </a:ext>
            </a:extLst>
          </p:cNvPr>
          <p:cNvSpPr txBox="1"/>
          <p:nvPr/>
        </p:nvSpPr>
        <p:spPr>
          <a:xfrm>
            <a:off x="4655127" y="1050361"/>
            <a:ext cx="3357384" cy="369332"/>
          </a:xfrm>
          <a:prstGeom prst="rect">
            <a:avLst/>
          </a:prstGeom>
          <a:noFill/>
        </p:spPr>
        <p:txBody>
          <a:bodyPr wrap="square" rtlCol="0">
            <a:spAutoFit/>
          </a:bodyPr>
          <a:lstStyle/>
          <a:p>
            <a:pPr algn="ctr"/>
            <a:r>
              <a:rPr lang="en-US" dirty="0"/>
              <a:t>Raw Data</a:t>
            </a:r>
          </a:p>
        </p:txBody>
      </p:sp>
      <p:sp>
        <p:nvSpPr>
          <p:cNvPr id="6" name="TextBox 5">
            <a:extLst>
              <a:ext uri="{FF2B5EF4-FFF2-40B4-BE49-F238E27FC236}">
                <a16:creationId xmlns:a16="http://schemas.microsoft.com/office/drawing/2014/main" id="{5436C1C8-0EC9-DCCF-9541-BFD6B53F39BA}"/>
              </a:ext>
            </a:extLst>
          </p:cNvPr>
          <p:cNvSpPr txBox="1"/>
          <p:nvPr/>
        </p:nvSpPr>
        <p:spPr>
          <a:xfrm>
            <a:off x="350838" y="1050361"/>
            <a:ext cx="3357384" cy="369332"/>
          </a:xfrm>
          <a:prstGeom prst="rect">
            <a:avLst/>
          </a:prstGeom>
          <a:noFill/>
        </p:spPr>
        <p:txBody>
          <a:bodyPr wrap="square" rtlCol="0">
            <a:spAutoFit/>
          </a:bodyPr>
          <a:lstStyle/>
          <a:p>
            <a:pPr algn="ctr"/>
            <a:r>
              <a:rPr lang="en-US" dirty="0"/>
              <a:t>Rolling Mean Data</a:t>
            </a:r>
          </a:p>
        </p:txBody>
      </p:sp>
      <p:pic>
        <p:nvPicPr>
          <p:cNvPr id="8" name="Picture 7">
            <a:extLst>
              <a:ext uri="{FF2B5EF4-FFF2-40B4-BE49-F238E27FC236}">
                <a16:creationId xmlns:a16="http://schemas.microsoft.com/office/drawing/2014/main" id="{EB451D35-0C78-F784-A4DE-F691345489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4186" y="4435691"/>
            <a:ext cx="3607794" cy="2015244"/>
          </a:xfrm>
          <a:prstGeom prst="rect">
            <a:avLst/>
          </a:prstGeom>
        </p:spPr>
      </p:pic>
      <p:pic>
        <p:nvPicPr>
          <p:cNvPr id="9" name="Picture 8">
            <a:extLst>
              <a:ext uri="{FF2B5EF4-FFF2-40B4-BE49-F238E27FC236}">
                <a16:creationId xmlns:a16="http://schemas.microsoft.com/office/drawing/2014/main" id="{E724DE01-FA87-ECA3-868D-13B856EF1E2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186" y="1669313"/>
            <a:ext cx="3597601" cy="2159433"/>
          </a:xfrm>
          <a:prstGeom prst="rect">
            <a:avLst/>
          </a:prstGeom>
        </p:spPr>
      </p:pic>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interesting insights with Ambient Temperature and Pump Torque negatively correlated with Pump Failure in the Rolling Standard Deviation Data, whilst Horse Power and Volumetric Flow Meter show a subsequently strong positive correlation in the Rolling Standard Deviation Dataset. </a:t>
            </a:r>
          </a:p>
        </p:txBody>
      </p:sp>
      <p:cxnSp>
        <p:nvCxnSpPr>
          <p:cNvPr id="7" name="Straight Connector 6">
            <a:extLst>
              <a:ext uri="{FF2B5EF4-FFF2-40B4-BE49-F238E27FC236}">
                <a16:creationId xmlns:a16="http://schemas.microsoft.com/office/drawing/2014/main" id="{FF7B0642-27F1-4360-B160-74B9D15E0003}"/>
              </a:ext>
            </a:extLst>
          </p:cNvPr>
          <p:cNvCxnSpPr/>
          <p:nvPr/>
        </p:nvCxnSpPr>
        <p:spPr>
          <a:xfrm>
            <a:off x="171450" y="1144319"/>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490B7146-AB28-9E12-796A-25A88EFD3329}"/>
              </a:ext>
            </a:extLst>
          </p:cNvPr>
          <p:cNvGraphicFramePr>
            <a:graphicFrameLocks/>
          </p:cNvGraphicFramePr>
          <p:nvPr>
            <p:extLst>
              <p:ext uri="{D42A27DB-BD31-4B8C-83A1-F6EECF244321}">
                <p14:modId xmlns:p14="http://schemas.microsoft.com/office/powerpoint/2010/main" val="3702122377"/>
              </p:ext>
            </p:extLst>
          </p:nvPr>
        </p:nvGraphicFramePr>
        <p:xfrm>
          <a:off x="171450" y="1339120"/>
          <a:ext cx="4046538" cy="237389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B1D25273-2077-46DE-88C5-208BFE05DBA9}"/>
              </a:ext>
            </a:extLst>
          </p:cNvPr>
          <p:cNvGraphicFramePr>
            <a:graphicFrameLocks/>
          </p:cNvGraphicFramePr>
          <p:nvPr>
            <p:extLst>
              <p:ext uri="{D42A27DB-BD31-4B8C-83A1-F6EECF244321}">
                <p14:modId xmlns:p14="http://schemas.microsoft.com/office/powerpoint/2010/main" val="1918898075"/>
              </p:ext>
            </p:extLst>
          </p:nvPr>
        </p:nvGraphicFramePr>
        <p:xfrm>
          <a:off x="4480718" y="1241720"/>
          <a:ext cx="4309269" cy="28405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D579E7A-98BD-39A9-10E3-2BA382E9E288}"/>
              </a:ext>
            </a:extLst>
          </p:cNvPr>
          <p:cNvGraphicFramePr>
            <a:graphicFrameLocks/>
          </p:cNvGraphicFramePr>
          <p:nvPr>
            <p:extLst>
              <p:ext uri="{D42A27DB-BD31-4B8C-83A1-F6EECF244321}">
                <p14:modId xmlns:p14="http://schemas.microsoft.com/office/powerpoint/2010/main" val="4101336430"/>
              </p:ext>
            </p:extLst>
          </p:nvPr>
        </p:nvGraphicFramePr>
        <p:xfrm>
          <a:off x="171450" y="3978275"/>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model fit reveals that with a R Squared of .78, a linear model is a good fit for the data with variables Horse Power, Pump Efficiency and Volumetric Flow meter 2 having the largest coefficients, indicative that these variables have the most immediate relationship with respect to Pump Failure behaviour. </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1171789"/>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Chart 2">
            <a:extLst>
              <a:ext uri="{FF2B5EF4-FFF2-40B4-BE49-F238E27FC236}">
                <a16:creationId xmlns:a16="http://schemas.microsoft.com/office/drawing/2014/main" id="{6C1B7AF3-3481-4D61-ABFA-101106EC5DC9}"/>
              </a:ext>
            </a:extLst>
          </p:cNvPr>
          <p:cNvGraphicFramePr>
            <a:graphicFrameLocks/>
          </p:cNvGraphicFramePr>
          <p:nvPr>
            <p:extLst>
              <p:ext uri="{D42A27DB-BD31-4B8C-83A1-F6EECF244321}">
                <p14:modId xmlns:p14="http://schemas.microsoft.com/office/powerpoint/2010/main" val="3421144718"/>
              </p:ext>
            </p:extLst>
          </p:nvPr>
        </p:nvGraphicFramePr>
        <p:xfrm>
          <a:off x="1634836" y="1756568"/>
          <a:ext cx="5367410" cy="320833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62</TotalTime>
  <Words>379</Words>
  <Application>Microsoft Office PowerPoint</Application>
  <PresentationFormat>Custom</PresentationFormat>
  <Paragraphs>19</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box and whisker plots show a clear signature difference between that of normal behaviour and that of Failure with Pump Torque, Pump Speed, Pump Efficiency showing the 3 largest variances.</vt:lpstr>
      <vt:lpstr>Correlation analyses across datasets yield interesting insights with Ambient Temperature and Pump Torque negatively correlated with Pump Failure in the Rolling Standard Deviation Data, whilst Horse Power and Volumetric Flow Meter show a subsequently strong positive correlation in the Rolling Standard Deviation Dataset. </vt:lpstr>
      <vt:lpstr>Lastly, analysis of the model fit reveals that with a R Squared of .78, a linear model is a good fit for the data with variables Horse Power, Pump Efficiency and Volumetric Flow meter 2 having the largest coefficients, indicative that these variables have the most immediate relationship with respect to Pump Failure behaviou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Tynan groot</cp:lastModifiedBy>
  <cp:revision>82</cp:revision>
  <dcterms:created xsi:type="dcterms:W3CDTF">2020-04-12T13:23:13Z</dcterms:created>
  <dcterms:modified xsi:type="dcterms:W3CDTF">2022-11-26T21:02:05Z</dcterms:modified>
</cp:coreProperties>
</file>